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sldIdLst>
    <p:sldId id="1593" r:id="rId5"/>
    <p:sldId id="1587" r:id="rId6"/>
    <p:sldId id="1597" r:id="rId7"/>
    <p:sldId id="1595" r:id="rId8"/>
    <p:sldId id="1606" r:id="rId9"/>
    <p:sldId id="263" r:id="rId10"/>
    <p:sldId id="1594" r:id="rId11"/>
    <p:sldId id="1605" r:id="rId12"/>
    <p:sldId id="1598" r:id="rId13"/>
    <p:sldId id="1601" r:id="rId14"/>
    <p:sldId id="1599" r:id="rId15"/>
    <p:sldId id="1602" r:id="rId16"/>
    <p:sldId id="1600" r:id="rId17"/>
    <p:sldId id="1604" r:id="rId18"/>
    <p:sldId id="1603" r:id="rId19"/>
    <p:sldId id="1589" r:id="rId20"/>
  </p:sldIdLst>
  <p:sldSz cx="12192000" cy="6858000"/>
  <p:notesSz cx="6858000" cy="9144000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194" autoAdjust="0"/>
  </p:normalViewPr>
  <p:slideViewPr>
    <p:cSldViewPr showGuides="1">
      <p:cViewPr varScale="1">
        <p:scale>
          <a:sx n="97" d="100"/>
          <a:sy n="97" d="100"/>
        </p:scale>
        <p:origin x="10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f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A-4531-A1A7-38028212DC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ous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</c:v>
                </c:pt>
                <c:pt idx="1">
                  <c:v>4.4000000000000004</c:v>
                </c:pt>
                <c:pt idx="2">
                  <c:v>1.8</c:v>
                </c:pt>
                <c:pt idx="3">
                  <c:v>25</c:v>
                </c:pt>
                <c:pt idx="4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A-4531-A1A7-38028212DC9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p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90</c:v>
                </c:pt>
                <c:pt idx="1">
                  <c:v>75</c:v>
                </c:pt>
                <c:pt idx="2">
                  <c:v>63</c:v>
                </c:pt>
                <c:pt idx="3">
                  <c:v>6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6A-4531-A1A7-38028212DC9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nd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4</c:v>
                </c:pt>
                <c:pt idx="1">
                  <c:v>3</c:v>
                </c:pt>
                <c:pt idx="2">
                  <c:v>6</c:v>
                </c:pt>
                <c:pt idx="3">
                  <c:v>4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56A-4531-A1A7-38028212DC9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ownhous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2</c:v>
                </c:pt>
                <c:pt idx="1">
                  <c:v>4</c:v>
                </c:pt>
                <c:pt idx="2">
                  <c:v>5</c:v>
                </c:pt>
                <c:pt idx="3">
                  <c:v>5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6A-4531-A1A7-38028212D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10180943"/>
        <c:axId val="764916559"/>
      </c:barChart>
      <c:catAx>
        <c:axId val="910180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4916559"/>
        <c:crosses val="autoZero"/>
        <c:auto val="1"/>
        <c:lblAlgn val="ctr"/>
        <c:lblOffset val="100"/>
        <c:noMultiLvlLbl val="0"/>
      </c:catAx>
      <c:valAx>
        <c:axId val="7649165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01809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7785" y="3165500"/>
            <a:ext cx="5925457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200" b="1">
                <a:solidFill>
                  <a:schemeClr val="accent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smtClean="0">
                <a:solidFill>
                  <a:schemeClr val="accent1"/>
                </a:solidFill>
              </a:defRPr>
            </a:lvl1pPr>
          </a:lstStyle>
          <a:p>
            <a:pPr defTabSz="914377"/>
            <a:fld id="{28182E2C-AC48-45A1-A539-1D63FC6BDE45}" type="slidenum">
              <a:rPr lang="de-DE" smtClean="0"/>
              <a:pPr defTabSz="914377"/>
              <a:t>‹#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525540"/>
            <a:ext cx="5925457" cy="5159673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8885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lrose – Bronx</a:t>
            </a:r>
          </a:p>
          <a:p>
            <a:r>
              <a:rPr lang="en-US" dirty="0"/>
              <a:t>Great kills – SI</a:t>
            </a:r>
          </a:p>
          <a:p>
            <a:r>
              <a:rPr lang="en-US" dirty="0"/>
              <a:t>Canarsie – Brooklyn</a:t>
            </a:r>
          </a:p>
          <a:p>
            <a:r>
              <a:rPr lang="en-US" dirty="0" err="1"/>
              <a:t>Tomp</a:t>
            </a:r>
            <a:r>
              <a:rPr lang="en-US" dirty="0"/>
              <a:t> – SI</a:t>
            </a:r>
          </a:p>
          <a:p>
            <a:r>
              <a:rPr lang="en-US" dirty="0"/>
              <a:t>Mariners – SI</a:t>
            </a:r>
          </a:p>
          <a:p>
            <a:r>
              <a:rPr lang="en-US" dirty="0"/>
              <a:t>Castle – SI</a:t>
            </a:r>
          </a:p>
          <a:p>
            <a:r>
              <a:rPr lang="en-US" dirty="0"/>
              <a:t>Whitestone, Queens</a:t>
            </a:r>
          </a:p>
          <a:p>
            <a:r>
              <a:rPr lang="en-US" dirty="0" err="1"/>
              <a:t>Throgs</a:t>
            </a:r>
            <a:r>
              <a:rPr lang="en-US" dirty="0"/>
              <a:t> neck, Bronx</a:t>
            </a:r>
          </a:p>
          <a:p>
            <a:r>
              <a:rPr lang="en-US" dirty="0"/>
              <a:t>South beach, SI</a:t>
            </a:r>
          </a:p>
          <a:p>
            <a:r>
              <a:rPr lang="en-US" dirty="0"/>
              <a:t>Tottenville, S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 smtClean="0"/>
              <a:pPr defTabSz="914377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3050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many reviews did you look through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 smtClean="0"/>
              <a:pPr defTabSz="914377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33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6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hteck 13"/>
          <p:cNvSpPr/>
          <p:nvPr userDrawn="1"/>
        </p:nvSpPr>
        <p:spPr bwMode="gray">
          <a:xfrm rot="3627368">
            <a:off x="2485848" y="5551188"/>
            <a:ext cx="2118198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2DBECD"/>
                </a:solidFill>
                <a:latin typeface="+mn-lt"/>
              </a:rPr>
              <a:t>EMD Performance Materials is a business</a:t>
            </a:r>
            <a:br>
              <a:rPr lang="en-US" sz="700" kern="0" dirty="0">
                <a:solidFill>
                  <a:srgbClr val="2DBECD"/>
                </a:solidFill>
                <a:latin typeface="+mn-lt"/>
              </a:rPr>
            </a:br>
            <a:r>
              <a:rPr lang="en-US" sz="700" kern="0" dirty="0">
                <a:solidFill>
                  <a:srgbClr val="2DBECD"/>
                </a:solidFill>
                <a:latin typeface="+mn-lt"/>
              </a:rPr>
              <a:t>of Merck KGaA, Darmstadt</a:t>
            </a:r>
            <a:r>
              <a:rPr lang="en-US" sz="700" kern="0" dirty="0">
                <a:solidFill>
                  <a:srgbClr val="2DBECD"/>
                </a:solidFill>
              </a:rPr>
              <a:t>, Germany</a:t>
            </a:r>
            <a:endParaRPr lang="de-DE" sz="700" kern="0" dirty="0">
              <a:solidFill>
                <a:srgbClr val="2DBECD"/>
              </a:solidFill>
              <a:latin typeface="Verdana"/>
            </a:endParaRPr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0881A0E6-6736-48F5-B50C-71E659A16D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1450" y="5341463"/>
            <a:ext cx="2514429" cy="1254424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633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2A6EF1E-2629-4A31-8FAA-0D1F0299440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rgbClr val="B4DC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7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F4F5293-C888-4131-8910-8A263A86462B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7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bg2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059CCED9-F1CA-475E-9636-FCA4B0CEA144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65240A-5291-4390-A2CF-0E7DBE8338F6}"/>
              </a:ext>
            </a:extLst>
          </p:cNvPr>
          <p:cNvGrpSpPr/>
          <p:nvPr userDrawn="1"/>
        </p:nvGrpSpPr>
        <p:grpSpPr>
          <a:xfrm>
            <a:off x="7464151" y="4047789"/>
            <a:ext cx="4103961" cy="2045507"/>
            <a:chOff x="7391400" y="2420938"/>
            <a:chExt cx="2516188" cy="1254125"/>
          </a:xfrm>
        </p:grpSpPr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2826F501-4794-4F6F-A6FB-55381E4F3F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1400" y="2420938"/>
              <a:ext cx="2516188" cy="1254125"/>
            </a:xfrm>
            <a:custGeom>
              <a:avLst/>
              <a:gdLst>
                <a:gd name="T0" fmla="*/ 4981 w 5404"/>
                <a:gd name="T1" fmla="*/ 6 h 2694"/>
                <a:gd name="T2" fmla="*/ 4791 w 5404"/>
                <a:gd name="T3" fmla="*/ 4 h 2694"/>
                <a:gd name="T4" fmla="*/ 3966 w 5404"/>
                <a:gd name="T5" fmla="*/ 489 h 2694"/>
                <a:gd name="T6" fmla="*/ 3500 w 5404"/>
                <a:gd name="T7" fmla="*/ 906 h 2694"/>
                <a:gd name="T8" fmla="*/ 1820 w 5404"/>
                <a:gd name="T9" fmla="*/ 844 h 2694"/>
                <a:gd name="T10" fmla="*/ 1356 w 5404"/>
                <a:gd name="T11" fmla="*/ 412 h 2694"/>
                <a:gd name="T12" fmla="*/ 1152 w 5404"/>
                <a:gd name="T13" fmla="*/ 220 h 2694"/>
                <a:gd name="T14" fmla="*/ 795 w 5404"/>
                <a:gd name="T15" fmla="*/ 24 h 2694"/>
                <a:gd name="T16" fmla="*/ 647 w 5404"/>
                <a:gd name="T17" fmla="*/ 4 h 2694"/>
                <a:gd name="T18" fmla="*/ 91 w 5404"/>
                <a:gd name="T19" fmla="*/ 4 h 2694"/>
                <a:gd name="T20" fmla="*/ 0 w 5404"/>
                <a:gd name="T21" fmla="*/ 2049 h 2694"/>
                <a:gd name="T22" fmla="*/ 255 w 5404"/>
                <a:gd name="T23" fmla="*/ 2616 h 2694"/>
                <a:gd name="T24" fmla="*/ 574 w 5404"/>
                <a:gd name="T25" fmla="*/ 2694 h 2694"/>
                <a:gd name="T26" fmla="*/ 749 w 5404"/>
                <a:gd name="T27" fmla="*/ 2683 h 2694"/>
                <a:gd name="T28" fmla="*/ 874 w 5404"/>
                <a:gd name="T29" fmla="*/ 2529 h 2694"/>
                <a:gd name="T30" fmla="*/ 875 w 5404"/>
                <a:gd name="T31" fmla="*/ 1926 h 2694"/>
                <a:gd name="T32" fmla="*/ 877 w 5404"/>
                <a:gd name="T33" fmla="*/ 1754 h 2694"/>
                <a:gd name="T34" fmla="*/ 1121 w 5404"/>
                <a:gd name="T35" fmla="*/ 1541 h 2694"/>
                <a:gd name="T36" fmla="*/ 1334 w 5404"/>
                <a:gd name="T37" fmla="*/ 1586 h 2694"/>
                <a:gd name="T38" fmla="*/ 2177 w 5404"/>
                <a:gd name="T39" fmla="*/ 2279 h 2694"/>
                <a:gd name="T40" fmla="*/ 2750 w 5404"/>
                <a:gd name="T41" fmla="*/ 2520 h 2694"/>
                <a:gd name="T42" fmla="*/ 3568 w 5404"/>
                <a:gd name="T43" fmla="*/ 1973 h 2694"/>
                <a:gd name="T44" fmla="*/ 4288 w 5404"/>
                <a:gd name="T45" fmla="*/ 1541 h 2694"/>
                <a:gd name="T46" fmla="*/ 4524 w 5404"/>
                <a:gd name="T47" fmla="*/ 1743 h 2694"/>
                <a:gd name="T48" fmla="*/ 4529 w 5404"/>
                <a:gd name="T49" fmla="*/ 1789 h 2694"/>
                <a:gd name="T50" fmla="*/ 4529 w 5404"/>
                <a:gd name="T51" fmla="*/ 2192 h 2694"/>
                <a:gd name="T52" fmla="*/ 4529 w 5404"/>
                <a:gd name="T53" fmla="*/ 2243 h 2694"/>
                <a:gd name="T54" fmla="*/ 4742 w 5404"/>
                <a:gd name="T55" fmla="*/ 2587 h 2694"/>
                <a:gd name="T56" fmla="*/ 5072 w 5404"/>
                <a:gd name="T57" fmla="*/ 2694 h 2694"/>
                <a:gd name="T58" fmla="*/ 5157 w 5404"/>
                <a:gd name="T59" fmla="*/ 2692 h 2694"/>
                <a:gd name="T60" fmla="*/ 5229 w 5404"/>
                <a:gd name="T61" fmla="*/ 2688 h 2694"/>
                <a:gd name="T62" fmla="*/ 5362 w 5404"/>
                <a:gd name="T63" fmla="*/ 2641 h 2694"/>
                <a:gd name="T64" fmla="*/ 5403 w 5404"/>
                <a:gd name="T65" fmla="*/ 2483 h 2694"/>
                <a:gd name="T66" fmla="*/ 5403 w 5404"/>
                <a:gd name="T67" fmla="*/ 1968 h 2694"/>
                <a:gd name="T68" fmla="*/ 5207 w 5404"/>
                <a:gd name="T69" fmla="*/ 1968 h 2694"/>
                <a:gd name="T70" fmla="*/ 5195 w 5404"/>
                <a:gd name="T71" fmla="*/ 2494 h 2694"/>
                <a:gd name="T72" fmla="*/ 5083 w 5404"/>
                <a:gd name="T73" fmla="*/ 2497 h 2694"/>
                <a:gd name="T74" fmla="*/ 4853 w 5404"/>
                <a:gd name="T75" fmla="*/ 2424 h 2694"/>
                <a:gd name="T76" fmla="*/ 4725 w 5404"/>
                <a:gd name="T77" fmla="*/ 2235 h 2694"/>
                <a:gd name="T78" fmla="*/ 4725 w 5404"/>
                <a:gd name="T79" fmla="*/ 1794 h 2694"/>
                <a:gd name="T80" fmla="*/ 4724 w 5404"/>
                <a:gd name="T81" fmla="*/ 1765 h 2694"/>
                <a:gd name="T82" fmla="*/ 4520 w 5404"/>
                <a:gd name="T83" fmla="*/ 1416 h 2694"/>
                <a:gd name="T84" fmla="*/ 3719 w 5404"/>
                <a:gd name="T85" fmla="*/ 1574 h 2694"/>
                <a:gd name="T86" fmla="*/ 2877 w 5404"/>
                <a:gd name="T87" fmla="*/ 2282 h 2694"/>
                <a:gd name="T88" fmla="*/ 2025 w 5404"/>
                <a:gd name="T89" fmla="*/ 1881 h 2694"/>
                <a:gd name="T90" fmla="*/ 1203 w 5404"/>
                <a:gd name="T91" fmla="*/ 1350 h 2694"/>
                <a:gd name="T92" fmla="*/ 1092 w 5404"/>
                <a:gd name="T93" fmla="*/ 1346 h 2694"/>
                <a:gd name="T94" fmla="*/ 678 w 5404"/>
                <a:gd name="T95" fmla="*/ 1784 h 2694"/>
                <a:gd name="T96" fmla="*/ 678 w 5404"/>
                <a:gd name="T97" fmla="*/ 2113 h 2694"/>
                <a:gd name="T98" fmla="*/ 662 w 5404"/>
                <a:gd name="T99" fmla="*/ 2495 h 2694"/>
                <a:gd name="T100" fmla="*/ 493 w 5404"/>
                <a:gd name="T101" fmla="*/ 2494 h 2694"/>
                <a:gd name="T102" fmla="*/ 196 w 5404"/>
                <a:gd name="T103" fmla="*/ 2049 h 2694"/>
                <a:gd name="T104" fmla="*/ 226 w 5404"/>
                <a:gd name="T105" fmla="*/ 192 h 2694"/>
                <a:gd name="T106" fmla="*/ 1222 w 5404"/>
                <a:gd name="T107" fmla="*/ 555 h 2694"/>
                <a:gd name="T108" fmla="*/ 1696 w 5404"/>
                <a:gd name="T109" fmla="*/ 996 h 2694"/>
                <a:gd name="T110" fmla="*/ 3611 w 5404"/>
                <a:gd name="T111" fmla="*/ 1068 h 2694"/>
                <a:gd name="T112" fmla="*/ 4100 w 5404"/>
                <a:gd name="T113" fmla="*/ 632 h 2694"/>
                <a:gd name="T114" fmla="*/ 4791 w 5404"/>
                <a:gd name="T115" fmla="*/ 200 h 2694"/>
                <a:gd name="T116" fmla="*/ 4963 w 5404"/>
                <a:gd name="T117" fmla="*/ 201 h 2694"/>
                <a:gd name="T118" fmla="*/ 5207 w 5404"/>
                <a:gd name="T119" fmla="*/ 469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04" h="2694">
                  <a:moveTo>
                    <a:pt x="5306" y="185"/>
                  </a:moveTo>
                  <a:cubicBezTo>
                    <a:pt x="5244" y="104"/>
                    <a:pt x="5155" y="45"/>
                    <a:pt x="5056" y="19"/>
                  </a:cubicBezTo>
                  <a:cubicBezTo>
                    <a:pt x="5032" y="13"/>
                    <a:pt x="5006" y="8"/>
                    <a:pt x="4981" y="6"/>
                  </a:cubicBezTo>
                  <a:cubicBezTo>
                    <a:pt x="4968" y="5"/>
                    <a:pt x="4956" y="4"/>
                    <a:pt x="4943" y="4"/>
                  </a:cubicBezTo>
                  <a:cubicBezTo>
                    <a:pt x="4912" y="4"/>
                    <a:pt x="4912" y="4"/>
                    <a:pt x="4912" y="4"/>
                  </a:cubicBezTo>
                  <a:cubicBezTo>
                    <a:pt x="4791" y="4"/>
                    <a:pt x="4791" y="4"/>
                    <a:pt x="4791" y="4"/>
                  </a:cubicBezTo>
                  <a:cubicBezTo>
                    <a:pt x="4791" y="4"/>
                    <a:pt x="4599" y="4"/>
                    <a:pt x="4550" y="4"/>
                  </a:cubicBezTo>
                  <a:cubicBezTo>
                    <a:pt x="4502" y="4"/>
                    <a:pt x="4472" y="13"/>
                    <a:pt x="4447" y="37"/>
                  </a:cubicBezTo>
                  <a:cubicBezTo>
                    <a:pt x="4422" y="61"/>
                    <a:pt x="3966" y="489"/>
                    <a:pt x="3966" y="489"/>
                  </a:cubicBezTo>
                  <a:cubicBezTo>
                    <a:pt x="3732" y="709"/>
                    <a:pt x="3732" y="709"/>
                    <a:pt x="3732" y="709"/>
                  </a:cubicBezTo>
                  <a:cubicBezTo>
                    <a:pt x="3693" y="745"/>
                    <a:pt x="3654" y="784"/>
                    <a:pt x="3618" y="815"/>
                  </a:cubicBezTo>
                  <a:cubicBezTo>
                    <a:pt x="3580" y="848"/>
                    <a:pt x="3541" y="878"/>
                    <a:pt x="3500" y="906"/>
                  </a:cubicBezTo>
                  <a:cubicBezTo>
                    <a:pt x="3336" y="1019"/>
                    <a:pt x="3146" y="1093"/>
                    <a:pt x="2949" y="1126"/>
                  </a:cubicBezTo>
                  <a:cubicBezTo>
                    <a:pt x="2751" y="1159"/>
                    <a:pt x="2546" y="1152"/>
                    <a:pt x="2352" y="1105"/>
                  </a:cubicBezTo>
                  <a:cubicBezTo>
                    <a:pt x="2158" y="1058"/>
                    <a:pt x="1974" y="969"/>
                    <a:pt x="1820" y="844"/>
                  </a:cubicBezTo>
                  <a:cubicBezTo>
                    <a:pt x="1781" y="812"/>
                    <a:pt x="1746" y="780"/>
                    <a:pt x="1708" y="742"/>
                  </a:cubicBezTo>
                  <a:cubicBezTo>
                    <a:pt x="1591" y="632"/>
                    <a:pt x="1591" y="632"/>
                    <a:pt x="1591" y="632"/>
                  </a:cubicBezTo>
                  <a:cubicBezTo>
                    <a:pt x="1356" y="412"/>
                    <a:pt x="1356" y="412"/>
                    <a:pt x="1356" y="412"/>
                  </a:cubicBezTo>
                  <a:cubicBezTo>
                    <a:pt x="1239" y="302"/>
                    <a:pt x="1239" y="302"/>
                    <a:pt x="1239" y="302"/>
                  </a:cubicBezTo>
                  <a:cubicBezTo>
                    <a:pt x="1181" y="247"/>
                    <a:pt x="1181" y="247"/>
                    <a:pt x="1181" y="247"/>
                  </a:cubicBezTo>
                  <a:cubicBezTo>
                    <a:pt x="1152" y="220"/>
                    <a:pt x="1152" y="220"/>
                    <a:pt x="1152" y="220"/>
                  </a:cubicBezTo>
                  <a:cubicBezTo>
                    <a:pt x="1137" y="206"/>
                    <a:pt x="1137" y="206"/>
                    <a:pt x="1137" y="206"/>
                  </a:cubicBezTo>
                  <a:cubicBezTo>
                    <a:pt x="1120" y="190"/>
                    <a:pt x="1120" y="190"/>
                    <a:pt x="1120" y="190"/>
                  </a:cubicBezTo>
                  <a:cubicBezTo>
                    <a:pt x="1027" y="110"/>
                    <a:pt x="915" y="52"/>
                    <a:pt x="795" y="24"/>
                  </a:cubicBezTo>
                  <a:cubicBezTo>
                    <a:pt x="765" y="17"/>
                    <a:pt x="735" y="12"/>
                    <a:pt x="705" y="8"/>
                  </a:cubicBezTo>
                  <a:cubicBezTo>
                    <a:pt x="689" y="7"/>
                    <a:pt x="674" y="6"/>
                    <a:pt x="659" y="5"/>
                  </a:cubicBezTo>
                  <a:cubicBezTo>
                    <a:pt x="647" y="4"/>
                    <a:pt x="647" y="4"/>
                    <a:pt x="647" y="4"/>
                  </a:cubicBezTo>
                  <a:cubicBezTo>
                    <a:pt x="640" y="4"/>
                    <a:pt x="640" y="4"/>
                    <a:pt x="640" y="4"/>
                  </a:cubicBezTo>
                  <a:cubicBezTo>
                    <a:pt x="637" y="4"/>
                    <a:pt x="633" y="4"/>
                    <a:pt x="630" y="4"/>
                  </a:cubicBezTo>
                  <a:cubicBezTo>
                    <a:pt x="630" y="4"/>
                    <a:pt x="140" y="0"/>
                    <a:pt x="91" y="4"/>
                  </a:cubicBezTo>
                  <a:cubicBezTo>
                    <a:pt x="42" y="8"/>
                    <a:pt x="0" y="43"/>
                    <a:pt x="0" y="95"/>
                  </a:cubicBezTo>
                  <a:cubicBezTo>
                    <a:pt x="0" y="148"/>
                    <a:pt x="0" y="1674"/>
                    <a:pt x="0" y="1674"/>
                  </a:cubicBezTo>
                  <a:cubicBezTo>
                    <a:pt x="0" y="2049"/>
                    <a:pt x="0" y="2049"/>
                    <a:pt x="0" y="2049"/>
                  </a:cubicBezTo>
                  <a:cubicBezTo>
                    <a:pt x="0" y="2239"/>
                    <a:pt x="0" y="2239"/>
                    <a:pt x="0" y="2239"/>
                  </a:cubicBezTo>
                  <a:cubicBezTo>
                    <a:pt x="2" y="2326"/>
                    <a:pt x="37" y="2406"/>
                    <a:pt x="85" y="2468"/>
                  </a:cubicBezTo>
                  <a:cubicBezTo>
                    <a:pt x="132" y="2531"/>
                    <a:pt x="191" y="2579"/>
                    <a:pt x="255" y="2616"/>
                  </a:cubicBezTo>
                  <a:cubicBezTo>
                    <a:pt x="320" y="2652"/>
                    <a:pt x="390" y="2678"/>
                    <a:pt x="466" y="2689"/>
                  </a:cubicBezTo>
                  <a:cubicBezTo>
                    <a:pt x="485" y="2691"/>
                    <a:pt x="505" y="2693"/>
                    <a:pt x="524" y="2693"/>
                  </a:cubicBezTo>
                  <a:cubicBezTo>
                    <a:pt x="574" y="2694"/>
                    <a:pt x="574" y="2694"/>
                    <a:pt x="574" y="2694"/>
                  </a:cubicBezTo>
                  <a:cubicBezTo>
                    <a:pt x="606" y="2693"/>
                    <a:pt x="639" y="2693"/>
                    <a:pt x="672" y="2691"/>
                  </a:cubicBezTo>
                  <a:cubicBezTo>
                    <a:pt x="702" y="2689"/>
                    <a:pt x="702" y="2689"/>
                    <a:pt x="702" y="2689"/>
                  </a:cubicBezTo>
                  <a:cubicBezTo>
                    <a:pt x="718" y="2688"/>
                    <a:pt x="733" y="2686"/>
                    <a:pt x="749" y="2683"/>
                  </a:cubicBezTo>
                  <a:cubicBezTo>
                    <a:pt x="779" y="2678"/>
                    <a:pt x="805" y="2666"/>
                    <a:pt x="827" y="2647"/>
                  </a:cubicBezTo>
                  <a:cubicBezTo>
                    <a:pt x="848" y="2628"/>
                    <a:pt x="863" y="2602"/>
                    <a:pt x="869" y="2574"/>
                  </a:cubicBezTo>
                  <a:cubicBezTo>
                    <a:pt x="873" y="2560"/>
                    <a:pt x="875" y="2545"/>
                    <a:pt x="874" y="2529"/>
                  </a:cubicBezTo>
                  <a:cubicBezTo>
                    <a:pt x="875" y="2488"/>
                    <a:pt x="875" y="2488"/>
                    <a:pt x="875" y="2488"/>
                  </a:cubicBezTo>
                  <a:cubicBezTo>
                    <a:pt x="875" y="2113"/>
                    <a:pt x="875" y="2113"/>
                    <a:pt x="875" y="2113"/>
                  </a:cubicBezTo>
                  <a:cubicBezTo>
                    <a:pt x="875" y="1926"/>
                    <a:pt x="875" y="1926"/>
                    <a:pt x="875" y="1926"/>
                  </a:cubicBezTo>
                  <a:cubicBezTo>
                    <a:pt x="875" y="1832"/>
                    <a:pt x="875" y="1832"/>
                    <a:pt x="875" y="1832"/>
                  </a:cubicBezTo>
                  <a:cubicBezTo>
                    <a:pt x="875" y="1787"/>
                    <a:pt x="875" y="1787"/>
                    <a:pt x="875" y="1787"/>
                  </a:cubicBezTo>
                  <a:cubicBezTo>
                    <a:pt x="875" y="1776"/>
                    <a:pt x="876" y="1765"/>
                    <a:pt x="877" y="1754"/>
                  </a:cubicBezTo>
                  <a:cubicBezTo>
                    <a:pt x="890" y="1665"/>
                    <a:pt x="956" y="1584"/>
                    <a:pt x="1040" y="1555"/>
                  </a:cubicBezTo>
                  <a:cubicBezTo>
                    <a:pt x="1061" y="1547"/>
                    <a:pt x="1083" y="1543"/>
                    <a:pt x="1105" y="1542"/>
                  </a:cubicBezTo>
                  <a:cubicBezTo>
                    <a:pt x="1110" y="1541"/>
                    <a:pt x="1116" y="1541"/>
                    <a:pt x="1121" y="1541"/>
                  </a:cubicBezTo>
                  <a:cubicBezTo>
                    <a:pt x="1141" y="1541"/>
                    <a:pt x="1141" y="1541"/>
                    <a:pt x="1141" y="1541"/>
                  </a:cubicBezTo>
                  <a:cubicBezTo>
                    <a:pt x="1154" y="1542"/>
                    <a:pt x="1167" y="1543"/>
                    <a:pt x="1180" y="1545"/>
                  </a:cubicBezTo>
                  <a:cubicBezTo>
                    <a:pt x="1232" y="1551"/>
                    <a:pt x="1284" y="1565"/>
                    <a:pt x="1334" y="1586"/>
                  </a:cubicBezTo>
                  <a:cubicBezTo>
                    <a:pt x="1435" y="1628"/>
                    <a:pt x="1529" y="1697"/>
                    <a:pt x="1620" y="1775"/>
                  </a:cubicBezTo>
                  <a:cubicBezTo>
                    <a:pt x="1710" y="1853"/>
                    <a:pt x="1798" y="1943"/>
                    <a:pt x="1895" y="2027"/>
                  </a:cubicBezTo>
                  <a:cubicBezTo>
                    <a:pt x="1987" y="2109"/>
                    <a:pt x="2078" y="2195"/>
                    <a:pt x="2177" y="2279"/>
                  </a:cubicBezTo>
                  <a:cubicBezTo>
                    <a:pt x="2226" y="2320"/>
                    <a:pt x="2278" y="2361"/>
                    <a:pt x="2335" y="2399"/>
                  </a:cubicBezTo>
                  <a:cubicBezTo>
                    <a:pt x="2393" y="2436"/>
                    <a:pt x="2455" y="2470"/>
                    <a:pt x="2526" y="2493"/>
                  </a:cubicBezTo>
                  <a:cubicBezTo>
                    <a:pt x="2596" y="2516"/>
                    <a:pt x="2674" y="2527"/>
                    <a:pt x="2750" y="2520"/>
                  </a:cubicBezTo>
                  <a:cubicBezTo>
                    <a:pt x="2826" y="2513"/>
                    <a:pt x="2899" y="2489"/>
                    <a:pt x="2963" y="2458"/>
                  </a:cubicBezTo>
                  <a:cubicBezTo>
                    <a:pt x="3091" y="2395"/>
                    <a:pt x="3192" y="2309"/>
                    <a:pt x="3288" y="2226"/>
                  </a:cubicBezTo>
                  <a:cubicBezTo>
                    <a:pt x="3568" y="1973"/>
                    <a:pt x="3568" y="1973"/>
                    <a:pt x="3568" y="1973"/>
                  </a:cubicBezTo>
                  <a:cubicBezTo>
                    <a:pt x="3662" y="1887"/>
                    <a:pt x="3749" y="1801"/>
                    <a:pt x="3841" y="1727"/>
                  </a:cubicBezTo>
                  <a:cubicBezTo>
                    <a:pt x="3933" y="1654"/>
                    <a:pt x="4031" y="1593"/>
                    <a:pt x="4133" y="1563"/>
                  </a:cubicBezTo>
                  <a:cubicBezTo>
                    <a:pt x="4184" y="1548"/>
                    <a:pt x="4238" y="1540"/>
                    <a:pt x="4288" y="1541"/>
                  </a:cubicBezTo>
                  <a:cubicBezTo>
                    <a:pt x="4332" y="1542"/>
                    <a:pt x="4376" y="1556"/>
                    <a:pt x="4413" y="1580"/>
                  </a:cubicBezTo>
                  <a:cubicBezTo>
                    <a:pt x="4451" y="1605"/>
                    <a:pt x="4482" y="1639"/>
                    <a:pt x="4502" y="1680"/>
                  </a:cubicBezTo>
                  <a:cubicBezTo>
                    <a:pt x="4512" y="1700"/>
                    <a:pt x="4520" y="1721"/>
                    <a:pt x="4524" y="1743"/>
                  </a:cubicBezTo>
                  <a:cubicBezTo>
                    <a:pt x="4526" y="1754"/>
                    <a:pt x="4527" y="1766"/>
                    <a:pt x="4528" y="1777"/>
                  </a:cubicBezTo>
                  <a:cubicBezTo>
                    <a:pt x="4528" y="1785"/>
                    <a:pt x="4528" y="1785"/>
                    <a:pt x="4528" y="1785"/>
                  </a:cubicBezTo>
                  <a:cubicBezTo>
                    <a:pt x="4529" y="1789"/>
                    <a:pt x="4529" y="1789"/>
                    <a:pt x="4529" y="1789"/>
                  </a:cubicBezTo>
                  <a:cubicBezTo>
                    <a:pt x="4529" y="1795"/>
                    <a:pt x="4529" y="1795"/>
                    <a:pt x="4529" y="1795"/>
                  </a:cubicBezTo>
                  <a:cubicBezTo>
                    <a:pt x="4529" y="1818"/>
                    <a:pt x="4529" y="1818"/>
                    <a:pt x="4529" y="1818"/>
                  </a:cubicBezTo>
                  <a:cubicBezTo>
                    <a:pt x="4529" y="2192"/>
                    <a:pt x="4529" y="2192"/>
                    <a:pt x="4529" y="2192"/>
                  </a:cubicBezTo>
                  <a:cubicBezTo>
                    <a:pt x="4529" y="2216"/>
                    <a:pt x="4529" y="2216"/>
                    <a:pt x="4529" y="2216"/>
                  </a:cubicBezTo>
                  <a:cubicBezTo>
                    <a:pt x="4529" y="2227"/>
                    <a:pt x="4529" y="2227"/>
                    <a:pt x="4529" y="2227"/>
                  </a:cubicBezTo>
                  <a:cubicBezTo>
                    <a:pt x="4529" y="2243"/>
                    <a:pt x="4529" y="2243"/>
                    <a:pt x="4529" y="2243"/>
                  </a:cubicBezTo>
                  <a:cubicBezTo>
                    <a:pt x="4530" y="2265"/>
                    <a:pt x="4533" y="2286"/>
                    <a:pt x="4537" y="2307"/>
                  </a:cubicBezTo>
                  <a:cubicBezTo>
                    <a:pt x="4547" y="2349"/>
                    <a:pt x="4563" y="2388"/>
                    <a:pt x="4584" y="2422"/>
                  </a:cubicBezTo>
                  <a:cubicBezTo>
                    <a:pt x="4625" y="2491"/>
                    <a:pt x="4681" y="2545"/>
                    <a:pt x="4742" y="2587"/>
                  </a:cubicBezTo>
                  <a:cubicBezTo>
                    <a:pt x="4804" y="2628"/>
                    <a:pt x="4871" y="2659"/>
                    <a:pt x="4944" y="2677"/>
                  </a:cubicBezTo>
                  <a:cubicBezTo>
                    <a:pt x="4980" y="2686"/>
                    <a:pt x="5018" y="2692"/>
                    <a:pt x="5057" y="2693"/>
                  </a:cubicBezTo>
                  <a:cubicBezTo>
                    <a:pt x="5072" y="2694"/>
                    <a:pt x="5072" y="2694"/>
                    <a:pt x="5072" y="2694"/>
                  </a:cubicBezTo>
                  <a:cubicBezTo>
                    <a:pt x="5084" y="2694"/>
                    <a:pt x="5084" y="2694"/>
                    <a:pt x="5084" y="2694"/>
                  </a:cubicBezTo>
                  <a:cubicBezTo>
                    <a:pt x="5108" y="2693"/>
                    <a:pt x="5108" y="2693"/>
                    <a:pt x="5108" y="2693"/>
                  </a:cubicBezTo>
                  <a:cubicBezTo>
                    <a:pt x="5157" y="2692"/>
                    <a:pt x="5157" y="2692"/>
                    <a:pt x="5157" y="2692"/>
                  </a:cubicBezTo>
                  <a:cubicBezTo>
                    <a:pt x="5173" y="2692"/>
                    <a:pt x="5190" y="2691"/>
                    <a:pt x="5207" y="2690"/>
                  </a:cubicBezTo>
                  <a:cubicBezTo>
                    <a:pt x="5219" y="2689"/>
                    <a:pt x="5219" y="2689"/>
                    <a:pt x="5219" y="2689"/>
                  </a:cubicBezTo>
                  <a:cubicBezTo>
                    <a:pt x="5229" y="2688"/>
                    <a:pt x="5229" y="2688"/>
                    <a:pt x="5229" y="2688"/>
                  </a:cubicBezTo>
                  <a:cubicBezTo>
                    <a:pt x="5241" y="2688"/>
                    <a:pt x="5241" y="2688"/>
                    <a:pt x="5241" y="2688"/>
                  </a:cubicBezTo>
                  <a:cubicBezTo>
                    <a:pt x="5256" y="2686"/>
                    <a:pt x="5272" y="2684"/>
                    <a:pt x="5287" y="2681"/>
                  </a:cubicBezTo>
                  <a:cubicBezTo>
                    <a:pt x="5317" y="2675"/>
                    <a:pt x="5341" y="2662"/>
                    <a:pt x="5362" y="2641"/>
                  </a:cubicBezTo>
                  <a:cubicBezTo>
                    <a:pt x="5382" y="2620"/>
                    <a:pt x="5395" y="2594"/>
                    <a:pt x="5400" y="2565"/>
                  </a:cubicBezTo>
                  <a:cubicBezTo>
                    <a:pt x="5403" y="2551"/>
                    <a:pt x="5403" y="2535"/>
                    <a:pt x="5403" y="2519"/>
                  </a:cubicBezTo>
                  <a:cubicBezTo>
                    <a:pt x="5403" y="2483"/>
                    <a:pt x="5403" y="2483"/>
                    <a:pt x="5403" y="2483"/>
                  </a:cubicBezTo>
                  <a:cubicBezTo>
                    <a:pt x="5403" y="2436"/>
                    <a:pt x="5403" y="2436"/>
                    <a:pt x="5403" y="2436"/>
                  </a:cubicBezTo>
                  <a:cubicBezTo>
                    <a:pt x="5403" y="2342"/>
                    <a:pt x="5403" y="2342"/>
                    <a:pt x="5403" y="2342"/>
                  </a:cubicBezTo>
                  <a:cubicBezTo>
                    <a:pt x="5403" y="1968"/>
                    <a:pt x="5403" y="1968"/>
                    <a:pt x="5403" y="1968"/>
                  </a:cubicBezTo>
                  <a:cubicBezTo>
                    <a:pt x="5403" y="469"/>
                    <a:pt x="5403" y="469"/>
                    <a:pt x="5403" y="469"/>
                  </a:cubicBezTo>
                  <a:cubicBezTo>
                    <a:pt x="5404" y="367"/>
                    <a:pt x="5369" y="265"/>
                    <a:pt x="5306" y="185"/>
                  </a:cubicBezTo>
                  <a:close/>
                  <a:moveTo>
                    <a:pt x="5207" y="1968"/>
                  </a:moveTo>
                  <a:cubicBezTo>
                    <a:pt x="5207" y="2342"/>
                    <a:pt x="5207" y="2342"/>
                    <a:pt x="5207" y="2342"/>
                  </a:cubicBezTo>
                  <a:cubicBezTo>
                    <a:pt x="5207" y="2342"/>
                    <a:pt x="5207" y="2472"/>
                    <a:pt x="5207" y="2484"/>
                  </a:cubicBezTo>
                  <a:cubicBezTo>
                    <a:pt x="5207" y="2495"/>
                    <a:pt x="5204" y="2494"/>
                    <a:pt x="5195" y="2494"/>
                  </a:cubicBezTo>
                  <a:cubicBezTo>
                    <a:pt x="5185" y="2495"/>
                    <a:pt x="5166" y="2496"/>
                    <a:pt x="5151" y="2496"/>
                  </a:cubicBezTo>
                  <a:cubicBezTo>
                    <a:pt x="5106" y="2497"/>
                    <a:pt x="5106" y="2497"/>
                    <a:pt x="5106" y="2497"/>
                  </a:cubicBezTo>
                  <a:cubicBezTo>
                    <a:pt x="5083" y="2497"/>
                    <a:pt x="5083" y="2497"/>
                    <a:pt x="5083" y="2497"/>
                  </a:cubicBezTo>
                  <a:cubicBezTo>
                    <a:pt x="5063" y="2497"/>
                    <a:pt x="5063" y="2497"/>
                    <a:pt x="5063" y="2497"/>
                  </a:cubicBezTo>
                  <a:cubicBezTo>
                    <a:pt x="5040" y="2497"/>
                    <a:pt x="5016" y="2493"/>
                    <a:pt x="4991" y="2487"/>
                  </a:cubicBezTo>
                  <a:cubicBezTo>
                    <a:pt x="4943" y="2475"/>
                    <a:pt x="4895" y="2453"/>
                    <a:pt x="4853" y="2424"/>
                  </a:cubicBezTo>
                  <a:cubicBezTo>
                    <a:pt x="4811" y="2396"/>
                    <a:pt x="4775" y="2360"/>
                    <a:pt x="4752" y="2322"/>
                  </a:cubicBezTo>
                  <a:cubicBezTo>
                    <a:pt x="4741" y="2303"/>
                    <a:pt x="4733" y="2283"/>
                    <a:pt x="4729" y="2264"/>
                  </a:cubicBezTo>
                  <a:cubicBezTo>
                    <a:pt x="4727" y="2254"/>
                    <a:pt x="4725" y="2245"/>
                    <a:pt x="4725" y="2235"/>
                  </a:cubicBezTo>
                  <a:cubicBezTo>
                    <a:pt x="4725" y="2192"/>
                    <a:pt x="4725" y="2192"/>
                    <a:pt x="4725" y="2192"/>
                  </a:cubicBezTo>
                  <a:cubicBezTo>
                    <a:pt x="4725" y="1817"/>
                    <a:pt x="4725" y="1817"/>
                    <a:pt x="4725" y="1817"/>
                  </a:cubicBezTo>
                  <a:cubicBezTo>
                    <a:pt x="4725" y="1794"/>
                    <a:pt x="4725" y="1794"/>
                    <a:pt x="4725" y="1794"/>
                  </a:cubicBezTo>
                  <a:cubicBezTo>
                    <a:pt x="4725" y="1788"/>
                    <a:pt x="4725" y="1788"/>
                    <a:pt x="4725" y="1788"/>
                  </a:cubicBezTo>
                  <a:cubicBezTo>
                    <a:pt x="4725" y="1780"/>
                    <a:pt x="4725" y="1780"/>
                    <a:pt x="4725" y="1780"/>
                  </a:cubicBezTo>
                  <a:cubicBezTo>
                    <a:pt x="4724" y="1765"/>
                    <a:pt x="4724" y="1765"/>
                    <a:pt x="4724" y="1765"/>
                  </a:cubicBezTo>
                  <a:cubicBezTo>
                    <a:pt x="4723" y="1745"/>
                    <a:pt x="4721" y="1725"/>
                    <a:pt x="4716" y="1706"/>
                  </a:cubicBezTo>
                  <a:cubicBezTo>
                    <a:pt x="4709" y="1666"/>
                    <a:pt x="4696" y="1628"/>
                    <a:pt x="4678" y="1592"/>
                  </a:cubicBezTo>
                  <a:cubicBezTo>
                    <a:pt x="4642" y="1521"/>
                    <a:pt x="4587" y="1459"/>
                    <a:pt x="4520" y="1416"/>
                  </a:cubicBezTo>
                  <a:cubicBezTo>
                    <a:pt x="4453" y="1372"/>
                    <a:pt x="4373" y="1346"/>
                    <a:pt x="4292" y="1345"/>
                  </a:cubicBezTo>
                  <a:cubicBezTo>
                    <a:pt x="4218" y="1344"/>
                    <a:pt x="4147" y="1355"/>
                    <a:pt x="4078" y="1375"/>
                  </a:cubicBezTo>
                  <a:cubicBezTo>
                    <a:pt x="3940" y="1416"/>
                    <a:pt x="3822" y="1492"/>
                    <a:pt x="3719" y="1574"/>
                  </a:cubicBezTo>
                  <a:cubicBezTo>
                    <a:pt x="3616" y="1656"/>
                    <a:pt x="3525" y="1746"/>
                    <a:pt x="3435" y="1829"/>
                  </a:cubicBezTo>
                  <a:cubicBezTo>
                    <a:pt x="3158" y="2078"/>
                    <a:pt x="3158" y="2078"/>
                    <a:pt x="3158" y="2078"/>
                  </a:cubicBezTo>
                  <a:cubicBezTo>
                    <a:pt x="3067" y="2159"/>
                    <a:pt x="2974" y="2235"/>
                    <a:pt x="2877" y="2282"/>
                  </a:cubicBezTo>
                  <a:cubicBezTo>
                    <a:pt x="2781" y="2329"/>
                    <a:pt x="2684" y="2339"/>
                    <a:pt x="2587" y="2307"/>
                  </a:cubicBezTo>
                  <a:cubicBezTo>
                    <a:pt x="2490" y="2275"/>
                    <a:pt x="2395" y="2205"/>
                    <a:pt x="2303" y="2128"/>
                  </a:cubicBezTo>
                  <a:cubicBezTo>
                    <a:pt x="2211" y="2051"/>
                    <a:pt x="2120" y="1965"/>
                    <a:pt x="2025" y="1881"/>
                  </a:cubicBezTo>
                  <a:cubicBezTo>
                    <a:pt x="1934" y="1801"/>
                    <a:pt x="1846" y="1712"/>
                    <a:pt x="1748" y="1627"/>
                  </a:cubicBezTo>
                  <a:cubicBezTo>
                    <a:pt x="1649" y="1542"/>
                    <a:pt x="1540" y="1460"/>
                    <a:pt x="1410" y="1405"/>
                  </a:cubicBezTo>
                  <a:cubicBezTo>
                    <a:pt x="1345" y="1378"/>
                    <a:pt x="1275" y="1358"/>
                    <a:pt x="1203" y="1350"/>
                  </a:cubicBezTo>
                  <a:cubicBezTo>
                    <a:pt x="1185" y="1348"/>
                    <a:pt x="1167" y="1346"/>
                    <a:pt x="1149" y="1345"/>
                  </a:cubicBezTo>
                  <a:cubicBezTo>
                    <a:pt x="1140" y="1345"/>
                    <a:pt x="1131" y="1345"/>
                    <a:pt x="1122" y="1345"/>
                  </a:cubicBezTo>
                  <a:cubicBezTo>
                    <a:pt x="1112" y="1345"/>
                    <a:pt x="1102" y="1345"/>
                    <a:pt x="1092" y="1346"/>
                  </a:cubicBezTo>
                  <a:cubicBezTo>
                    <a:pt x="1052" y="1348"/>
                    <a:pt x="1012" y="1357"/>
                    <a:pt x="974" y="1370"/>
                  </a:cubicBezTo>
                  <a:cubicBezTo>
                    <a:pt x="821" y="1425"/>
                    <a:pt x="707" y="1564"/>
                    <a:pt x="683" y="1724"/>
                  </a:cubicBezTo>
                  <a:cubicBezTo>
                    <a:pt x="680" y="1744"/>
                    <a:pt x="679" y="1764"/>
                    <a:pt x="678" y="1784"/>
                  </a:cubicBezTo>
                  <a:cubicBezTo>
                    <a:pt x="678" y="1832"/>
                    <a:pt x="678" y="1832"/>
                    <a:pt x="678" y="1832"/>
                  </a:cubicBezTo>
                  <a:cubicBezTo>
                    <a:pt x="678" y="1926"/>
                    <a:pt x="678" y="1926"/>
                    <a:pt x="678" y="1926"/>
                  </a:cubicBezTo>
                  <a:cubicBezTo>
                    <a:pt x="678" y="2113"/>
                    <a:pt x="678" y="2113"/>
                    <a:pt x="678" y="2113"/>
                  </a:cubicBezTo>
                  <a:cubicBezTo>
                    <a:pt x="678" y="2488"/>
                    <a:pt x="678" y="2488"/>
                    <a:pt x="678" y="2488"/>
                  </a:cubicBezTo>
                  <a:cubicBezTo>
                    <a:pt x="678" y="2494"/>
                    <a:pt x="678" y="2494"/>
                    <a:pt x="678" y="2494"/>
                  </a:cubicBezTo>
                  <a:cubicBezTo>
                    <a:pt x="662" y="2495"/>
                    <a:pt x="662" y="2495"/>
                    <a:pt x="662" y="2495"/>
                  </a:cubicBezTo>
                  <a:cubicBezTo>
                    <a:pt x="633" y="2497"/>
                    <a:pt x="603" y="2497"/>
                    <a:pt x="573" y="2497"/>
                  </a:cubicBezTo>
                  <a:cubicBezTo>
                    <a:pt x="529" y="2497"/>
                    <a:pt x="529" y="2497"/>
                    <a:pt x="529" y="2497"/>
                  </a:cubicBezTo>
                  <a:cubicBezTo>
                    <a:pt x="517" y="2497"/>
                    <a:pt x="505" y="2496"/>
                    <a:pt x="493" y="2494"/>
                  </a:cubicBezTo>
                  <a:cubicBezTo>
                    <a:pt x="398" y="2481"/>
                    <a:pt x="297" y="2425"/>
                    <a:pt x="241" y="2350"/>
                  </a:cubicBezTo>
                  <a:cubicBezTo>
                    <a:pt x="213" y="2313"/>
                    <a:pt x="197" y="2272"/>
                    <a:pt x="196" y="2234"/>
                  </a:cubicBezTo>
                  <a:cubicBezTo>
                    <a:pt x="196" y="2049"/>
                    <a:pt x="196" y="2049"/>
                    <a:pt x="196" y="2049"/>
                  </a:cubicBezTo>
                  <a:cubicBezTo>
                    <a:pt x="196" y="1674"/>
                    <a:pt x="196" y="1674"/>
                    <a:pt x="196" y="1674"/>
                  </a:cubicBezTo>
                  <a:cubicBezTo>
                    <a:pt x="196" y="1674"/>
                    <a:pt x="196" y="248"/>
                    <a:pt x="196" y="225"/>
                  </a:cubicBezTo>
                  <a:cubicBezTo>
                    <a:pt x="196" y="202"/>
                    <a:pt x="209" y="192"/>
                    <a:pt x="226" y="192"/>
                  </a:cubicBezTo>
                  <a:cubicBezTo>
                    <a:pt x="246" y="192"/>
                    <a:pt x="649" y="192"/>
                    <a:pt x="661" y="192"/>
                  </a:cubicBezTo>
                  <a:cubicBezTo>
                    <a:pt x="814" y="192"/>
                    <a:pt x="922" y="278"/>
                    <a:pt x="991" y="338"/>
                  </a:cubicBezTo>
                  <a:cubicBezTo>
                    <a:pt x="1222" y="555"/>
                    <a:pt x="1222" y="555"/>
                    <a:pt x="1222" y="555"/>
                  </a:cubicBezTo>
                  <a:cubicBezTo>
                    <a:pt x="1455" y="774"/>
                    <a:pt x="1455" y="774"/>
                    <a:pt x="1455" y="774"/>
                  </a:cubicBezTo>
                  <a:cubicBezTo>
                    <a:pt x="1571" y="883"/>
                    <a:pt x="1571" y="883"/>
                    <a:pt x="1571" y="883"/>
                  </a:cubicBezTo>
                  <a:cubicBezTo>
                    <a:pt x="1609" y="920"/>
                    <a:pt x="1652" y="961"/>
                    <a:pt x="1696" y="996"/>
                  </a:cubicBezTo>
                  <a:cubicBezTo>
                    <a:pt x="1874" y="1140"/>
                    <a:pt x="2085" y="1242"/>
                    <a:pt x="2306" y="1296"/>
                  </a:cubicBezTo>
                  <a:cubicBezTo>
                    <a:pt x="2527" y="1349"/>
                    <a:pt x="2757" y="1356"/>
                    <a:pt x="2981" y="1320"/>
                  </a:cubicBezTo>
                  <a:cubicBezTo>
                    <a:pt x="3205" y="1283"/>
                    <a:pt x="3423" y="1198"/>
                    <a:pt x="3611" y="1068"/>
                  </a:cubicBezTo>
                  <a:cubicBezTo>
                    <a:pt x="3658" y="1036"/>
                    <a:pt x="3703" y="1001"/>
                    <a:pt x="3746" y="963"/>
                  </a:cubicBezTo>
                  <a:cubicBezTo>
                    <a:pt x="3790" y="924"/>
                    <a:pt x="3827" y="888"/>
                    <a:pt x="3867" y="852"/>
                  </a:cubicBezTo>
                  <a:cubicBezTo>
                    <a:pt x="4100" y="632"/>
                    <a:pt x="4100" y="632"/>
                    <a:pt x="4100" y="632"/>
                  </a:cubicBezTo>
                  <a:cubicBezTo>
                    <a:pt x="4100" y="632"/>
                    <a:pt x="4548" y="211"/>
                    <a:pt x="4553" y="207"/>
                  </a:cubicBezTo>
                  <a:cubicBezTo>
                    <a:pt x="4558" y="203"/>
                    <a:pt x="4564" y="200"/>
                    <a:pt x="4569" y="200"/>
                  </a:cubicBezTo>
                  <a:cubicBezTo>
                    <a:pt x="4574" y="200"/>
                    <a:pt x="4791" y="200"/>
                    <a:pt x="4791" y="200"/>
                  </a:cubicBezTo>
                  <a:cubicBezTo>
                    <a:pt x="4912" y="200"/>
                    <a:pt x="4912" y="200"/>
                    <a:pt x="4912" y="200"/>
                  </a:cubicBezTo>
                  <a:cubicBezTo>
                    <a:pt x="4941" y="200"/>
                    <a:pt x="4941" y="200"/>
                    <a:pt x="4941" y="200"/>
                  </a:cubicBezTo>
                  <a:cubicBezTo>
                    <a:pt x="4949" y="200"/>
                    <a:pt x="4956" y="201"/>
                    <a:pt x="4963" y="201"/>
                  </a:cubicBezTo>
                  <a:cubicBezTo>
                    <a:pt x="4978" y="203"/>
                    <a:pt x="4992" y="205"/>
                    <a:pt x="5007" y="209"/>
                  </a:cubicBezTo>
                  <a:cubicBezTo>
                    <a:pt x="5063" y="224"/>
                    <a:pt x="5115" y="258"/>
                    <a:pt x="5151" y="305"/>
                  </a:cubicBezTo>
                  <a:cubicBezTo>
                    <a:pt x="5187" y="351"/>
                    <a:pt x="5207" y="410"/>
                    <a:pt x="5207" y="469"/>
                  </a:cubicBezTo>
                  <a:lnTo>
                    <a:pt x="5207" y="196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FDAC6237-AD52-405B-A61C-41ED855CD1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6163" y="2427288"/>
              <a:ext cx="2505075" cy="1238250"/>
            </a:xfrm>
            <a:custGeom>
              <a:avLst/>
              <a:gdLst>
                <a:gd name="T0" fmla="*/ 4901 w 5385"/>
                <a:gd name="T1" fmla="*/ 0 h 2660"/>
                <a:gd name="T2" fmla="*/ 3965 w 5385"/>
                <a:gd name="T3" fmla="*/ 492 h 2660"/>
                <a:gd name="T4" fmla="*/ 2921 w 5385"/>
                <a:gd name="T5" fmla="*/ 1133 h 2660"/>
                <a:gd name="T6" fmla="*/ 1684 w 5385"/>
                <a:gd name="T7" fmla="*/ 732 h 2660"/>
                <a:gd name="T8" fmla="*/ 781 w 5385"/>
                <a:gd name="T9" fmla="*/ 34 h 2660"/>
                <a:gd name="T10" fmla="*/ 0 w 5385"/>
                <a:gd name="T11" fmla="*/ 1118 h 2660"/>
                <a:gd name="T12" fmla="*/ 6 w 5385"/>
                <a:gd name="T13" fmla="*/ 2264 h 2660"/>
                <a:gd name="T14" fmla="*/ 785 w 5385"/>
                <a:gd name="T15" fmla="*/ 2615 h 2660"/>
                <a:gd name="T16" fmla="*/ 864 w 5385"/>
                <a:gd name="T17" fmla="*/ 1685 h 2660"/>
                <a:gd name="T18" fmla="*/ 1800 w 5385"/>
                <a:gd name="T19" fmla="*/ 1912 h 2660"/>
                <a:gd name="T20" fmla="*/ 2990 w 5385"/>
                <a:gd name="T21" fmla="*/ 2406 h 2660"/>
                <a:gd name="T22" fmla="*/ 3852 w 5385"/>
                <a:gd name="T23" fmla="*/ 1685 h 2660"/>
                <a:gd name="T24" fmla="*/ 4529 w 5385"/>
                <a:gd name="T25" fmla="*/ 1931 h 2660"/>
                <a:gd name="T26" fmla="*/ 5163 w 5385"/>
                <a:gd name="T27" fmla="*/ 2660 h 2660"/>
                <a:gd name="T28" fmla="*/ 5367 w 5385"/>
                <a:gd name="T29" fmla="*/ 2025 h 2660"/>
                <a:gd name="T30" fmla="*/ 5343 w 5385"/>
                <a:gd name="T31" fmla="*/ 1424 h 2660"/>
                <a:gd name="T32" fmla="*/ 5202 w 5385"/>
                <a:gd name="T33" fmla="*/ 2619 h 2660"/>
                <a:gd name="T34" fmla="*/ 4580 w 5385"/>
                <a:gd name="T35" fmla="*/ 1776 h 2660"/>
                <a:gd name="T36" fmla="*/ 3749 w 5385"/>
                <a:gd name="T37" fmla="*/ 1701 h 2660"/>
                <a:gd name="T38" fmla="*/ 2685 w 5385"/>
                <a:gd name="T39" fmla="*/ 2445 h 2660"/>
                <a:gd name="T40" fmla="*/ 1626 w 5385"/>
                <a:gd name="T41" fmla="*/ 1693 h 2660"/>
                <a:gd name="T42" fmla="*/ 803 w 5385"/>
                <a:gd name="T43" fmla="*/ 1918 h 2660"/>
                <a:gd name="T44" fmla="*/ 725 w 5385"/>
                <a:gd name="T45" fmla="*/ 2633 h 2660"/>
                <a:gd name="T46" fmla="*/ 55 w 5385"/>
                <a:gd name="T47" fmla="*/ 2262 h 2660"/>
                <a:gd name="T48" fmla="*/ 48 w 5385"/>
                <a:gd name="T49" fmla="*/ 894 h 2660"/>
                <a:gd name="T50" fmla="*/ 813 w 5385"/>
                <a:gd name="T51" fmla="*/ 64 h 2660"/>
                <a:gd name="T52" fmla="*/ 1823 w 5385"/>
                <a:gd name="T53" fmla="*/ 897 h 2660"/>
                <a:gd name="T54" fmla="*/ 3126 w 5385"/>
                <a:gd name="T55" fmla="*/ 1109 h 2660"/>
                <a:gd name="T56" fmla="*/ 4137 w 5385"/>
                <a:gd name="T57" fmla="*/ 360 h 2660"/>
                <a:gd name="T58" fmla="*/ 5319 w 5385"/>
                <a:gd name="T59" fmla="*/ 286 h 2660"/>
                <a:gd name="T60" fmla="*/ 5235 w 5385"/>
                <a:gd name="T61" fmla="*/ 455 h 2660"/>
                <a:gd name="T62" fmla="*/ 4501 w 5385"/>
                <a:gd name="T63" fmla="*/ 173 h 2660"/>
                <a:gd name="T64" fmla="*/ 3599 w 5385"/>
                <a:gd name="T65" fmla="*/ 993 h 2660"/>
                <a:gd name="T66" fmla="*/ 2262 w 5385"/>
                <a:gd name="T67" fmla="*/ 1226 h 2660"/>
                <a:gd name="T68" fmla="*/ 1245 w 5385"/>
                <a:gd name="T69" fmla="*/ 502 h 2660"/>
                <a:gd name="T70" fmla="*/ 138 w 5385"/>
                <a:gd name="T71" fmla="*/ 767 h 2660"/>
                <a:gd name="T72" fmla="*/ 133 w 5385"/>
                <a:gd name="T73" fmla="*/ 2125 h 2660"/>
                <a:gd name="T74" fmla="*/ 664 w 5385"/>
                <a:gd name="T75" fmla="*/ 2519 h 2660"/>
                <a:gd name="T76" fmla="*/ 729 w 5385"/>
                <a:gd name="T77" fmla="*/ 1772 h 2660"/>
                <a:gd name="T78" fmla="*/ 1743 w 5385"/>
                <a:gd name="T79" fmla="*/ 1700 h 2660"/>
                <a:gd name="T80" fmla="*/ 2701 w 5385"/>
                <a:gd name="T81" fmla="*/ 2374 h 2660"/>
                <a:gd name="T82" fmla="*/ 3777 w 5385"/>
                <a:gd name="T83" fmla="*/ 1586 h 2660"/>
                <a:gd name="T84" fmla="*/ 4653 w 5385"/>
                <a:gd name="T85" fmla="*/ 1920 h 2660"/>
                <a:gd name="T86" fmla="*/ 5101 w 5385"/>
                <a:gd name="T87" fmla="*/ 2531 h 2660"/>
                <a:gd name="T88" fmla="*/ 5243 w 5385"/>
                <a:gd name="T89" fmla="*/ 2025 h 2660"/>
                <a:gd name="T90" fmla="*/ 5212 w 5385"/>
                <a:gd name="T91" fmla="*/ 1320 h 2660"/>
                <a:gd name="T92" fmla="*/ 5200 w 5385"/>
                <a:gd name="T93" fmla="*/ 2494 h 2660"/>
                <a:gd name="T94" fmla="*/ 4704 w 5385"/>
                <a:gd name="T95" fmla="*/ 1775 h 2660"/>
                <a:gd name="T96" fmla="*/ 3669 w 5385"/>
                <a:gd name="T97" fmla="*/ 1606 h 2660"/>
                <a:gd name="T98" fmla="*/ 2687 w 5385"/>
                <a:gd name="T99" fmla="*/ 2321 h 2660"/>
                <a:gd name="T100" fmla="*/ 1713 w 5385"/>
                <a:gd name="T101" fmla="*/ 1604 h 2660"/>
                <a:gd name="T102" fmla="*/ 720 w 5385"/>
                <a:gd name="T103" fmla="*/ 1614 h 2660"/>
                <a:gd name="T104" fmla="*/ 703 w 5385"/>
                <a:gd name="T105" fmla="*/ 2487 h 2660"/>
                <a:gd name="T106" fmla="*/ 225 w 5385"/>
                <a:gd name="T107" fmla="*/ 2343 h 2660"/>
                <a:gd name="T108" fmla="*/ 168 w 5385"/>
                <a:gd name="T109" fmla="*/ 1394 h 2660"/>
                <a:gd name="T110" fmla="*/ 205 w 5385"/>
                <a:gd name="T111" fmla="*/ 158 h 2660"/>
                <a:gd name="T112" fmla="*/ 1697 w 5385"/>
                <a:gd name="T113" fmla="*/ 962 h 2660"/>
                <a:gd name="T114" fmla="*/ 3040 w 5385"/>
                <a:gd name="T115" fmla="*/ 1265 h 2660"/>
                <a:gd name="T116" fmla="*/ 4098 w 5385"/>
                <a:gd name="T117" fmla="*/ 582 h 2660"/>
                <a:gd name="T118" fmla="*/ 5075 w 5385"/>
                <a:gd name="T119" fmla="*/ 209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85" h="2660">
                  <a:moveTo>
                    <a:pt x="5384" y="1019"/>
                  </a:moveTo>
                  <a:cubicBezTo>
                    <a:pt x="5383" y="973"/>
                    <a:pt x="5381" y="929"/>
                    <a:pt x="5380" y="889"/>
                  </a:cubicBezTo>
                  <a:cubicBezTo>
                    <a:pt x="5379" y="869"/>
                    <a:pt x="5378" y="850"/>
                    <a:pt x="5377" y="834"/>
                  </a:cubicBezTo>
                  <a:cubicBezTo>
                    <a:pt x="5375" y="816"/>
                    <a:pt x="5374" y="798"/>
                    <a:pt x="5372" y="785"/>
                  </a:cubicBezTo>
                  <a:cubicBezTo>
                    <a:pt x="5370" y="769"/>
                    <a:pt x="5369" y="747"/>
                    <a:pt x="5367" y="726"/>
                  </a:cubicBezTo>
                  <a:cubicBezTo>
                    <a:pt x="5365" y="692"/>
                    <a:pt x="5363" y="649"/>
                    <a:pt x="5361" y="605"/>
                  </a:cubicBezTo>
                  <a:cubicBezTo>
                    <a:pt x="5360" y="557"/>
                    <a:pt x="5359" y="506"/>
                    <a:pt x="5359" y="455"/>
                  </a:cubicBezTo>
                  <a:cubicBezTo>
                    <a:pt x="5359" y="424"/>
                    <a:pt x="5356" y="392"/>
                    <a:pt x="5350" y="362"/>
                  </a:cubicBezTo>
                  <a:cubicBezTo>
                    <a:pt x="5339" y="312"/>
                    <a:pt x="5320" y="265"/>
                    <a:pt x="5298" y="225"/>
                  </a:cubicBezTo>
                  <a:cubicBezTo>
                    <a:pt x="5275" y="185"/>
                    <a:pt x="5248" y="153"/>
                    <a:pt x="5224" y="127"/>
                  </a:cubicBezTo>
                  <a:cubicBezTo>
                    <a:pt x="5207" y="110"/>
                    <a:pt x="5193" y="96"/>
                    <a:pt x="5172" y="80"/>
                  </a:cubicBezTo>
                  <a:cubicBezTo>
                    <a:pt x="5137" y="54"/>
                    <a:pt x="5089" y="28"/>
                    <a:pt x="5031" y="14"/>
                  </a:cubicBezTo>
                  <a:cubicBezTo>
                    <a:pt x="5002" y="6"/>
                    <a:pt x="4972" y="2"/>
                    <a:pt x="4941" y="1"/>
                  </a:cubicBezTo>
                  <a:cubicBezTo>
                    <a:pt x="4927" y="0"/>
                    <a:pt x="4914" y="0"/>
                    <a:pt x="4901" y="0"/>
                  </a:cubicBezTo>
                  <a:cubicBezTo>
                    <a:pt x="4888" y="0"/>
                    <a:pt x="4876" y="0"/>
                    <a:pt x="4863" y="0"/>
                  </a:cubicBezTo>
                  <a:cubicBezTo>
                    <a:pt x="4853" y="0"/>
                    <a:pt x="4853" y="0"/>
                    <a:pt x="4853" y="0"/>
                  </a:cubicBezTo>
                  <a:cubicBezTo>
                    <a:pt x="4847" y="0"/>
                    <a:pt x="4847" y="0"/>
                    <a:pt x="4847" y="0"/>
                  </a:cubicBezTo>
                  <a:cubicBezTo>
                    <a:pt x="4822" y="0"/>
                    <a:pt x="4796" y="0"/>
                    <a:pt x="4770" y="0"/>
                  </a:cubicBezTo>
                  <a:cubicBezTo>
                    <a:pt x="4724" y="1"/>
                    <a:pt x="4680" y="2"/>
                    <a:pt x="4640" y="4"/>
                  </a:cubicBezTo>
                  <a:cubicBezTo>
                    <a:pt x="4620" y="5"/>
                    <a:pt x="4560" y="3"/>
                    <a:pt x="4518" y="14"/>
                  </a:cubicBezTo>
                  <a:cubicBezTo>
                    <a:pt x="4483" y="22"/>
                    <a:pt x="4457" y="40"/>
                    <a:pt x="4452" y="45"/>
                  </a:cubicBezTo>
                  <a:cubicBezTo>
                    <a:pt x="4446" y="51"/>
                    <a:pt x="4410" y="89"/>
                    <a:pt x="4395" y="104"/>
                  </a:cubicBezTo>
                  <a:cubicBezTo>
                    <a:pt x="4380" y="120"/>
                    <a:pt x="4365" y="135"/>
                    <a:pt x="4350" y="150"/>
                  </a:cubicBezTo>
                  <a:cubicBezTo>
                    <a:pt x="4316" y="183"/>
                    <a:pt x="4279" y="219"/>
                    <a:pt x="4242" y="254"/>
                  </a:cubicBezTo>
                  <a:cubicBezTo>
                    <a:pt x="4242" y="254"/>
                    <a:pt x="4242" y="254"/>
                    <a:pt x="4242" y="254"/>
                  </a:cubicBezTo>
                  <a:cubicBezTo>
                    <a:pt x="4223" y="272"/>
                    <a:pt x="4203" y="290"/>
                    <a:pt x="4184" y="308"/>
                  </a:cubicBezTo>
                  <a:cubicBezTo>
                    <a:pt x="4119" y="367"/>
                    <a:pt x="4057" y="421"/>
                    <a:pt x="4011" y="456"/>
                  </a:cubicBezTo>
                  <a:cubicBezTo>
                    <a:pt x="3996" y="468"/>
                    <a:pt x="3980" y="480"/>
                    <a:pt x="3965" y="492"/>
                  </a:cubicBezTo>
                  <a:cubicBezTo>
                    <a:pt x="3910" y="536"/>
                    <a:pt x="3830" y="607"/>
                    <a:pt x="3757" y="675"/>
                  </a:cubicBezTo>
                  <a:cubicBezTo>
                    <a:pt x="3750" y="682"/>
                    <a:pt x="3750" y="682"/>
                    <a:pt x="3750" y="682"/>
                  </a:cubicBezTo>
                  <a:cubicBezTo>
                    <a:pt x="3746" y="686"/>
                    <a:pt x="3746" y="686"/>
                    <a:pt x="3746" y="686"/>
                  </a:cubicBezTo>
                  <a:cubicBezTo>
                    <a:pt x="3728" y="704"/>
                    <a:pt x="3709" y="722"/>
                    <a:pt x="3690" y="740"/>
                  </a:cubicBezTo>
                  <a:cubicBezTo>
                    <a:pt x="3656" y="772"/>
                    <a:pt x="3628" y="801"/>
                    <a:pt x="3600" y="827"/>
                  </a:cubicBezTo>
                  <a:cubicBezTo>
                    <a:pt x="3587" y="838"/>
                    <a:pt x="3575" y="850"/>
                    <a:pt x="3561" y="862"/>
                  </a:cubicBezTo>
                  <a:cubicBezTo>
                    <a:pt x="3550" y="872"/>
                    <a:pt x="3538" y="882"/>
                    <a:pt x="3527" y="893"/>
                  </a:cubicBezTo>
                  <a:cubicBezTo>
                    <a:pt x="3516" y="903"/>
                    <a:pt x="3500" y="916"/>
                    <a:pt x="3484" y="929"/>
                  </a:cubicBezTo>
                  <a:cubicBezTo>
                    <a:pt x="3458" y="949"/>
                    <a:pt x="3424" y="972"/>
                    <a:pt x="3388" y="993"/>
                  </a:cubicBezTo>
                  <a:cubicBezTo>
                    <a:pt x="3349" y="1016"/>
                    <a:pt x="3305" y="1038"/>
                    <a:pt x="3260" y="1056"/>
                  </a:cubicBezTo>
                  <a:cubicBezTo>
                    <a:pt x="3260" y="1056"/>
                    <a:pt x="3260" y="1056"/>
                    <a:pt x="3260" y="1056"/>
                  </a:cubicBezTo>
                  <a:cubicBezTo>
                    <a:pt x="3236" y="1066"/>
                    <a:pt x="3212" y="1075"/>
                    <a:pt x="3189" y="1083"/>
                  </a:cubicBezTo>
                  <a:cubicBezTo>
                    <a:pt x="3109" y="1110"/>
                    <a:pt x="3032" y="1124"/>
                    <a:pt x="2977" y="1130"/>
                  </a:cubicBezTo>
                  <a:cubicBezTo>
                    <a:pt x="2957" y="1131"/>
                    <a:pt x="2942" y="1132"/>
                    <a:pt x="2921" y="1133"/>
                  </a:cubicBezTo>
                  <a:cubicBezTo>
                    <a:pt x="2854" y="1138"/>
                    <a:pt x="2754" y="1144"/>
                    <a:pt x="2659" y="1141"/>
                  </a:cubicBezTo>
                  <a:cubicBezTo>
                    <a:pt x="2650" y="1141"/>
                    <a:pt x="2650" y="1141"/>
                    <a:pt x="2650" y="1141"/>
                  </a:cubicBezTo>
                  <a:cubicBezTo>
                    <a:pt x="2644" y="1141"/>
                    <a:pt x="2644" y="1141"/>
                    <a:pt x="2644" y="1141"/>
                  </a:cubicBezTo>
                  <a:cubicBezTo>
                    <a:pt x="2620" y="1140"/>
                    <a:pt x="2595" y="1139"/>
                    <a:pt x="2571" y="1138"/>
                  </a:cubicBezTo>
                  <a:cubicBezTo>
                    <a:pt x="2528" y="1135"/>
                    <a:pt x="2486" y="1131"/>
                    <a:pt x="2448" y="1127"/>
                  </a:cubicBezTo>
                  <a:cubicBezTo>
                    <a:pt x="2432" y="1125"/>
                    <a:pt x="2414" y="1123"/>
                    <a:pt x="2397" y="1121"/>
                  </a:cubicBezTo>
                  <a:cubicBezTo>
                    <a:pt x="2382" y="1119"/>
                    <a:pt x="2366" y="1117"/>
                    <a:pt x="2350" y="1115"/>
                  </a:cubicBezTo>
                  <a:cubicBezTo>
                    <a:pt x="2335" y="1113"/>
                    <a:pt x="2315" y="1110"/>
                    <a:pt x="2295" y="1106"/>
                  </a:cubicBezTo>
                  <a:cubicBezTo>
                    <a:pt x="2263" y="1100"/>
                    <a:pt x="2223" y="1090"/>
                    <a:pt x="2183" y="1076"/>
                  </a:cubicBezTo>
                  <a:cubicBezTo>
                    <a:pt x="2140" y="1062"/>
                    <a:pt x="2094" y="1044"/>
                    <a:pt x="2050" y="1023"/>
                  </a:cubicBezTo>
                  <a:cubicBezTo>
                    <a:pt x="2028" y="1012"/>
                    <a:pt x="2005" y="999"/>
                    <a:pt x="1983" y="987"/>
                  </a:cubicBezTo>
                  <a:cubicBezTo>
                    <a:pt x="1911" y="945"/>
                    <a:pt x="1848" y="897"/>
                    <a:pt x="1809" y="859"/>
                  </a:cubicBezTo>
                  <a:cubicBezTo>
                    <a:pt x="1795" y="846"/>
                    <a:pt x="1785" y="834"/>
                    <a:pt x="1770" y="820"/>
                  </a:cubicBezTo>
                  <a:cubicBezTo>
                    <a:pt x="1740" y="789"/>
                    <a:pt x="1712" y="760"/>
                    <a:pt x="1684" y="732"/>
                  </a:cubicBezTo>
                  <a:cubicBezTo>
                    <a:pt x="1651" y="698"/>
                    <a:pt x="1613" y="662"/>
                    <a:pt x="1577" y="628"/>
                  </a:cubicBezTo>
                  <a:cubicBezTo>
                    <a:pt x="1570" y="621"/>
                    <a:pt x="1570" y="621"/>
                    <a:pt x="1570" y="621"/>
                  </a:cubicBezTo>
                  <a:cubicBezTo>
                    <a:pt x="1568" y="619"/>
                    <a:pt x="1567" y="618"/>
                    <a:pt x="1566" y="617"/>
                  </a:cubicBezTo>
                  <a:cubicBezTo>
                    <a:pt x="1547" y="599"/>
                    <a:pt x="1527" y="582"/>
                    <a:pt x="1509" y="564"/>
                  </a:cubicBezTo>
                  <a:cubicBezTo>
                    <a:pt x="1475" y="533"/>
                    <a:pt x="1441" y="504"/>
                    <a:pt x="1411" y="477"/>
                  </a:cubicBezTo>
                  <a:cubicBezTo>
                    <a:pt x="1396" y="464"/>
                    <a:pt x="1381" y="453"/>
                    <a:pt x="1368" y="442"/>
                  </a:cubicBezTo>
                  <a:cubicBezTo>
                    <a:pt x="1355" y="431"/>
                    <a:pt x="1340" y="419"/>
                    <a:pt x="1330" y="412"/>
                  </a:cubicBezTo>
                  <a:cubicBezTo>
                    <a:pt x="1317" y="402"/>
                    <a:pt x="1300" y="389"/>
                    <a:pt x="1283" y="375"/>
                  </a:cubicBezTo>
                  <a:cubicBezTo>
                    <a:pt x="1256" y="353"/>
                    <a:pt x="1224" y="325"/>
                    <a:pt x="1191" y="296"/>
                  </a:cubicBezTo>
                  <a:cubicBezTo>
                    <a:pt x="1172" y="279"/>
                    <a:pt x="1154" y="263"/>
                    <a:pt x="1136" y="247"/>
                  </a:cubicBezTo>
                  <a:cubicBezTo>
                    <a:pt x="1127" y="238"/>
                    <a:pt x="1117" y="229"/>
                    <a:pt x="1108" y="221"/>
                  </a:cubicBezTo>
                  <a:cubicBezTo>
                    <a:pt x="1098" y="212"/>
                    <a:pt x="1087" y="202"/>
                    <a:pt x="1077" y="193"/>
                  </a:cubicBezTo>
                  <a:cubicBezTo>
                    <a:pt x="1055" y="175"/>
                    <a:pt x="1031" y="157"/>
                    <a:pt x="1007" y="141"/>
                  </a:cubicBezTo>
                  <a:cubicBezTo>
                    <a:pt x="927" y="87"/>
                    <a:pt x="843" y="53"/>
                    <a:pt x="781" y="34"/>
                  </a:cubicBezTo>
                  <a:cubicBezTo>
                    <a:pt x="760" y="27"/>
                    <a:pt x="743" y="21"/>
                    <a:pt x="718" y="16"/>
                  </a:cubicBezTo>
                  <a:cubicBezTo>
                    <a:pt x="699" y="11"/>
                    <a:pt x="668" y="7"/>
                    <a:pt x="653" y="6"/>
                  </a:cubicBezTo>
                  <a:cubicBezTo>
                    <a:pt x="637" y="4"/>
                    <a:pt x="605" y="4"/>
                    <a:pt x="574" y="6"/>
                  </a:cubicBezTo>
                  <a:cubicBezTo>
                    <a:pt x="526" y="7"/>
                    <a:pt x="127" y="5"/>
                    <a:pt x="90" y="9"/>
                  </a:cubicBezTo>
                  <a:cubicBezTo>
                    <a:pt x="54" y="13"/>
                    <a:pt x="13" y="51"/>
                    <a:pt x="15" y="92"/>
                  </a:cubicBezTo>
                  <a:cubicBezTo>
                    <a:pt x="17" y="130"/>
                    <a:pt x="18" y="155"/>
                    <a:pt x="18" y="163"/>
                  </a:cubicBezTo>
                  <a:cubicBezTo>
                    <a:pt x="18" y="168"/>
                    <a:pt x="25" y="409"/>
                    <a:pt x="25" y="460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5" y="486"/>
                    <a:pt x="25" y="513"/>
                    <a:pt x="25" y="540"/>
                  </a:cubicBezTo>
                  <a:cubicBezTo>
                    <a:pt x="23" y="627"/>
                    <a:pt x="20" y="709"/>
                    <a:pt x="14" y="767"/>
                  </a:cubicBezTo>
                  <a:cubicBezTo>
                    <a:pt x="12" y="787"/>
                    <a:pt x="11" y="806"/>
                    <a:pt x="9" y="825"/>
                  </a:cubicBezTo>
                  <a:cubicBezTo>
                    <a:pt x="3" y="896"/>
                    <a:pt x="0" y="1002"/>
                    <a:pt x="0" y="1102"/>
                  </a:cubicBezTo>
                  <a:cubicBezTo>
                    <a:pt x="0" y="1112"/>
                    <a:pt x="0" y="1112"/>
                    <a:pt x="0" y="1112"/>
                  </a:cubicBezTo>
                  <a:cubicBezTo>
                    <a:pt x="0" y="1114"/>
                    <a:pt x="0" y="1116"/>
                    <a:pt x="0" y="1118"/>
                  </a:cubicBezTo>
                  <a:cubicBezTo>
                    <a:pt x="0" y="1143"/>
                    <a:pt x="1" y="1170"/>
                    <a:pt x="1" y="1195"/>
                  </a:cubicBezTo>
                  <a:cubicBezTo>
                    <a:pt x="1" y="1241"/>
                    <a:pt x="3" y="1286"/>
                    <a:pt x="5" y="1326"/>
                  </a:cubicBezTo>
                  <a:cubicBezTo>
                    <a:pt x="5" y="1346"/>
                    <a:pt x="7" y="1364"/>
                    <a:pt x="8" y="1381"/>
                  </a:cubicBezTo>
                  <a:cubicBezTo>
                    <a:pt x="9" y="1398"/>
                    <a:pt x="10" y="1416"/>
                    <a:pt x="12" y="1429"/>
                  </a:cubicBezTo>
                  <a:cubicBezTo>
                    <a:pt x="14" y="1446"/>
                    <a:pt x="16" y="1467"/>
                    <a:pt x="17" y="1488"/>
                  </a:cubicBezTo>
                  <a:cubicBezTo>
                    <a:pt x="20" y="1523"/>
                    <a:pt x="22" y="1566"/>
                    <a:pt x="23" y="1610"/>
                  </a:cubicBezTo>
                  <a:cubicBezTo>
                    <a:pt x="24" y="1657"/>
                    <a:pt x="25" y="1708"/>
                    <a:pt x="25" y="1759"/>
                  </a:cubicBezTo>
                  <a:cubicBezTo>
                    <a:pt x="25" y="1759"/>
                    <a:pt x="25" y="1759"/>
                    <a:pt x="25" y="1759"/>
                  </a:cubicBezTo>
                  <a:cubicBezTo>
                    <a:pt x="25" y="1786"/>
                    <a:pt x="25" y="1813"/>
                    <a:pt x="25" y="1839"/>
                  </a:cubicBezTo>
                  <a:cubicBezTo>
                    <a:pt x="23" y="1927"/>
                    <a:pt x="20" y="2009"/>
                    <a:pt x="14" y="2066"/>
                  </a:cubicBezTo>
                  <a:cubicBezTo>
                    <a:pt x="12" y="2086"/>
                    <a:pt x="11" y="2105"/>
                    <a:pt x="9" y="2125"/>
                  </a:cubicBezTo>
                  <a:cubicBezTo>
                    <a:pt x="7" y="2142"/>
                    <a:pt x="6" y="2162"/>
                    <a:pt x="5" y="2184"/>
                  </a:cubicBezTo>
                  <a:cubicBezTo>
                    <a:pt x="5" y="2195"/>
                    <a:pt x="4" y="2206"/>
                    <a:pt x="4" y="2218"/>
                  </a:cubicBezTo>
                  <a:cubicBezTo>
                    <a:pt x="3" y="2233"/>
                    <a:pt x="4" y="2248"/>
                    <a:pt x="6" y="2264"/>
                  </a:cubicBezTo>
                  <a:cubicBezTo>
                    <a:pt x="13" y="2327"/>
                    <a:pt x="40" y="2390"/>
                    <a:pt x="76" y="2440"/>
                  </a:cubicBezTo>
                  <a:cubicBezTo>
                    <a:pt x="84" y="2450"/>
                    <a:pt x="84" y="2450"/>
                    <a:pt x="84" y="2450"/>
                  </a:cubicBezTo>
                  <a:cubicBezTo>
                    <a:pt x="85" y="2452"/>
                    <a:pt x="87" y="2454"/>
                    <a:pt x="88" y="2456"/>
                  </a:cubicBezTo>
                  <a:cubicBezTo>
                    <a:pt x="108" y="2480"/>
                    <a:pt x="130" y="2503"/>
                    <a:pt x="153" y="2523"/>
                  </a:cubicBezTo>
                  <a:cubicBezTo>
                    <a:pt x="194" y="2558"/>
                    <a:pt x="239" y="2585"/>
                    <a:pt x="281" y="2605"/>
                  </a:cubicBezTo>
                  <a:cubicBezTo>
                    <a:pt x="302" y="2614"/>
                    <a:pt x="322" y="2622"/>
                    <a:pt x="341" y="2627"/>
                  </a:cubicBezTo>
                  <a:cubicBezTo>
                    <a:pt x="360" y="2633"/>
                    <a:pt x="381" y="2638"/>
                    <a:pt x="396" y="2640"/>
                  </a:cubicBezTo>
                  <a:cubicBezTo>
                    <a:pt x="415" y="2643"/>
                    <a:pt x="439" y="2647"/>
                    <a:pt x="464" y="2649"/>
                  </a:cubicBezTo>
                  <a:cubicBezTo>
                    <a:pt x="483" y="2650"/>
                    <a:pt x="507" y="2651"/>
                    <a:pt x="530" y="2650"/>
                  </a:cubicBezTo>
                  <a:cubicBezTo>
                    <a:pt x="552" y="2649"/>
                    <a:pt x="574" y="2648"/>
                    <a:pt x="596" y="2647"/>
                  </a:cubicBezTo>
                  <a:cubicBezTo>
                    <a:pt x="620" y="2646"/>
                    <a:pt x="646" y="2644"/>
                    <a:pt x="672" y="2642"/>
                  </a:cubicBezTo>
                  <a:cubicBezTo>
                    <a:pt x="698" y="2640"/>
                    <a:pt x="698" y="2640"/>
                    <a:pt x="698" y="2640"/>
                  </a:cubicBezTo>
                  <a:cubicBezTo>
                    <a:pt x="709" y="2639"/>
                    <a:pt x="719" y="2638"/>
                    <a:pt x="729" y="2636"/>
                  </a:cubicBezTo>
                  <a:cubicBezTo>
                    <a:pt x="750" y="2632"/>
                    <a:pt x="769" y="2626"/>
                    <a:pt x="785" y="2615"/>
                  </a:cubicBezTo>
                  <a:cubicBezTo>
                    <a:pt x="785" y="2615"/>
                    <a:pt x="785" y="2615"/>
                    <a:pt x="785" y="2615"/>
                  </a:cubicBezTo>
                  <a:cubicBezTo>
                    <a:pt x="801" y="2603"/>
                    <a:pt x="815" y="2586"/>
                    <a:pt x="822" y="2567"/>
                  </a:cubicBezTo>
                  <a:cubicBezTo>
                    <a:pt x="829" y="2548"/>
                    <a:pt x="831" y="2527"/>
                    <a:pt x="831" y="2505"/>
                  </a:cubicBezTo>
                  <a:cubicBezTo>
                    <a:pt x="831" y="2481"/>
                    <a:pt x="832" y="2456"/>
                    <a:pt x="832" y="2431"/>
                  </a:cubicBezTo>
                  <a:cubicBezTo>
                    <a:pt x="833" y="2411"/>
                    <a:pt x="834" y="2391"/>
                    <a:pt x="835" y="2370"/>
                  </a:cubicBezTo>
                  <a:cubicBezTo>
                    <a:pt x="836" y="2332"/>
                    <a:pt x="839" y="2297"/>
                    <a:pt x="841" y="2268"/>
                  </a:cubicBezTo>
                  <a:cubicBezTo>
                    <a:pt x="843" y="2249"/>
                    <a:pt x="845" y="2229"/>
                    <a:pt x="847" y="2210"/>
                  </a:cubicBezTo>
                  <a:cubicBezTo>
                    <a:pt x="853" y="2139"/>
                    <a:pt x="855" y="2033"/>
                    <a:pt x="855" y="1933"/>
                  </a:cubicBezTo>
                  <a:cubicBezTo>
                    <a:pt x="855" y="1923"/>
                    <a:pt x="855" y="1923"/>
                    <a:pt x="855" y="1923"/>
                  </a:cubicBezTo>
                  <a:cubicBezTo>
                    <a:pt x="855" y="1921"/>
                    <a:pt x="855" y="1919"/>
                    <a:pt x="855" y="1917"/>
                  </a:cubicBezTo>
                  <a:cubicBezTo>
                    <a:pt x="855" y="1892"/>
                    <a:pt x="855" y="1866"/>
                    <a:pt x="855" y="1840"/>
                  </a:cubicBezTo>
                  <a:cubicBezTo>
                    <a:pt x="854" y="1818"/>
                    <a:pt x="854" y="1796"/>
                    <a:pt x="853" y="1774"/>
                  </a:cubicBezTo>
                  <a:cubicBezTo>
                    <a:pt x="853" y="1757"/>
                    <a:pt x="854" y="1741"/>
                    <a:pt x="856" y="1726"/>
                  </a:cubicBezTo>
                  <a:cubicBezTo>
                    <a:pt x="858" y="1711"/>
                    <a:pt x="861" y="1697"/>
                    <a:pt x="864" y="1685"/>
                  </a:cubicBezTo>
                  <a:cubicBezTo>
                    <a:pt x="868" y="1672"/>
                    <a:pt x="872" y="1659"/>
                    <a:pt x="876" y="1649"/>
                  </a:cubicBezTo>
                  <a:cubicBezTo>
                    <a:pt x="880" y="1637"/>
                    <a:pt x="888" y="1621"/>
                    <a:pt x="897" y="1607"/>
                  </a:cubicBezTo>
                  <a:cubicBezTo>
                    <a:pt x="912" y="1584"/>
                    <a:pt x="936" y="1557"/>
                    <a:pt x="965" y="1537"/>
                  </a:cubicBezTo>
                  <a:cubicBezTo>
                    <a:pt x="997" y="1515"/>
                    <a:pt x="1036" y="1500"/>
                    <a:pt x="1077" y="1495"/>
                  </a:cubicBezTo>
                  <a:cubicBezTo>
                    <a:pt x="1088" y="1493"/>
                    <a:pt x="1099" y="1493"/>
                    <a:pt x="1110" y="1493"/>
                  </a:cubicBezTo>
                  <a:cubicBezTo>
                    <a:pt x="1121" y="1493"/>
                    <a:pt x="1133" y="1493"/>
                    <a:pt x="1145" y="1494"/>
                  </a:cubicBezTo>
                  <a:cubicBezTo>
                    <a:pt x="1223" y="1500"/>
                    <a:pt x="1294" y="1527"/>
                    <a:pt x="1339" y="1553"/>
                  </a:cubicBezTo>
                  <a:cubicBezTo>
                    <a:pt x="1355" y="1561"/>
                    <a:pt x="1368" y="1569"/>
                    <a:pt x="1385" y="1580"/>
                  </a:cubicBezTo>
                  <a:cubicBezTo>
                    <a:pt x="1439" y="1614"/>
                    <a:pt x="1519" y="1671"/>
                    <a:pt x="1592" y="1733"/>
                  </a:cubicBezTo>
                  <a:cubicBezTo>
                    <a:pt x="1599" y="1740"/>
                    <a:pt x="1599" y="1740"/>
                    <a:pt x="1599" y="1740"/>
                  </a:cubicBezTo>
                  <a:cubicBezTo>
                    <a:pt x="1604" y="1743"/>
                    <a:pt x="1604" y="1743"/>
                    <a:pt x="1604" y="1743"/>
                  </a:cubicBezTo>
                  <a:cubicBezTo>
                    <a:pt x="1622" y="1759"/>
                    <a:pt x="1642" y="1776"/>
                    <a:pt x="1660" y="1792"/>
                  </a:cubicBezTo>
                  <a:cubicBezTo>
                    <a:pt x="1692" y="1819"/>
                    <a:pt x="1724" y="1848"/>
                    <a:pt x="1758" y="1876"/>
                  </a:cubicBezTo>
                  <a:cubicBezTo>
                    <a:pt x="1773" y="1889"/>
                    <a:pt x="1787" y="1901"/>
                    <a:pt x="1800" y="1912"/>
                  </a:cubicBezTo>
                  <a:cubicBezTo>
                    <a:pt x="1813" y="1923"/>
                    <a:pt x="1828" y="1934"/>
                    <a:pt x="1839" y="1942"/>
                  </a:cubicBezTo>
                  <a:cubicBezTo>
                    <a:pt x="1855" y="1955"/>
                    <a:pt x="1872" y="1967"/>
                    <a:pt x="1887" y="1979"/>
                  </a:cubicBezTo>
                  <a:cubicBezTo>
                    <a:pt x="1915" y="2000"/>
                    <a:pt x="1947" y="2027"/>
                    <a:pt x="1981" y="2055"/>
                  </a:cubicBezTo>
                  <a:cubicBezTo>
                    <a:pt x="2017" y="2086"/>
                    <a:pt x="2055" y="2120"/>
                    <a:pt x="2093" y="2154"/>
                  </a:cubicBezTo>
                  <a:cubicBezTo>
                    <a:pt x="2113" y="2172"/>
                    <a:pt x="2133" y="2190"/>
                    <a:pt x="2153" y="2208"/>
                  </a:cubicBezTo>
                  <a:cubicBezTo>
                    <a:pt x="2220" y="2268"/>
                    <a:pt x="2285" y="2323"/>
                    <a:pt x="2334" y="2361"/>
                  </a:cubicBezTo>
                  <a:cubicBezTo>
                    <a:pt x="2351" y="2375"/>
                    <a:pt x="2364" y="2386"/>
                    <a:pt x="2384" y="2399"/>
                  </a:cubicBezTo>
                  <a:cubicBezTo>
                    <a:pt x="2416" y="2421"/>
                    <a:pt x="2460" y="2446"/>
                    <a:pt x="2512" y="2465"/>
                  </a:cubicBezTo>
                  <a:cubicBezTo>
                    <a:pt x="2563" y="2485"/>
                    <a:pt x="2625" y="2497"/>
                    <a:pt x="2685" y="2498"/>
                  </a:cubicBezTo>
                  <a:cubicBezTo>
                    <a:pt x="2697" y="2498"/>
                    <a:pt x="2697" y="2498"/>
                    <a:pt x="2697" y="2498"/>
                  </a:cubicBezTo>
                  <a:cubicBezTo>
                    <a:pt x="2699" y="2498"/>
                    <a:pt x="2701" y="2498"/>
                    <a:pt x="2704" y="2498"/>
                  </a:cubicBezTo>
                  <a:cubicBezTo>
                    <a:pt x="2735" y="2497"/>
                    <a:pt x="2766" y="2494"/>
                    <a:pt x="2796" y="2487"/>
                  </a:cubicBezTo>
                  <a:cubicBezTo>
                    <a:pt x="2849" y="2476"/>
                    <a:pt x="2897" y="2457"/>
                    <a:pt x="2937" y="2436"/>
                  </a:cubicBezTo>
                  <a:cubicBezTo>
                    <a:pt x="2957" y="2426"/>
                    <a:pt x="2975" y="2416"/>
                    <a:pt x="2990" y="2406"/>
                  </a:cubicBezTo>
                  <a:cubicBezTo>
                    <a:pt x="3006" y="2395"/>
                    <a:pt x="3023" y="2384"/>
                    <a:pt x="3034" y="2375"/>
                  </a:cubicBezTo>
                  <a:cubicBezTo>
                    <a:pt x="3050" y="2362"/>
                    <a:pt x="3067" y="2348"/>
                    <a:pt x="3083" y="2336"/>
                  </a:cubicBezTo>
                  <a:cubicBezTo>
                    <a:pt x="3111" y="2312"/>
                    <a:pt x="3145" y="2284"/>
                    <a:pt x="3179" y="2254"/>
                  </a:cubicBezTo>
                  <a:cubicBezTo>
                    <a:pt x="3219" y="2219"/>
                    <a:pt x="3256" y="2186"/>
                    <a:pt x="3293" y="2152"/>
                  </a:cubicBezTo>
                  <a:cubicBezTo>
                    <a:pt x="3293" y="2152"/>
                    <a:pt x="3293" y="2152"/>
                    <a:pt x="3293" y="2152"/>
                  </a:cubicBezTo>
                  <a:cubicBezTo>
                    <a:pt x="3313" y="2135"/>
                    <a:pt x="3333" y="2117"/>
                    <a:pt x="3353" y="2099"/>
                  </a:cubicBezTo>
                  <a:cubicBezTo>
                    <a:pt x="3386" y="2070"/>
                    <a:pt x="3418" y="2043"/>
                    <a:pt x="3448" y="2018"/>
                  </a:cubicBezTo>
                  <a:cubicBezTo>
                    <a:pt x="3462" y="2006"/>
                    <a:pt x="3477" y="1995"/>
                    <a:pt x="3490" y="1984"/>
                  </a:cubicBezTo>
                  <a:cubicBezTo>
                    <a:pt x="3503" y="1974"/>
                    <a:pt x="3516" y="1964"/>
                    <a:pt x="3529" y="1954"/>
                  </a:cubicBezTo>
                  <a:cubicBezTo>
                    <a:pt x="3545" y="1942"/>
                    <a:pt x="3559" y="1932"/>
                    <a:pt x="3576" y="1918"/>
                  </a:cubicBezTo>
                  <a:cubicBezTo>
                    <a:pt x="3632" y="1874"/>
                    <a:pt x="3710" y="1803"/>
                    <a:pt x="3783" y="1741"/>
                  </a:cubicBezTo>
                  <a:cubicBezTo>
                    <a:pt x="3790" y="1735"/>
                    <a:pt x="3790" y="1735"/>
                    <a:pt x="3790" y="1735"/>
                  </a:cubicBezTo>
                  <a:cubicBezTo>
                    <a:pt x="3792" y="1734"/>
                    <a:pt x="3793" y="1733"/>
                    <a:pt x="3795" y="1731"/>
                  </a:cubicBezTo>
                  <a:cubicBezTo>
                    <a:pt x="3814" y="1716"/>
                    <a:pt x="3833" y="1700"/>
                    <a:pt x="3852" y="1685"/>
                  </a:cubicBezTo>
                  <a:cubicBezTo>
                    <a:pt x="3886" y="1658"/>
                    <a:pt x="3919" y="1634"/>
                    <a:pt x="3950" y="1613"/>
                  </a:cubicBezTo>
                  <a:cubicBezTo>
                    <a:pt x="3965" y="1603"/>
                    <a:pt x="3979" y="1594"/>
                    <a:pt x="3992" y="1586"/>
                  </a:cubicBezTo>
                  <a:cubicBezTo>
                    <a:pt x="4004" y="1578"/>
                    <a:pt x="4017" y="1570"/>
                    <a:pt x="4030" y="1562"/>
                  </a:cubicBezTo>
                  <a:cubicBezTo>
                    <a:pt x="4042" y="1554"/>
                    <a:pt x="4059" y="1545"/>
                    <a:pt x="4076" y="1537"/>
                  </a:cubicBezTo>
                  <a:cubicBezTo>
                    <a:pt x="4105" y="1523"/>
                    <a:pt x="4141" y="1511"/>
                    <a:pt x="4180" y="1503"/>
                  </a:cubicBezTo>
                  <a:cubicBezTo>
                    <a:pt x="4201" y="1498"/>
                    <a:pt x="4223" y="1495"/>
                    <a:pt x="4245" y="1494"/>
                  </a:cubicBezTo>
                  <a:cubicBezTo>
                    <a:pt x="4256" y="1493"/>
                    <a:pt x="4268" y="1492"/>
                    <a:pt x="4278" y="1493"/>
                  </a:cubicBezTo>
                  <a:cubicBezTo>
                    <a:pt x="4289" y="1493"/>
                    <a:pt x="4299" y="1493"/>
                    <a:pt x="4309" y="1495"/>
                  </a:cubicBezTo>
                  <a:cubicBezTo>
                    <a:pt x="4330" y="1498"/>
                    <a:pt x="4352" y="1503"/>
                    <a:pt x="4371" y="1511"/>
                  </a:cubicBezTo>
                  <a:cubicBezTo>
                    <a:pt x="4438" y="1538"/>
                    <a:pt x="4484" y="1593"/>
                    <a:pt x="4503" y="1634"/>
                  </a:cubicBezTo>
                  <a:cubicBezTo>
                    <a:pt x="4509" y="1649"/>
                    <a:pt x="4513" y="1661"/>
                    <a:pt x="4518" y="1677"/>
                  </a:cubicBezTo>
                  <a:cubicBezTo>
                    <a:pt x="4526" y="1703"/>
                    <a:pt x="4532" y="1737"/>
                    <a:pt x="4531" y="1772"/>
                  </a:cubicBezTo>
                  <a:cubicBezTo>
                    <a:pt x="4530" y="1819"/>
                    <a:pt x="4529" y="1871"/>
                    <a:pt x="4529" y="1921"/>
                  </a:cubicBezTo>
                  <a:cubicBezTo>
                    <a:pt x="4529" y="1931"/>
                    <a:pt x="4529" y="1931"/>
                    <a:pt x="4529" y="1931"/>
                  </a:cubicBezTo>
                  <a:cubicBezTo>
                    <a:pt x="4529" y="1933"/>
                    <a:pt x="4529" y="1935"/>
                    <a:pt x="4529" y="1937"/>
                  </a:cubicBezTo>
                  <a:cubicBezTo>
                    <a:pt x="4529" y="1962"/>
                    <a:pt x="4529" y="1988"/>
                    <a:pt x="4529" y="2014"/>
                  </a:cubicBezTo>
                  <a:cubicBezTo>
                    <a:pt x="4530" y="2059"/>
                    <a:pt x="4531" y="2104"/>
                    <a:pt x="4533" y="2144"/>
                  </a:cubicBezTo>
                  <a:cubicBezTo>
                    <a:pt x="4534" y="2164"/>
                    <a:pt x="4535" y="2183"/>
                    <a:pt x="4536" y="2199"/>
                  </a:cubicBezTo>
                  <a:cubicBezTo>
                    <a:pt x="4537" y="2208"/>
                    <a:pt x="4538" y="2218"/>
                    <a:pt x="4539" y="2228"/>
                  </a:cubicBezTo>
                  <a:cubicBezTo>
                    <a:pt x="4540" y="2239"/>
                    <a:pt x="4542" y="2249"/>
                    <a:pt x="4544" y="2258"/>
                  </a:cubicBezTo>
                  <a:cubicBezTo>
                    <a:pt x="4548" y="2278"/>
                    <a:pt x="4556" y="2305"/>
                    <a:pt x="4566" y="2329"/>
                  </a:cubicBezTo>
                  <a:cubicBezTo>
                    <a:pt x="4583" y="2369"/>
                    <a:pt x="4611" y="2413"/>
                    <a:pt x="4645" y="2451"/>
                  </a:cubicBezTo>
                  <a:cubicBezTo>
                    <a:pt x="4682" y="2493"/>
                    <a:pt x="4727" y="2529"/>
                    <a:pt x="4776" y="2559"/>
                  </a:cubicBezTo>
                  <a:cubicBezTo>
                    <a:pt x="4801" y="2575"/>
                    <a:pt x="4828" y="2589"/>
                    <a:pt x="4854" y="2601"/>
                  </a:cubicBezTo>
                  <a:cubicBezTo>
                    <a:pt x="4899" y="2620"/>
                    <a:pt x="4945" y="2635"/>
                    <a:pt x="4989" y="2643"/>
                  </a:cubicBezTo>
                  <a:cubicBezTo>
                    <a:pt x="5010" y="2648"/>
                    <a:pt x="5032" y="2650"/>
                    <a:pt x="5052" y="2652"/>
                  </a:cubicBezTo>
                  <a:cubicBezTo>
                    <a:pt x="5068" y="2653"/>
                    <a:pt x="5085" y="2654"/>
                    <a:pt x="5102" y="2656"/>
                  </a:cubicBezTo>
                  <a:cubicBezTo>
                    <a:pt x="5123" y="2657"/>
                    <a:pt x="5140" y="2659"/>
                    <a:pt x="5163" y="2660"/>
                  </a:cubicBezTo>
                  <a:cubicBezTo>
                    <a:pt x="5172" y="2660"/>
                    <a:pt x="5182" y="2660"/>
                    <a:pt x="5192" y="2660"/>
                  </a:cubicBezTo>
                  <a:cubicBezTo>
                    <a:pt x="5209" y="2660"/>
                    <a:pt x="5209" y="2660"/>
                    <a:pt x="5209" y="2660"/>
                  </a:cubicBezTo>
                  <a:cubicBezTo>
                    <a:pt x="5216" y="2660"/>
                    <a:pt x="5227" y="2659"/>
                    <a:pt x="5236" y="2658"/>
                  </a:cubicBezTo>
                  <a:cubicBezTo>
                    <a:pt x="5256" y="2657"/>
                    <a:pt x="5277" y="2654"/>
                    <a:pt x="5296" y="2648"/>
                  </a:cubicBezTo>
                  <a:cubicBezTo>
                    <a:pt x="5315" y="2641"/>
                    <a:pt x="5332" y="2631"/>
                    <a:pt x="5346" y="2616"/>
                  </a:cubicBezTo>
                  <a:cubicBezTo>
                    <a:pt x="5376" y="2585"/>
                    <a:pt x="5385" y="2542"/>
                    <a:pt x="5383" y="2493"/>
                  </a:cubicBezTo>
                  <a:cubicBezTo>
                    <a:pt x="5384" y="2465"/>
                    <a:pt x="5384" y="2438"/>
                    <a:pt x="5384" y="2411"/>
                  </a:cubicBezTo>
                  <a:cubicBezTo>
                    <a:pt x="5384" y="2401"/>
                    <a:pt x="5384" y="2401"/>
                    <a:pt x="5384" y="2401"/>
                  </a:cubicBezTo>
                  <a:cubicBezTo>
                    <a:pt x="5384" y="2399"/>
                    <a:pt x="5384" y="2398"/>
                    <a:pt x="5384" y="2396"/>
                  </a:cubicBezTo>
                  <a:cubicBezTo>
                    <a:pt x="5384" y="2370"/>
                    <a:pt x="5384" y="2344"/>
                    <a:pt x="5384" y="2318"/>
                  </a:cubicBezTo>
                  <a:cubicBezTo>
                    <a:pt x="5383" y="2273"/>
                    <a:pt x="5381" y="2228"/>
                    <a:pt x="5380" y="2188"/>
                  </a:cubicBezTo>
                  <a:cubicBezTo>
                    <a:pt x="5379" y="2168"/>
                    <a:pt x="5378" y="2149"/>
                    <a:pt x="5377" y="2133"/>
                  </a:cubicBezTo>
                  <a:cubicBezTo>
                    <a:pt x="5375" y="2116"/>
                    <a:pt x="5374" y="2097"/>
                    <a:pt x="5372" y="2084"/>
                  </a:cubicBezTo>
                  <a:cubicBezTo>
                    <a:pt x="5370" y="2068"/>
                    <a:pt x="5369" y="2047"/>
                    <a:pt x="5367" y="2025"/>
                  </a:cubicBezTo>
                  <a:cubicBezTo>
                    <a:pt x="5365" y="1991"/>
                    <a:pt x="5363" y="1948"/>
                    <a:pt x="5361" y="1904"/>
                  </a:cubicBezTo>
                  <a:cubicBezTo>
                    <a:pt x="5360" y="1856"/>
                    <a:pt x="5359" y="1805"/>
                    <a:pt x="5359" y="1754"/>
                  </a:cubicBezTo>
                  <a:cubicBezTo>
                    <a:pt x="5359" y="1728"/>
                    <a:pt x="5360" y="1701"/>
                    <a:pt x="5360" y="1674"/>
                  </a:cubicBezTo>
                  <a:cubicBezTo>
                    <a:pt x="5361" y="1587"/>
                    <a:pt x="5365" y="1505"/>
                    <a:pt x="5370" y="1447"/>
                  </a:cubicBezTo>
                  <a:cubicBezTo>
                    <a:pt x="5372" y="1428"/>
                    <a:pt x="5374" y="1408"/>
                    <a:pt x="5376" y="1389"/>
                  </a:cubicBezTo>
                  <a:cubicBezTo>
                    <a:pt x="5381" y="1318"/>
                    <a:pt x="5384" y="1212"/>
                    <a:pt x="5384" y="1112"/>
                  </a:cubicBezTo>
                  <a:cubicBezTo>
                    <a:pt x="5384" y="1102"/>
                    <a:pt x="5384" y="1102"/>
                    <a:pt x="5384" y="1102"/>
                  </a:cubicBezTo>
                  <a:cubicBezTo>
                    <a:pt x="5384" y="1100"/>
                    <a:pt x="5384" y="1098"/>
                    <a:pt x="5384" y="1096"/>
                  </a:cubicBezTo>
                  <a:cubicBezTo>
                    <a:pt x="5384" y="1071"/>
                    <a:pt x="5384" y="1045"/>
                    <a:pt x="5384" y="1019"/>
                  </a:cubicBezTo>
                  <a:close/>
                  <a:moveTo>
                    <a:pt x="5331" y="1112"/>
                  </a:moveTo>
                  <a:cubicBezTo>
                    <a:pt x="5332" y="1138"/>
                    <a:pt x="5332" y="1164"/>
                    <a:pt x="5332" y="1190"/>
                  </a:cubicBezTo>
                  <a:cubicBezTo>
                    <a:pt x="5333" y="1235"/>
                    <a:pt x="5334" y="1280"/>
                    <a:pt x="5336" y="1320"/>
                  </a:cubicBezTo>
                  <a:cubicBezTo>
                    <a:pt x="5337" y="1340"/>
                    <a:pt x="5338" y="1359"/>
                    <a:pt x="5339" y="1375"/>
                  </a:cubicBezTo>
                  <a:cubicBezTo>
                    <a:pt x="5340" y="1393"/>
                    <a:pt x="5342" y="1411"/>
                    <a:pt x="5343" y="1424"/>
                  </a:cubicBezTo>
                  <a:cubicBezTo>
                    <a:pt x="5345" y="1440"/>
                    <a:pt x="5347" y="1462"/>
                    <a:pt x="5349" y="1482"/>
                  </a:cubicBezTo>
                  <a:cubicBezTo>
                    <a:pt x="5351" y="1517"/>
                    <a:pt x="5353" y="1560"/>
                    <a:pt x="5354" y="1604"/>
                  </a:cubicBezTo>
                  <a:cubicBezTo>
                    <a:pt x="5356" y="1652"/>
                    <a:pt x="5356" y="1703"/>
                    <a:pt x="5356" y="1754"/>
                  </a:cubicBezTo>
                  <a:cubicBezTo>
                    <a:pt x="5356" y="1780"/>
                    <a:pt x="5356" y="1807"/>
                    <a:pt x="5356" y="1833"/>
                  </a:cubicBezTo>
                  <a:cubicBezTo>
                    <a:pt x="5354" y="1921"/>
                    <a:pt x="5351" y="2003"/>
                    <a:pt x="5346" y="2061"/>
                  </a:cubicBezTo>
                  <a:cubicBezTo>
                    <a:pt x="5344" y="2080"/>
                    <a:pt x="5342" y="2100"/>
                    <a:pt x="5340" y="2119"/>
                  </a:cubicBezTo>
                  <a:cubicBezTo>
                    <a:pt x="5334" y="2190"/>
                    <a:pt x="5331" y="2296"/>
                    <a:pt x="5331" y="2396"/>
                  </a:cubicBezTo>
                  <a:cubicBezTo>
                    <a:pt x="5331" y="2398"/>
                    <a:pt x="5331" y="2400"/>
                    <a:pt x="5331" y="2401"/>
                  </a:cubicBezTo>
                  <a:cubicBezTo>
                    <a:pt x="5331" y="2405"/>
                    <a:pt x="5331" y="2408"/>
                    <a:pt x="5331" y="2412"/>
                  </a:cubicBezTo>
                  <a:cubicBezTo>
                    <a:pt x="5332" y="2438"/>
                    <a:pt x="5332" y="2466"/>
                    <a:pt x="5332" y="2492"/>
                  </a:cubicBezTo>
                  <a:cubicBezTo>
                    <a:pt x="5333" y="2524"/>
                    <a:pt x="5332" y="2555"/>
                    <a:pt x="5314" y="2579"/>
                  </a:cubicBezTo>
                  <a:cubicBezTo>
                    <a:pt x="5296" y="2603"/>
                    <a:pt x="5268" y="2609"/>
                    <a:pt x="5240" y="2614"/>
                  </a:cubicBezTo>
                  <a:cubicBezTo>
                    <a:pt x="5234" y="2615"/>
                    <a:pt x="5227" y="2616"/>
                    <a:pt x="5220" y="2617"/>
                  </a:cubicBezTo>
                  <a:cubicBezTo>
                    <a:pt x="5214" y="2618"/>
                    <a:pt x="5208" y="2618"/>
                    <a:pt x="5202" y="2619"/>
                  </a:cubicBezTo>
                  <a:cubicBezTo>
                    <a:pt x="5193" y="2620"/>
                    <a:pt x="5184" y="2621"/>
                    <a:pt x="5175" y="2622"/>
                  </a:cubicBezTo>
                  <a:cubicBezTo>
                    <a:pt x="5160" y="2624"/>
                    <a:pt x="5142" y="2626"/>
                    <a:pt x="5125" y="2628"/>
                  </a:cubicBezTo>
                  <a:cubicBezTo>
                    <a:pt x="5109" y="2631"/>
                    <a:pt x="5087" y="2633"/>
                    <a:pt x="5066" y="2634"/>
                  </a:cubicBezTo>
                  <a:cubicBezTo>
                    <a:pt x="5027" y="2637"/>
                    <a:pt x="4978" y="2633"/>
                    <a:pt x="4930" y="2621"/>
                  </a:cubicBezTo>
                  <a:cubicBezTo>
                    <a:pt x="4878" y="2608"/>
                    <a:pt x="4826" y="2586"/>
                    <a:pt x="4777" y="2557"/>
                  </a:cubicBezTo>
                  <a:cubicBezTo>
                    <a:pt x="4752" y="2541"/>
                    <a:pt x="4728" y="2523"/>
                    <a:pt x="4706" y="2504"/>
                  </a:cubicBezTo>
                  <a:cubicBezTo>
                    <a:pt x="4669" y="2471"/>
                    <a:pt x="4637" y="2434"/>
                    <a:pt x="4615" y="2395"/>
                  </a:cubicBezTo>
                  <a:cubicBezTo>
                    <a:pt x="4592" y="2356"/>
                    <a:pt x="4580" y="2315"/>
                    <a:pt x="4575" y="2281"/>
                  </a:cubicBezTo>
                  <a:cubicBezTo>
                    <a:pt x="4572" y="2257"/>
                    <a:pt x="4571" y="2238"/>
                    <a:pt x="4573" y="2213"/>
                  </a:cubicBezTo>
                  <a:cubicBezTo>
                    <a:pt x="4579" y="2142"/>
                    <a:pt x="4582" y="2036"/>
                    <a:pt x="4582" y="1936"/>
                  </a:cubicBezTo>
                  <a:cubicBezTo>
                    <a:pt x="4582" y="1934"/>
                    <a:pt x="4582" y="1933"/>
                    <a:pt x="4582" y="1931"/>
                  </a:cubicBezTo>
                  <a:cubicBezTo>
                    <a:pt x="4582" y="1927"/>
                    <a:pt x="4582" y="1924"/>
                    <a:pt x="4582" y="1920"/>
                  </a:cubicBezTo>
                  <a:cubicBezTo>
                    <a:pt x="4581" y="1895"/>
                    <a:pt x="4581" y="1869"/>
                    <a:pt x="4581" y="1843"/>
                  </a:cubicBezTo>
                  <a:cubicBezTo>
                    <a:pt x="4580" y="1821"/>
                    <a:pt x="4580" y="1799"/>
                    <a:pt x="4580" y="1776"/>
                  </a:cubicBezTo>
                  <a:cubicBezTo>
                    <a:pt x="4579" y="1756"/>
                    <a:pt x="4576" y="1738"/>
                    <a:pt x="4572" y="1720"/>
                  </a:cubicBezTo>
                  <a:cubicBezTo>
                    <a:pt x="4568" y="1703"/>
                    <a:pt x="4562" y="1688"/>
                    <a:pt x="4556" y="1675"/>
                  </a:cubicBezTo>
                  <a:cubicBezTo>
                    <a:pt x="4550" y="1661"/>
                    <a:pt x="4542" y="1647"/>
                    <a:pt x="4535" y="1637"/>
                  </a:cubicBezTo>
                  <a:cubicBezTo>
                    <a:pt x="4527" y="1626"/>
                    <a:pt x="4516" y="1611"/>
                    <a:pt x="4504" y="1598"/>
                  </a:cubicBezTo>
                  <a:cubicBezTo>
                    <a:pt x="4484" y="1576"/>
                    <a:pt x="4457" y="1551"/>
                    <a:pt x="4425" y="1533"/>
                  </a:cubicBezTo>
                  <a:cubicBezTo>
                    <a:pt x="4391" y="1512"/>
                    <a:pt x="4351" y="1497"/>
                    <a:pt x="4310" y="1492"/>
                  </a:cubicBezTo>
                  <a:cubicBezTo>
                    <a:pt x="4310" y="1492"/>
                    <a:pt x="4310" y="1492"/>
                    <a:pt x="4310" y="1492"/>
                  </a:cubicBezTo>
                  <a:cubicBezTo>
                    <a:pt x="4299" y="1490"/>
                    <a:pt x="4288" y="1490"/>
                    <a:pt x="4277" y="1489"/>
                  </a:cubicBezTo>
                  <a:cubicBezTo>
                    <a:pt x="4266" y="1489"/>
                    <a:pt x="4253" y="1489"/>
                    <a:pt x="4242" y="1490"/>
                  </a:cubicBezTo>
                  <a:cubicBezTo>
                    <a:pt x="4163" y="1493"/>
                    <a:pt x="4090" y="1512"/>
                    <a:pt x="4038" y="1529"/>
                  </a:cubicBezTo>
                  <a:cubicBezTo>
                    <a:pt x="4020" y="1535"/>
                    <a:pt x="4005" y="1539"/>
                    <a:pt x="3986" y="1547"/>
                  </a:cubicBezTo>
                  <a:cubicBezTo>
                    <a:pt x="3923" y="1572"/>
                    <a:pt x="3836" y="1628"/>
                    <a:pt x="3761" y="1691"/>
                  </a:cubicBezTo>
                  <a:cubicBezTo>
                    <a:pt x="3759" y="1692"/>
                    <a:pt x="3758" y="1693"/>
                    <a:pt x="3756" y="1694"/>
                  </a:cubicBezTo>
                  <a:cubicBezTo>
                    <a:pt x="3749" y="1701"/>
                    <a:pt x="3749" y="1701"/>
                    <a:pt x="3749" y="1701"/>
                  </a:cubicBezTo>
                  <a:cubicBezTo>
                    <a:pt x="3729" y="1717"/>
                    <a:pt x="3710" y="1735"/>
                    <a:pt x="3692" y="1752"/>
                  </a:cubicBezTo>
                  <a:cubicBezTo>
                    <a:pt x="3659" y="1782"/>
                    <a:pt x="3627" y="1814"/>
                    <a:pt x="3599" y="1842"/>
                  </a:cubicBezTo>
                  <a:cubicBezTo>
                    <a:pt x="3585" y="1857"/>
                    <a:pt x="3572" y="1870"/>
                    <a:pt x="3561" y="1882"/>
                  </a:cubicBezTo>
                  <a:cubicBezTo>
                    <a:pt x="3549" y="1895"/>
                    <a:pt x="3537" y="1909"/>
                    <a:pt x="3528" y="1919"/>
                  </a:cubicBezTo>
                  <a:cubicBezTo>
                    <a:pt x="3517" y="1931"/>
                    <a:pt x="3503" y="1947"/>
                    <a:pt x="3487" y="1963"/>
                  </a:cubicBezTo>
                  <a:cubicBezTo>
                    <a:pt x="3463" y="1988"/>
                    <a:pt x="3433" y="2017"/>
                    <a:pt x="3401" y="2048"/>
                  </a:cubicBezTo>
                  <a:cubicBezTo>
                    <a:pt x="3367" y="2081"/>
                    <a:pt x="3330" y="2116"/>
                    <a:pt x="3291" y="2150"/>
                  </a:cubicBezTo>
                  <a:cubicBezTo>
                    <a:pt x="3271" y="2168"/>
                    <a:pt x="3251" y="2186"/>
                    <a:pt x="3231" y="2203"/>
                  </a:cubicBezTo>
                  <a:cubicBezTo>
                    <a:pt x="3163" y="2261"/>
                    <a:pt x="3093" y="2310"/>
                    <a:pt x="3040" y="2339"/>
                  </a:cubicBezTo>
                  <a:cubicBezTo>
                    <a:pt x="3021" y="2349"/>
                    <a:pt x="3006" y="2356"/>
                    <a:pt x="2985" y="2367"/>
                  </a:cubicBezTo>
                  <a:cubicBezTo>
                    <a:pt x="2951" y="2383"/>
                    <a:pt x="2909" y="2403"/>
                    <a:pt x="2860" y="2418"/>
                  </a:cubicBezTo>
                  <a:cubicBezTo>
                    <a:pt x="2811" y="2434"/>
                    <a:pt x="2756" y="2444"/>
                    <a:pt x="2702" y="2445"/>
                  </a:cubicBezTo>
                  <a:cubicBezTo>
                    <a:pt x="2700" y="2445"/>
                    <a:pt x="2698" y="2445"/>
                    <a:pt x="2696" y="2445"/>
                  </a:cubicBezTo>
                  <a:cubicBezTo>
                    <a:pt x="2693" y="2445"/>
                    <a:pt x="2689" y="2445"/>
                    <a:pt x="2685" y="2445"/>
                  </a:cubicBezTo>
                  <a:cubicBezTo>
                    <a:pt x="2657" y="2445"/>
                    <a:pt x="2629" y="2442"/>
                    <a:pt x="2602" y="2438"/>
                  </a:cubicBezTo>
                  <a:cubicBezTo>
                    <a:pt x="2554" y="2429"/>
                    <a:pt x="2508" y="2414"/>
                    <a:pt x="2468" y="2398"/>
                  </a:cubicBezTo>
                  <a:cubicBezTo>
                    <a:pt x="2449" y="2390"/>
                    <a:pt x="2431" y="2382"/>
                    <a:pt x="2415" y="2374"/>
                  </a:cubicBezTo>
                  <a:cubicBezTo>
                    <a:pt x="2400" y="2367"/>
                    <a:pt x="2384" y="2359"/>
                    <a:pt x="2369" y="2352"/>
                  </a:cubicBezTo>
                  <a:cubicBezTo>
                    <a:pt x="2353" y="2345"/>
                    <a:pt x="2334" y="2334"/>
                    <a:pt x="2315" y="2322"/>
                  </a:cubicBezTo>
                  <a:cubicBezTo>
                    <a:pt x="2284" y="2303"/>
                    <a:pt x="2248" y="2278"/>
                    <a:pt x="2212" y="2250"/>
                  </a:cubicBezTo>
                  <a:cubicBezTo>
                    <a:pt x="2173" y="2220"/>
                    <a:pt x="2134" y="2187"/>
                    <a:pt x="2095" y="2152"/>
                  </a:cubicBezTo>
                  <a:cubicBezTo>
                    <a:pt x="2095" y="2152"/>
                    <a:pt x="2095" y="2152"/>
                    <a:pt x="2095" y="2152"/>
                  </a:cubicBezTo>
                  <a:cubicBezTo>
                    <a:pt x="2076" y="2134"/>
                    <a:pt x="2056" y="2116"/>
                    <a:pt x="2036" y="2098"/>
                  </a:cubicBezTo>
                  <a:cubicBezTo>
                    <a:pt x="1972" y="2038"/>
                    <a:pt x="1915" y="1982"/>
                    <a:pt x="1874" y="1938"/>
                  </a:cubicBezTo>
                  <a:cubicBezTo>
                    <a:pt x="1861" y="1924"/>
                    <a:pt x="1848" y="1909"/>
                    <a:pt x="1835" y="1894"/>
                  </a:cubicBezTo>
                  <a:cubicBezTo>
                    <a:pt x="1786" y="1842"/>
                    <a:pt x="1713" y="1766"/>
                    <a:pt x="1638" y="1703"/>
                  </a:cubicBezTo>
                  <a:cubicBezTo>
                    <a:pt x="1633" y="1699"/>
                    <a:pt x="1633" y="1699"/>
                    <a:pt x="1633" y="1699"/>
                  </a:cubicBezTo>
                  <a:cubicBezTo>
                    <a:pt x="1626" y="1693"/>
                    <a:pt x="1626" y="1693"/>
                    <a:pt x="1626" y="1693"/>
                  </a:cubicBezTo>
                  <a:cubicBezTo>
                    <a:pt x="1606" y="1677"/>
                    <a:pt x="1586" y="1660"/>
                    <a:pt x="1566" y="1646"/>
                  </a:cubicBezTo>
                  <a:cubicBezTo>
                    <a:pt x="1530" y="1619"/>
                    <a:pt x="1494" y="1596"/>
                    <a:pt x="1460" y="1577"/>
                  </a:cubicBezTo>
                  <a:cubicBezTo>
                    <a:pt x="1443" y="1568"/>
                    <a:pt x="1427" y="1560"/>
                    <a:pt x="1413" y="1554"/>
                  </a:cubicBezTo>
                  <a:cubicBezTo>
                    <a:pt x="1398" y="1547"/>
                    <a:pt x="1381" y="1540"/>
                    <a:pt x="1370" y="1537"/>
                  </a:cubicBezTo>
                  <a:cubicBezTo>
                    <a:pt x="1355" y="1532"/>
                    <a:pt x="1336" y="1526"/>
                    <a:pt x="1317" y="1520"/>
                  </a:cubicBezTo>
                  <a:cubicBezTo>
                    <a:pt x="1286" y="1511"/>
                    <a:pt x="1248" y="1502"/>
                    <a:pt x="1208" y="1496"/>
                  </a:cubicBezTo>
                  <a:cubicBezTo>
                    <a:pt x="1187" y="1493"/>
                    <a:pt x="1165" y="1491"/>
                    <a:pt x="1142" y="1490"/>
                  </a:cubicBezTo>
                  <a:cubicBezTo>
                    <a:pt x="1131" y="1489"/>
                    <a:pt x="1119" y="1489"/>
                    <a:pt x="1108" y="1489"/>
                  </a:cubicBezTo>
                  <a:cubicBezTo>
                    <a:pt x="1098" y="1490"/>
                    <a:pt x="1087" y="1490"/>
                    <a:pt x="1077" y="1491"/>
                  </a:cubicBezTo>
                  <a:cubicBezTo>
                    <a:pt x="1056" y="1494"/>
                    <a:pt x="1034" y="1499"/>
                    <a:pt x="1014" y="1507"/>
                  </a:cubicBezTo>
                  <a:cubicBezTo>
                    <a:pt x="945" y="1531"/>
                    <a:pt x="892" y="1580"/>
                    <a:pt x="862" y="1619"/>
                  </a:cubicBezTo>
                  <a:cubicBezTo>
                    <a:pt x="852" y="1633"/>
                    <a:pt x="843" y="1644"/>
                    <a:pt x="834" y="1661"/>
                  </a:cubicBezTo>
                  <a:cubicBezTo>
                    <a:pt x="820" y="1689"/>
                    <a:pt x="807" y="1726"/>
                    <a:pt x="805" y="1769"/>
                  </a:cubicBezTo>
                  <a:cubicBezTo>
                    <a:pt x="803" y="1815"/>
                    <a:pt x="803" y="1868"/>
                    <a:pt x="803" y="1918"/>
                  </a:cubicBezTo>
                  <a:cubicBezTo>
                    <a:pt x="803" y="1919"/>
                    <a:pt x="803" y="1921"/>
                    <a:pt x="803" y="1923"/>
                  </a:cubicBezTo>
                  <a:cubicBezTo>
                    <a:pt x="803" y="1926"/>
                    <a:pt x="803" y="1930"/>
                    <a:pt x="803" y="1933"/>
                  </a:cubicBezTo>
                  <a:cubicBezTo>
                    <a:pt x="803" y="1959"/>
                    <a:pt x="803" y="1985"/>
                    <a:pt x="803" y="2011"/>
                  </a:cubicBezTo>
                  <a:cubicBezTo>
                    <a:pt x="804" y="2056"/>
                    <a:pt x="805" y="2101"/>
                    <a:pt x="807" y="2141"/>
                  </a:cubicBezTo>
                  <a:cubicBezTo>
                    <a:pt x="808" y="2161"/>
                    <a:pt x="809" y="2179"/>
                    <a:pt x="810" y="2196"/>
                  </a:cubicBezTo>
                  <a:cubicBezTo>
                    <a:pt x="812" y="2213"/>
                    <a:pt x="813" y="2232"/>
                    <a:pt x="815" y="2245"/>
                  </a:cubicBezTo>
                  <a:cubicBezTo>
                    <a:pt x="816" y="2261"/>
                    <a:pt x="818" y="2282"/>
                    <a:pt x="820" y="2303"/>
                  </a:cubicBezTo>
                  <a:cubicBezTo>
                    <a:pt x="822" y="2338"/>
                    <a:pt x="824" y="2381"/>
                    <a:pt x="825" y="2425"/>
                  </a:cubicBezTo>
                  <a:cubicBezTo>
                    <a:pt x="826" y="2437"/>
                    <a:pt x="826" y="2449"/>
                    <a:pt x="826" y="2461"/>
                  </a:cubicBezTo>
                  <a:cubicBezTo>
                    <a:pt x="827" y="2480"/>
                    <a:pt x="827" y="2480"/>
                    <a:pt x="827" y="2480"/>
                  </a:cubicBezTo>
                  <a:cubicBezTo>
                    <a:pt x="827" y="2510"/>
                    <a:pt x="827" y="2510"/>
                    <a:pt x="827" y="2510"/>
                  </a:cubicBezTo>
                  <a:cubicBezTo>
                    <a:pt x="827" y="2530"/>
                    <a:pt x="825" y="2550"/>
                    <a:pt x="818" y="2567"/>
                  </a:cubicBezTo>
                  <a:cubicBezTo>
                    <a:pt x="811" y="2585"/>
                    <a:pt x="799" y="2602"/>
                    <a:pt x="783" y="2612"/>
                  </a:cubicBezTo>
                  <a:cubicBezTo>
                    <a:pt x="766" y="2623"/>
                    <a:pt x="747" y="2629"/>
                    <a:pt x="725" y="2633"/>
                  </a:cubicBezTo>
                  <a:cubicBezTo>
                    <a:pt x="715" y="2635"/>
                    <a:pt x="704" y="2636"/>
                    <a:pt x="694" y="2637"/>
                  </a:cubicBezTo>
                  <a:cubicBezTo>
                    <a:pt x="679" y="2638"/>
                    <a:pt x="679" y="2638"/>
                    <a:pt x="679" y="2638"/>
                  </a:cubicBezTo>
                  <a:cubicBezTo>
                    <a:pt x="668" y="2638"/>
                    <a:pt x="668" y="2638"/>
                    <a:pt x="668" y="2638"/>
                  </a:cubicBezTo>
                  <a:cubicBezTo>
                    <a:pt x="622" y="2641"/>
                    <a:pt x="579" y="2640"/>
                    <a:pt x="540" y="2638"/>
                  </a:cubicBezTo>
                  <a:cubicBezTo>
                    <a:pt x="525" y="2637"/>
                    <a:pt x="525" y="2637"/>
                    <a:pt x="525" y="2637"/>
                  </a:cubicBezTo>
                  <a:cubicBezTo>
                    <a:pt x="509" y="2636"/>
                    <a:pt x="509" y="2636"/>
                    <a:pt x="509" y="2636"/>
                  </a:cubicBezTo>
                  <a:cubicBezTo>
                    <a:pt x="499" y="2635"/>
                    <a:pt x="489" y="2634"/>
                    <a:pt x="479" y="2632"/>
                  </a:cubicBezTo>
                  <a:cubicBezTo>
                    <a:pt x="460" y="2629"/>
                    <a:pt x="443" y="2625"/>
                    <a:pt x="428" y="2621"/>
                  </a:cubicBezTo>
                  <a:cubicBezTo>
                    <a:pt x="406" y="2614"/>
                    <a:pt x="390" y="2607"/>
                    <a:pt x="368" y="2598"/>
                  </a:cubicBezTo>
                  <a:cubicBezTo>
                    <a:pt x="297" y="2568"/>
                    <a:pt x="197" y="2510"/>
                    <a:pt x="129" y="2423"/>
                  </a:cubicBezTo>
                  <a:cubicBezTo>
                    <a:pt x="126" y="2418"/>
                    <a:pt x="126" y="2418"/>
                    <a:pt x="126" y="2418"/>
                  </a:cubicBezTo>
                  <a:cubicBezTo>
                    <a:pt x="124" y="2415"/>
                    <a:pt x="121" y="2412"/>
                    <a:pt x="119" y="2409"/>
                  </a:cubicBezTo>
                  <a:cubicBezTo>
                    <a:pt x="103" y="2386"/>
                    <a:pt x="88" y="2361"/>
                    <a:pt x="77" y="2335"/>
                  </a:cubicBezTo>
                  <a:cubicBezTo>
                    <a:pt x="67" y="2311"/>
                    <a:pt x="59" y="2287"/>
                    <a:pt x="55" y="2262"/>
                  </a:cubicBezTo>
                  <a:cubicBezTo>
                    <a:pt x="50" y="2238"/>
                    <a:pt x="49" y="2212"/>
                    <a:pt x="48" y="2193"/>
                  </a:cubicBezTo>
                  <a:cubicBezTo>
                    <a:pt x="48" y="2173"/>
                    <a:pt x="47" y="2155"/>
                    <a:pt x="45" y="2138"/>
                  </a:cubicBezTo>
                  <a:cubicBezTo>
                    <a:pt x="44" y="2121"/>
                    <a:pt x="43" y="2103"/>
                    <a:pt x="41" y="2089"/>
                  </a:cubicBezTo>
                  <a:cubicBezTo>
                    <a:pt x="39" y="2073"/>
                    <a:pt x="37" y="2052"/>
                    <a:pt x="36" y="2031"/>
                  </a:cubicBezTo>
                  <a:cubicBezTo>
                    <a:pt x="33" y="1996"/>
                    <a:pt x="32" y="1953"/>
                    <a:pt x="30" y="1909"/>
                  </a:cubicBezTo>
                  <a:cubicBezTo>
                    <a:pt x="29" y="1862"/>
                    <a:pt x="28" y="1811"/>
                    <a:pt x="28" y="1759"/>
                  </a:cubicBezTo>
                  <a:cubicBezTo>
                    <a:pt x="28" y="1733"/>
                    <a:pt x="28" y="1706"/>
                    <a:pt x="29" y="1680"/>
                  </a:cubicBezTo>
                  <a:cubicBezTo>
                    <a:pt x="30" y="1592"/>
                    <a:pt x="33" y="1510"/>
                    <a:pt x="39" y="1453"/>
                  </a:cubicBezTo>
                  <a:cubicBezTo>
                    <a:pt x="41" y="1433"/>
                    <a:pt x="43" y="1413"/>
                    <a:pt x="44" y="1394"/>
                  </a:cubicBezTo>
                  <a:cubicBezTo>
                    <a:pt x="50" y="1323"/>
                    <a:pt x="53" y="1218"/>
                    <a:pt x="53" y="1118"/>
                  </a:cubicBezTo>
                  <a:cubicBezTo>
                    <a:pt x="53" y="1112"/>
                    <a:pt x="53" y="1112"/>
                    <a:pt x="53" y="1112"/>
                  </a:cubicBezTo>
                  <a:cubicBezTo>
                    <a:pt x="53" y="1109"/>
                    <a:pt x="53" y="1105"/>
                    <a:pt x="53" y="1102"/>
                  </a:cubicBezTo>
                  <a:cubicBezTo>
                    <a:pt x="53" y="1076"/>
                    <a:pt x="53" y="1050"/>
                    <a:pt x="52" y="1025"/>
                  </a:cubicBezTo>
                  <a:cubicBezTo>
                    <a:pt x="52" y="979"/>
                    <a:pt x="50" y="934"/>
                    <a:pt x="48" y="894"/>
                  </a:cubicBezTo>
                  <a:cubicBezTo>
                    <a:pt x="48" y="874"/>
                    <a:pt x="47" y="856"/>
                    <a:pt x="45" y="839"/>
                  </a:cubicBezTo>
                  <a:cubicBezTo>
                    <a:pt x="44" y="822"/>
                    <a:pt x="43" y="803"/>
                    <a:pt x="41" y="790"/>
                  </a:cubicBezTo>
                  <a:cubicBezTo>
                    <a:pt x="39" y="774"/>
                    <a:pt x="37" y="753"/>
                    <a:pt x="36" y="732"/>
                  </a:cubicBezTo>
                  <a:cubicBezTo>
                    <a:pt x="33" y="697"/>
                    <a:pt x="32" y="654"/>
                    <a:pt x="30" y="610"/>
                  </a:cubicBezTo>
                  <a:cubicBezTo>
                    <a:pt x="29" y="562"/>
                    <a:pt x="28" y="511"/>
                    <a:pt x="28" y="460"/>
                  </a:cubicBezTo>
                  <a:cubicBezTo>
                    <a:pt x="28" y="434"/>
                    <a:pt x="28" y="368"/>
                    <a:pt x="29" y="341"/>
                  </a:cubicBezTo>
                  <a:cubicBezTo>
                    <a:pt x="29" y="299"/>
                    <a:pt x="30" y="259"/>
                    <a:pt x="32" y="222"/>
                  </a:cubicBezTo>
                  <a:cubicBezTo>
                    <a:pt x="34" y="183"/>
                    <a:pt x="35" y="157"/>
                    <a:pt x="38" y="101"/>
                  </a:cubicBezTo>
                  <a:cubicBezTo>
                    <a:pt x="41" y="45"/>
                    <a:pt x="91" y="42"/>
                    <a:pt x="105" y="41"/>
                  </a:cubicBezTo>
                  <a:cubicBezTo>
                    <a:pt x="119" y="41"/>
                    <a:pt x="177" y="46"/>
                    <a:pt x="199" y="46"/>
                  </a:cubicBezTo>
                  <a:cubicBezTo>
                    <a:pt x="222" y="45"/>
                    <a:pt x="616" y="48"/>
                    <a:pt x="632" y="49"/>
                  </a:cubicBezTo>
                  <a:cubicBezTo>
                    <a:pt x="648" y="49"/>
                    <a:pt x="681" y="49"/>
                    <a:pt x="699" y="50"/>
                  </a:cubicBezTo>
                  <a:cubicBezTo>
                    <a:pt x="717" y="51"/>
                    <a:pt x="737" y="53"/>
                    <a:pt x="751" y="54"/>
                  </a:cubicBezTo>
                  <a:cubicBezTo>
                    <a:pt x="768" y="56"/>
                    <a:pt x="791" y="59"/>
                    <a:pt x="813" y="64"/>
                  </a:cubicBezTo>
                  <a:cubicBezTo>
                    <a:pt x="850" y="72"/>
                    <a:pt x="895" y="87"/>
                    <a:pt x="938" y="108"/>
                  </a:cubicBezTo>
                  <a:cubicBezTo>
                    <a:pt x="985" y="130"/>
                    <a:pt x="1032" y="160"/>
                    <a:pt x="1075" y="196"/>
                  </a:cubicBezTo>
                  <a:cubicBezTo>
                    <a:pt x="1086" y="205"/>
                    <a:pt x="1097" y="215"/>
                    <a:pt x="1107" y="225"/>
                  </a:cubicBezTo>
                  <a:cubicBezTo>
                    <a:pt x="1117" y="234"/>
                    <a:pt x="1126" y="243"/>
                    <a:pt x="1136" y="252"/>
                  </a:cubicBezTo>
                  <a:cubicBezTo>
                    <a:pt x="1199" y="313"/>
                    <a:pt x="1256" y="372"/>
                    <a:pt x="1295" y="415"/>
                  </a:cubicBezTo>
                  <a:cubicBezTo>
                    <a:pt x="1307" y="430"/>
                    <a:pt x="1321" y="445"/>
                    <a:pt x="1333" y="459"/>
                  </a:cubicBezTo>
                  <a:cubicBezTo>
                    <a:pt x="1381" y="512"/>
                    <a:pt x="1456" y="587"/>
                    <a:pt x="1529" y="655"/>
                  </a:cubicBezTo>
                  <a:cubicBezTo>
                    <a:pt x="1533" y="659"/>
                    <a:pt x="1533" y="659"/>
                    <a:pt x="1533" y="659"/>
                  </a:cubicBezTo>
                  <a:cubicBezTo>
                    <a:pt x="1541" y="666"/>
                    <a:pt x="1541" y="666"/>
                    <a:pt x="1541" y="666"/>
                  </a:cubicBezTo>
                  <a:cubicBezTo>
                    <a:pt x="1559" y="683"/>
                    <a:pt x="1579" y="701"/>
                    <a:pt x="1598" y="719"/>
                  </a:cubicBezTo>
                  <a:cubicBezTo>
                    <a:pt x="1629" y="746"/>
                    <a:pt x="1661" y="776"/>
                    <a:pt x="1695" y="805"/>
                  </a:cubicBezTo>
                  <a:cubicBezTo>
                    <a:pt x="1709" y="818"/>
                    <a:pt x="1723" y="829"/>
                    <a:pt x="1736" y="839"/>
                  </a:cubicBezTo>
                  <a:cubicBezTo>
                    <a:pt x="1749" y="849"/>
                    <a:pt x="1764" y="859"/>
                    <a:pt x="1775" y="866"/>
                  </a:cubicBezTo>
                  <a:cubicBezTo>
                    <a:pt x="1791" y="876"/>
                    <a:pt x="1808" y="887"/>
                    <a:pt x="1823" y="897"/>
                  </a:cubicBezTo>
                  <a:cubicBezTo>
                    <a:pt x="1851" y="915"/>
                    <a:pt x="1886" y="937"/>
                    <a:pt x="1922" y="958"/>
                  </a:cubicBezTo>
                  <a:cubicBezTo>
                    <a:pt x="1962" y="981"/>
                    <a:pt x="2005" y="1004"/>
                    <a:pt x="2049" y="1025"/>
                  </a:cubicBezTo>
                  <a:cubicBezTo>
                    <a:pt x="2072" y="1036"/>
                    <a:pt x="2095" y="1047"/>
                    <a:pt x="2118" y="1057"/>
                  </a:cubicBezTo>
                  <a:cubicBezTo>
                    <a:pt x="2195" y="1091"/>
                    <a:pt x="2270" y="1117"/>
                    <a:pt x="2323" y="1136"/>
                  </a:cubicBezTo>
                  <a:cubicBezTo>
                    <a:pt x="2341" y="1142"/>
                    <a:pt x="2356" y="1148"/>
                    <a:pt x="2376" y="1154"/>
                  </a:cubicBezTo>
                  <a:cubicBezTo>
                    <a:pt x="2442" y="1174"/>
                    <a:pt x="2545" y="1191"/>
                    <a:pt x="2643" y="1194"/>
                  </a:cubicBezTo>
                  <a:cubicBezTo>
                    <a:pt x="2648" y="1194"/>
                    <a:pt x="2648" y="1194"/>
                    <a:pt x="2648" y="1194"/>
                  </a:cubicBezTo>
                  <a:cubicBezTo>
                    <a:pt x="2652" y="1194"/>
                    <a:pt x="2655" y="1194"/>
                    <a:pt x="2658" y="1194"/>
                  </a:cubicBezTo>
                  <a:cubicBezTo>
                    <a:pt x="2684" y="1195"/>
                    <a:pt x="2709" y="1195"/>
                    <a:pt x="2734" y="1193"/>
                  </a:cubicBezTo>
                  <a:cubicBezTo>
                    <a:pt x="2779" y="1192"/>
                    <a:pt x="2822" y="1187"/>
                    <a:pt x="2861" y="1181"/>
                  </a:cubicBezTo>
                  <a:cubicBezTo>
                    <a:pt x="2880" y="1178"/>
                    <a:pt x="2898" y="1175"/>
                    <a:pt x="2913" y="1171"/>
                  </a:cubicBezTo>
                  <a:cubicBezTo>
                    <a:pt x="2930" y="1168"/>
                    <a:pt x="2947" y="1164"/>
                    <a:pt x="2960" y="1160"/>
                  </a:cubicBezTo>
                  <a:cubicBezTo>
                    <a:pt x="2978" y="1155"/>
                    <a:pt x="2997" y="1149"/>
                    <a:pt x="3014" y="1144"/>
                  </a:cubicBezTo>
                  <a:cubicBezTo>
                    <a:pt x="3047" y="1135"/>
                    <a:pt x="3086" y="1123"/>
                    <a:pt x="3126" y="1109"/>
                  </a:cubicBezTo>
                  <a:cubicBezTo>
                    <a:pt x="3170" y="1095"/>
                    <a:pt x="3216" y="1078"/>
                    <a:pt x="3261" y="1059"/>
                  </a:cubicBezTo>
                  <a:cubicBezTo>
                    <a:pt x="3284" y="1049"/>
                    <a:pt x="3308" y="1039"/>
                    <a:pt x="3331" y="1029"/>
                  </a:cubicBezTo>
                  <a:cubicBezTo>
                    <a:pt x="3407" y="994"/>
                    <a:pt x="3476" y="955"/>
                    <a:pt x="3524" y="927"/>
                  </a:cubicBezTo>
                  <a:cubicBezTo>
                    <a:pt x="3542" y="917"/>
                    <a:pt x="3555" y="910"/>
                    <a:pt x="3573" y="899"/>
                  </a:cubicBezTo>
                  <a:cubicBezTo>
                    <a:pt x="3602" y="880"/>
                    <a:pt x="3637" y="855"/>
                    <a:pt x="3672" y="824"/>
                  </a:cubicBezTo>
                  <a:cubicBezTo>
                    <a:pt x="3708" y="794"/>
                    <a:pt x="3746" y="758"/>
                    <a:pt x="3782" y="724"/>
                  </a:cubicBezTo>
                  <a:cubicBezTo>
                    <a:pt x="3784" y="723"/>
                    <a:pt x="3785" y="722"/>
                    <a:pt x="3786" y="721"/>
                  </a:cubicBezTo>
                  <a:cubicBezTo>
                    <a:pt x="3794" y="714"/>
                    <a:pt x="3794" y="714"/>
                    <a:pt x="3794" y="714"/>
                  </a:cubicBezTo>
                  <a:cubicBezTo>
                    <a:pt x="3812" y="696"/>
                    <a:pt x="3831" y="678"/>
                    <a:pt x="3850" y="660"/>
                  </a:cubicBezTo>
                  <a:cubicBezTo>
                    <a:pt x="3883" y="628"/>
                    <a:pt x="3914" y="597"/>
                    <a:pt x="3942" y="568"/>
                  </a:cubicBezTo>
                  <a:cubicBezTo>
                    <a:pt x="3956" y="554"/>
                    <a:pt x="3969" y="540"/>
                    <a:pt x="3980" y="528"/>
                  </a:cubicBezTo>
                  <a:cubicBezTo>
                    <a:pt x="3992" y="515"/>
                    <a:pt x="4004" y="502"/>
                    <a:pt x="4013" y="492"/>
                  </a:cubicBezTo>
                  <a:cubicBezTo>
                    <a:pt x="4023" y="479"/>
                    <a:pt x="4038" y="463"/>
                    <a:pt x="4052" y="448"/>
                  </a:cubicBezTo>
                  <a:cubicBezTo>
                    <a:pt x="4075" y="422"/>
                    <a:pt x="4105" y="391"/>
                    <a:pt x="4137" y="360"/>
                  </a:cubicBezTo>
                  <a:cubicBezTo>
                    <a:pt x="4170" y="327"/>
                    <a:pt x="4207" y="291"/>
                    <a:pt x="4244" y="256"/>
                  </a:cubicBezTo>
                  <a:cubicBezTo>
                    <a:pt x="4264" y="238"/>
                    <a:pt x="4283" y="220"/>
                    <a:pt x="4303" y="202"/>
                  </a:cubicBezTo>
                  <a:cubicBezTo>
                    <a:pt x="4330" y="177"/>
                    <a:pt x="4358" y="152"/>
                    <a:pt x="4383" y="130"/>
                  </a:cubicBezTo>
                  <a:cubicBezTo>
                    <a:pt x="4409" y="108"/>
                    <a:pt x="4441" y="78"/>
                    <a:pt x="4462" y="63"/>
                  </a:cubicBezTo>
                  <a:cubicBezTo>
                    <a:pt x="4483" y="47"/>
                    <a:pt x="4543" y="45"/>
                    <a:pt x="4553" y="46"/>
                  </a:cubicBezTo>
                  <a:cubicBezTo>
                    <a:pt x="4624" y="51"/>
                    <a:pt x="4748" y="53"/>
                    <a:pt x="4848" y="53"/>
                  </a:cubicBezTo>
                  <a:cubicBezTo>
                    <a:pt x="4853" y="53"/>
                    <a:pt x="4853" y="53"/>
                    <a:pt x="4853" y="53"/>
                  </a:cubicBezTo>
                  <a:cubicBezTo>
                    <a:pt x="4864" y="53"/>
                    <a:pt x="4864" y="53"/>
                    <a:pt x="4864" y="53"/>
                  </a:cubicBezTo>
                  <a:cubicBezTo>
                    <a:pt x="4889" y="52"/>
                    <a:pt x="4916" y="52"/>
                    <a:pt x="4942" y="52"/>
                  </a:cubicBezTo>
                  <a:cubicBezTo>
                    <a:pt x="4992" y="53"/>
                    <a:pt x="5041" y="63"/>
                    <a:pt x="5083" y="78"/>
                  </a:cubicBezTo>
                  <a:cubicBezTo>
                    <a:pt x="5104" y="86"/>
                    <a:pt x="5123" y="94"/>
                    <a:pt x="5139" y="103"/>
                  </a:cubicBezTo>
                  <a:cubicBezTo>
                    <a:pt x="5156" y="111"/>
                    <a:pt x="5174" y="122"/>
                    <a:pt x="5187" y="130"/>
                  </a:cubicBezTo>
                  <a:cubicBezTo>
                    <a:pt x="5202" y="140"/>
                    <a:pt x="5221" y="155"/>
                    <a:pt x="5239" y="172"/>
                  </a:cubicBezTo>
                  <a:cubicBezTo>
                    <a:pt x="5267" y="199"/>
                    <a:pt x="5298" y="239"/>
                    <a:pt x="5319" y="286"/>
                  </a:cubicBezTo>
                  <a:cubicBezTo>
                    <a:pt x="5343" y="336"/>
                    <a:pt x="5356" y="395"/>
                    <a:pt x="5356" y="455"/>
                  </a:cubicBezTo>
                  <a:cubicBezTo>
                    <a:pt x="5356" y="481"/>
                    <a:pt x="5356" y="508"/>
                    <a:pt x="5356" y="534"/>
                  </a:cubicBezTo>
                  <a:cubicBezTo>
                    <a:pt x="5354" y="622"/>
                    <a:pt x="5351" y="704"/>
                    <a:pt x="5346" y="762"/>
                  </a:cubicBezTo>
                  <a:cubicBezTo>
                    <a:pt x="5344" y="781"/>
                    <a:pt x="5342" y="801"/>
                    <a:pt x="5340" y="820"/>
                  </a:cubicBezTo>
                  <a:cubicBezTo>
                    <a:pt x="5334" y="891"/>
                    <a:pt x="5331" y="997"/>
                    <a:pt x="5331" y="1097"/>
                  </a:cubicBezTo>
                  <a:cubicBezTo>
                    <a:pt x="5331" y="1099"/>
                    <a:pt x="5331" y="1100"/>
                    <a:pt x="5331" y="1102"/>
                  </a:cubicBezTo>
                  <a:cubicBezTo>
                    <a:pt x="5331" y="1106"/>
                    <a:pt x="5331" y="1109"/>
                    <a:pt x="5331" y="1112"/>
                  </a:cubicBezTo>
                  <a:close/>
                  <a:moveTo>
                    <a:pt x="5256" y="889"/>
                  </a:moveTo>
                  <a:cubicBezTo>
                    <a:pt x="5255" y="869"/>
                    <a:pt x="5254" y="850"/>
                    <a:pt x="5252" y="834"/>
                  </a:cubicBezTo>
                  <a:cubicBezTo>
                    <a:pt x="5251" y="816"/>
                    <a:pt x="5250" y="798"/>
                    <a:pt x="5248" y="785"/>
                  </a:cubicBezTo>
                  <a:cubicBezTo>
                    <a:pt x="5246" y="769"/>
                    <a:pt x="5244" y="747"/>
                    <a:pt x="5243" y="726"/>
                  </a:cubicBezTo>
                  <a:cubicBezTo>
                    <a:pt x="5240" y="692"/>
                    <a:pt x="5239" y="649"/>
                    <a:pt x="5237" y="605"/>
                  </a:cubicBezTo>
                  <a:cubicBezTo>
                    <a:pt x="5236" y="557"/>
                    <a:pt x="5235" y="506"/>
                    <a:pt x="5235" y="455"/>
                  </a:cubicBezTo>
                  <a:cubicBezTo>
                    <a:pt x="5235" y="455"/>
                    <a:pt x="5235" y="455"/>
                    <a:pt x="5235" y="455"/>
                  </a:cubicBezTo>
                  <a:cubicBezTo>
                    <a:pt x="5235" y="433"/>
                    <a:pt x="5233" y="410"/>
                    <a:pt x="5229" y="389"/>
                  </a:cubicBezTo>
                  <a:cubicBezTo>
                    <a:pt x="5215" y="316"/>
                    <a:pt x="5175" y="256"/>
                    <a:pt x="5141" y="220"/>
                  </a:cubicBezTo>
                  <a:cubicBezTo>
                    <a:pt x="5129" y="207"/>
                    <a:pt x="5120" y="196"/>
                    <a:pt x="5104" y="184"/>
                  </a:cubicBezTo>
                  <a:cubicBezTo>
                    <a:pt x="5080" y="165"/>
                    <a:pt x="5045" y="145"/>
                    <a:pt x="5003" y="134"/>
                  </a:cubicBezTo>
                  <a:cubicBezTo>
                    <a:pt x="4982" y="129"/>
                    <a:pt x="4960" y="125"/>
                    <a:pt x="4938" y="125"/>
                  </a:cubicBezTo>
                  <a:cubicBezTo>
                    <a:pt x="4914" y="124"/>
                    <a:pt x="4888" y="124"/>
                    <a:pt x="4863" y="124"/>
                  </a:cubicBezTo>
                  <a:cubicBezTo>
                    <a:pt x="4853" y="124"/>
                    <a:pt x="4853" y="124"/>
                    <a:pt x="4853" y="124"/>
                  </a:cubicBezTo>
                  <a:cubicBezTo>
                    <a:pt x="4847" y="124"/>
                    <a:pt x="4847" y="124"/>
                    <a:pt x="4847" y="124"/>
                  </a:cubicBezTo>
                  <a:cubicBezTo>
                    <a:pt x="4822" y="124"/>
                    <a:pt x="4796" y="124"/>
                    <a:pt x="4770" y="124"/>
                  </a:cubicBezTo>
                  <a:cubicBezTo>
                    <a:pt x="4724" y="125"/>
                    <a:pt x="4680" y="127"/>
                    <a:pt x="4640" y="128"/>
                  </a:cubicBezTo>
                  <a:cubicBezTo>
                    <a:pt x="4620" y="129"/>
                    <a:pt x="4601" y="130"/>
                    <a:pt x="4585" y="131"/>
                  </a:cubicBezTo>
                  <a:cubicBezTo>
                    <a:pt x="4574" y="132"/>
                    <a:pt x="4567" y="133"/>
                    <a:pt x="4554" y="134"/>
                  </a:cubicBezTo>
                  <a:cubicBezTo>
                    <a:pt x="4542" y="135"/>
                    <a:pt x="4529" y="141"/>
                    <a:pt x="4518" y="153"/>
                  </a:cubicBezTo>
                  <a:cubicBezTo>
                    <a:pt x="4508" y="165"/>
                    <a:pt x="4501" y="173"/>
                    <a:pt x="4501" y="173"/>
                  </a:cubicBezTo>
                  <a:cubicBezTo>
                    <a:pt x="4494" y="180"/>
                    <a:pt x="4487" y="187"/>
                    <a:pt x="4480" y="194"/>
                  </a:cubicBezTo>
                  <a:cubicBezTo>
                    <a:pt x="4465" y="210"/>
                    <a:pt x="4450" y="225"/>
                    <a:pt x="4435" y="240"/>
                  </a:cubicBezTo>
                  <a:cubicBezTo>
                    <a:pt x="4401" y="274"/>
                    <a:pt x="4365" y="309"/>
                    <a:pt x="4327" y="344"/>
                  </a:cubicBezTo>
                  <a:cubicBezTo>
                    <a:pt x="4327" y="344"/>
                    <a:pt x="4327" y="344"/>
                    <a:pt x="4327" y="344"/>
                  </a:cubicBezTo>
                  <a:cubicBezTo>
                    <a:pt x="4308" y="362"/>
                    <a:pt x="4288" y="380"/>
                    <a:pt x="4269" y="398"/>
                  </a:cubicBezTo>
                  <a:cubicBezTo>
                    <a:pt x="4204" y="457"/>
                    <a:pt x="4142" y="511"/>
                    <a:pt x="4096" y="547"/>
                  </a:cubicBezTo>
                  <a:cubicBezTo>
                    <a:pt x="4081" y="559"/>
                    <a:pt x="4065" y="571"/>
                    <a:pt x="4050" y="582"/>
                  </a:cubicBezTo>
                  <a:cubicBezTo>
                    <a:pt x="3995" y="627"/>
                    <a:pt x="3915" y="697"/>
                    <a:pt x="3843" y="766"/>
                  </a:cubicBezTo>
                  <a:cubicBezTo>
                    <a:pt x="3835" y="773"/>
                    <a:pt x="3835" y="773"/>
                    <a:pt x="3835" y="773"/>
                  </a:cubicBezTo>
                  <a:cubicBezTo>
                    <a:pt x="3831" y="777"/>
                    <a:pt x="3831" y="777"/>
                    <a:pt x="3831" y="777"/>
                  </a:cubicBezTo>
                  <a:cubicBezTo>
                    <a:pt x="3812" y="794"/>
                    <a:pt x="3794" y="812"/>
                    <a:pt x="3775" y="830"/>
                  </a:cubicBezTo>
                  <a:cubicBezTo>
                    <a:pt x="3743" y="861"/>
                    <a:pt x="3710" y="894"/>
                    <a:pt x="3679" y="922"/>
                  </a:cubicBezTo>
                  <a:cubicBezTo>
                    <a:pt x="3666" y="934"/>
                    <a:pt x="3652" y="947"/>
                    <a:pt x="3637" y="960"/>
                  </a:cubicBezTo>
                  <a:cubicBezTo>
                    <a:pt x="3625" y="971"/>
                    <a:pt x="3612" y="982"/>
                    <a:pt x="3599" y="993"/>
                  </a:cubicBezTo>
                  <a:cubicBezTo>
                    <a:pt x="3587" y="1005"/>
                    <a:pt x="3570" y="1019"/>
                    <a:pt x="3553" y="1032"/>
                  </a:cubicBezTo>
                  <a:cubicBezTo>
                    <a:pt x="3524" y="1054"/>
                    <a:pt x="3487" y="1079"/>
                    <a:pt x="3447" y="1102"/>
                  </a:cubicBezTo>
                  <a:cubicBezTo>
                    <a:pt x="3404" y="1127"/>
                    <a:pt x="3357" y="1151"/>
                    <a:pt x="3307" y="1171"/>
                  </a:cubicBezTo>
                  <a:cubicBezTo>
                    <a:pt x="3282" y="1181"/>
                    <a:pt x="3255" y="1191"/>
                    <a:pt x="3230" y="1200"/>
                  </a:cubicBezTo>
                  <a:cubicBezTo>
                    <a:pt x="3143" y="1230"/>
                    <a:pt x="3059" y="1246"/>
                    <a:pt x="3000" y="1252"/>
                  </a:cubicBezTo>
                  <a:cubicBezTo>
                    <a:pt x="2979" y="1254"/>
                    <a:pt x="2962" y="1254"/>
                    <a:pt x="2940" y="1256"/>
                  </a:cubicBezTo>
                  <a:cubicBezTo>
                    <a:pt x="2867" y="1262"/>
                    <a:pt x="2759" y="1268"/>
                    <a:pt x="2657" y="1266"/>
                  </a:cubicBezTo>
                  <a:cubicBezTo>
                    <a:pt x="2646" y="1265"/>
                    <a:pt x="2646" y="1265"/>
                    <a:pt x="2646" y="1265"/>
                  </a:cubicBezTo>
                  <a:cubicBezTo>
                    <a:pt x="2640" y="1265"/>
                    <a:pt x="2640" y="1265"/>
                    <a:pt x="2640" y="1265"/>
                  </a:cubicBezTo>
                  <a:cubicBezTo>
                    <a:pt x="2614" y="1264"/>
                    <a:pt x="2587" y="1263"/>
                    <a:pt x="2561" y="1261"/>
                  </a:cubicBezTo>
                  <a:cubicBezTo>
                    <a:pt x="2515" y="1258"/>
                    <a:pt x="2469" y="1254"/>
                    <a:pt x="2428" y="1249"/>
                  </a:cubicBezTo>
                  <a:cubicBezTo>
                    <a:pt x="2410" y="1247"/>
                    <a:pt x="2392" y="1245"/>
                    <a:pt x="2372" y="1242"/>
                  </a:cubicBezTo>
                  <a:cubicBezTo>
                    <a:pt x="2356" y="1240"/>
                    <a:pt x="2339" y="1238"/>
                    <a:pt x="2322" y="1236"/>
                  </a:cubicBezTo>
                  <a:cubicBezTo>
                    <a:pt x="2306" y="1234"/>
                    <a:pt x="2284" y="1230"/>
                    <a:pt x="2262" y="1226"/>
                  </a:cubicBezTo>
                  <a:cubicBezTo>
                    <a:pt x="2227" y="1219"/>
                    <a:pt x="2184" y="1207"/>
                    <a:pt x="2140" y="1193"/>
                  </a:cubicBezTo>
                  <a:cubicBezTo>
                    <a:pt x="2093" y="1177"/>
                    <a:pt x="2044" y="1158"/>
                    <a:pt x="1996" y="1134"/>
                  </a:cubicBezTo>
                  <a:cubicBezTo>
                    <a:pt x="1996" y="1134"/>
                    <a:pt x="1996" y="1134"/>
                    <a:pt x="1996" y="1134"/>
                  </a:cubicBezTo>
                  <a:cubicBezTo>
                    <a:pt x="1971" y="1122"/>
                    <a:pt x="1946" y="1109"/>
                    <a:pt x="1923" y="1095"/>
                  </a:cubicBezTo>
                  <a:cubicBezTo>
                    <a:pt x="1844" y="1050"/>
                    <a:pt x="1776" y="998"/>
                    <a:pt x="1732" y="956"/>
                  </a:cubicBezTo>
                  <a:cubicBezTo>
                    <a:pt x="1717" y="942"/>
                    <a:pt x="1705" y="930"/>
                    <a:pt x="1689" y="914"/>
                  </a:cubicBezTo>
                  <a:cubicBezTo>
                    <a:pt x="1663" y="888"/>
                    <a:pt x="1632" y="855"/>
                    <a:pt x="1598" y="821"/>
                  </a:cubicBezTo>
                  <a:cubicBezTo>
                    <a:pt x="1564" y="787"/>
                    <a:pt x="1527" y="751"/>
                    <a:pt x="1491" y="717"/>
                  </a:cubicBezTo>
                  <a:cubicBezTo>
                    <a:pt x="1484" y="710"/>
                    <a:pt x="1484" y="710"/>
                    <a:pt x="1484" y="710"/>
                  </a:cubicBezTo>
                  <a:cubicBezTo>
                    <a:pt x="1482" y="709"/>
                    <a:pt x="1481" y="708"/>
                    <a:pt x="1480" y="706"/>
                  </a:cubicBezTo>
                  <a:cubicBezTo>
                    <a:pt x="1461" y="689"/>
                    <a:pt x="1442" y="671"/>
                    <a:pt x="1423" y="654"/>
                  </a:cubicBezTo>
                  <a:cubicBezTo>
                    <a:pt x="1389" y="623"/>
                    <a:pt x="1356" y="594"/>
                    <a:pt x="1325" y="567"/>
                  </a:cubicBezTo>
                  <a:cubicBezTo>
                    <a:pt x="1310" y="554"/>
                    <a:pt x="1296" y="542"/>
                    <a:pt x="1283" y="532"/>
                  </a:cubicBezTo>
                  <a:cubicBezTo>
                    <a:pt x="1270" y="521"/>
                    <a:pt x="1255" y="510"/>
                    <a:pt x="1245" y="502"/>
                  </a:cubicBezTo>
                  <a:cubicBezTo>
                    <a:pt x="1231" y="492"/>
                    <a:pt x="1215" y="479"/>
                    <a:pt x="1198" y="465"/>
                  </a:cubicBezTo>
                  <a:cubicBezTo>
                    <a:pt x="1171" y="444"/>
                    <a:pt x="1139" y="416"/>
                    <a:pt x="1106" y="386"/>
                  </a:cubicBezTo>
                  <a:cubicBezTo>
                    <a:pt x="1087" y="370"/>
                    <a:pt x="1069" y="353"/>
                    <a:pt x="1051" y="337"/>
                  </a:cubicBezTo>
                  <a:cubicBezTo>
                    <a:pt x="1042" y="329"/>
                    <a:pt x="1033" y="320"/>
                    <a:pt x="1023" y="312"/>
                  </a:cubicBezTo>
                  <a:cubicBezTo>
                    <a:pt x="1014" y="304"/>
                    <a:pt x="1006" y="296"/>
                    <a:pt x="997" y="288"/>
                  </a:cubicBezTo>
                  <a:cubicBezTo>
                    <a:pt x="979" y="273"/>
                    <a:pt x="959" y="258"/>
                    <a:pt x="939" y="245"/>
                  </a:cubicBezTo>
                  <a:cubicBezTo>
                    <a:pt x="873" y="200"/>
                    <a:pt x="772" y="125"/>
                    <a:pt x="652" y="121"/>
                  </a:cubicBezTo>
                  <a:cubicBezTo>
                    <a:pt x="605" y="119"/>
                    <a:pt x="251" y="115"/>
                    <a:pt x="211" y="119"/>
                  </a:cubicBezTo>
                  <a:cubicBezTo>
                    <a:pt x="156" y="126"/>
                    <a:pt x="143" y="140"/>
                    <a:pt x="143" y="154"/>
                  </a:cubicBezTo>
                  <a:cubicBezTo>
                    <a:pt x="144" y="167"/>
                    <a:pt x="144" y="197"/>
                    <a:pt x="145" y="207"/>
                  </a:cubicBezTo>
                  <a:cubicBezTo>
                    <a:pt x="145" y="229"/>
                    <a:pt x="146" y="250"/>
                    <a:pt x="147" y="271"/>
                  </a:cubicBezTo>
                  <a:cubicBezTo>
                    <a:pt x="148" y="319"/>
                    <a:pt x="149" y="409"/>
                    <a:pt x="149" y="460"/>
                  </a:cubicBezTo>
                  <a:cubicBezTo>
                    <a:pt x="149" y="486"/>
                    <a:pt x="149" y="513"/>
                    <a:pt x="149" y="540"/>
                  </a:cubicBezTo>
                  <a:cubicBezTo>
                    <a:pt x="147" y="627"/>
                    <a:pt x="144" y="709"/>
                    <a:pt x="138" y="767"/>
                  </a:cubicBezTo>
                  <a:cubicBezTo>
                    <a:pt x="137" y="787"/>
                    <a:pt x="135" y="806"/>
                    <a:pt x="133" y="825"/>
                  </a:cubicBezTo>
                  <a:cubicBezTo>
                    <a:pt x="127" y="896"/>
                    <a:pt x="124" y="1002"/>
                    <a:pt x="124" y="1102"/>
                  </a:cubicBezTo>
                  <a:cubicBezTo>
                    <a:pt x="124" y="1112"/>
                    <a:pt x="124" y="1112"/>
                    <a:pt x="124" y="1112"/>
                  </a:cubicBezTo>
                  <a:cubicBezTo>
                    <a:pt x="124" y="1114"/>
                    <a:pt x="124" y="1116"/>
                    <a:pt x="124" y="1118"/>
                  </a:cubicBezTo>
                  <a:cubicBezTo>
                    <a:pt x="124" y="1143"/>
                    <a:pt x="125" y="1170"/>
                    <a:pt x="125" y="1195"/>
                  </a:cubicBezTo>
                  <a:cubicBezTo>
                    <a:pt x="125" y="1241"/>
                    <a:pt x="127" y="1286"/>
                    <a:pt x="129" y="1326"/>
                  </a:cubicBezTo>
                  <a:cubicBezTo>
                    <a:pt x="130" y="1346"/>
                    <a:pt x="131" y="1364"/>
                    <a:pt x="132" y="1381"/>
                  </a:cubicBezTo>
                  <a:cubicBezTo>
                    <a:pt x="133" y="1398"/>
                    <a:pt x="135" y="1416"/>
                    <a:pt x="136" y="1429"/>
                  </a:cubicBezTo>
                  <a:cubicBezTo>
                    <a:pt x="138" y="1446"/>
                    <a:pt x="140" y="1467"/>
                    <a:pt x="141" y="1488"/>
                  </a:cubicBezTo>
                  <a:cubicBezTo>
                    <a:pt x="144" y="1523"/>
                    <a:pt x="146" y="1566"/>
                    <a:pt x="147" y="1610"/>
                  </a:cubicBezTo>
                  <a:cubicBezTo>
                    <a:pt x="148" y="1657"/>
                    <a:pt x="149" y="1708"/>
                    <a:pt x="149" y="1759"/>
                  </a:cubicBezTo>
                  <a:cubicBezTo>
                    <a:pt x="149" y="1786"/>
                    <a:pt x="149" y="1813"/>
                    <a:pt x="149" y="1839"/>
                  </a:cubicBezTo>
                  <a:cubicBezTo>
                    <a:pt x="147" y="1927"/>
                    <a:pt x="144" y="2009"/>
                    <a:pt x="138" y="2066"/>
                  </a:cubicBezTo>
                  <a:cubicBezTo>
                    <a:pt x="137" y="2086"/>
                    <a:pt x="135" y="2105"/>
                    <a:pt x="133" y="2125"/>
                  </a:cubicBezTo>
                  <a:cubicBezTo>
                    <a:pt x="131" y="2142"/>
                    <a:pt x="130" y="2162"/>
                    <a:pt x="129" y="2184"/>
                  </a:cubicBezTo>
                  <a:cubicBezTo>
                    <a:pt x="129" y="2195"/>
                    <a:pt x="128" y="2206"/>
                    <a:pt x="128" y="2217"/>
                  </a:cubicBezTo>
                  <a:cubicBezTo>
                    <a:pt x="127" y="2226"/>
                    <a:pt x="128" y="2236"/>
                    <a:pt x="129" y="2247"/>
                  </a:cubicBezTo>
                  <a:cubicBezTo>
                    <a:pt x="133" y="2288"/>
                    <a:pt x="151" y="2331"/>
                    <a:pt x="177" y="2367"/>
                  </a:cubicBezTo>
                  <a:cubicBezTo>
                    <a:pt x="183" y="2375"/>
                    <a:pt x="183" y="2375"/>
                    <a:pt x="183" y="2375"/>
                  </a:cubicBezTo>
                  <a:cubicBezTo>
                    <a:pt x="186" y="2379"/>
                    <a:pt x="186" y="2379"/>
                    <a:pt x="186" y="2379"/>
                  </a:cubicBezTo>
                  <a:cubicBezTo>
                    <a:pt x="200" y="2397"/>
                    <a:pt x="217" y="2415"/>
                    <a:pt x="235" y="2430"/>
                  </a:cubicBezTo>
                  <a:cubicBezTo>
                    <a:pt x="267" y="2457"/>
                    <a:pt x="303" y="2479"/>
                    <a:pt x="337" y="2494"/>
                  </a:cubicBezTo>
                  <a:cubicBezTo>
                    <a:pt x="354" y="2501"/>
                    <a:pt x="370" y="2507"/>
                    <a:pt x="384" y="2511"/>
                  </a:cubicBezTo>
                  <a:cubicBezTo>
                    <a:pt x="400" y="2515"/>
                    <a:pt x="416" y="2519"/>
                    <a:pt x="428" y="2520"/>
                  </a:cubicBezTo>
                  <a:cubicBezTo>
                    <a:pt x="442" y="2523"/>
                    <a:pt x="461" y="2525"/>
                    <a:pt x="480" y="2526"/>
                  </a:cubicBezTo>
                  <a:cubicBezTo>
                    <a:pt x="496" y="2526"/>
                    <a:pt x="512" y="2527"/>
                    <a:pt x="530" y="2526"/>
                  </a:cubicBezTo>
                  <a:cubicBezTo>
                    <a:pt x="552" y="2525"/>
                    <a:pt x="573" y="2524"/>
                    <a:pt x="594" y="2523"/>
                  </a:cubicBezTo>
                  <a:cubicBezTo>
                    <a:pt x="617" y="2522"/>
                    <a:pt x="641" y="2520"/>
                    <a:pt x="664" y="2519"/>
                  </a:cubicBezTo>
                  <a:cubicBezTo>
                    <a:pt x="676" y="2517"/>
                    <a:pt x="676" y="2517"/>
                    <a:pt x="676" y="2517"/>
                  </a:cubicBezTo>
                  <a:cubicBezTo>
                    <a:pt x="683" y="2516"/>
                    <a:pt x="683" y="2516"/>
                    <a:pt x="683" y="2516"/>
                  </a:cubicBezTo>
                  <a:cubicBezTo>
                    <a:pt x="688" y="2516"/>
                    <a:pt x="693" y="2515"/>
                    <a:pt x="697" y="2513"/>
                  </a:cubicBezTo>
                  <a:cubicBezTo>
                    <a:pt x="697" y="2513"/>
                    <a:pt x="697" y="2513"/>
                    <a:pt x="697" y="2513"/>
                  </a:cubicBezTo>
                  <a:cubicBezTo>
                    <a:pt x="707" y="2508"/>
                    <a:pt x="707" y="2495"/>
                    <a:pt x="707" y="2486"/>
                  </a:cubicBezTo>
                  <a:cubicBezTo>
                    <a:pt x="707" y="2468"/>
                    <a:pt x="708" y="2449"/>
                    <a:pt x="708" y="2431"/>
                  </a:cubicBezTo>
                  <a:cubicBezTo>
                    <a:pt x="709" y="2411"/>
                    <a:pt x="710" y="2391"/>
                    <a:pt x="711" y="2370"/>
                  </a:cubicBezTo>
                  <a:cubicBezTo>
                    <a:pt x="712" y="2332"/>
                    <a:pt x="715" y="2297"/>
                    <a:pt x="717" y="2268"/>
                  </a:cubicBezTo>
                  <a:cubicBezTo>
                    <a:pt x="719" y="2249"/>
                    <a:pt x="721" y="2229"/>
                    <a:pt x="723" y="2210"/>
                  </a:cubicBezTo>
                  <a:cubicBezTo>
                    <a:pt x="728" y="2139"/>
                    <a:pt x="731" y="2033"/>
                    <a:pt x="731" y="1933"/>
                  </a:cubicBezTo>
                  <a:cubicBezTo>
                    <a:pt x="731" y="1923"/>
                    <a:pt x="731" y="1923"/>
                    <a:pt x="731" y="1923"/>
                  </a:cubicBezTo>
                  <a:cubicBezTo>
                    <a:pt x="731" y="1921"/>
                    <a:pt x="731" y="1919"/>
                    <a:pt x="731" y="1917"/>
                  </a:cubicBezTo>
                  <a:cubicBezTo>
                    <a:pt x="731" y="1892"/>
                    <a:pt x="731" y="1866"/>
                    <a:pt x="731" y="1840"/>
                  </a:cubicBezTo>
                  <a:cubicBezTo>
                    <a:pt x="730" y="1818"/>
                    <a:pt x="730" y="1795"/>
                    <a:pt x="729" y="1772"/>
                  </a:cubicBezTo>
                  <a:cubicBezTo>
                    <a:pt x="729" y="1748"/>
                    <a:pt x="731" y="1724"/>
                    <a:pt x="734" y="1702"/>
                  </a:cubicBezTo>
                  <a:cubicBezTo>
                    <a:pt x="738" y="1680"/>
                    <a:pt x="743" y="1660"/>
                    <a:pt x="748" y="1642"/>
                  </a:cubicBezTo>
                  <a:cubicBezTo>
                    <a:pt x="753" y="1623"/>
                    <a:pt x="761" y="1604"/>
                    <a:pt x="767" y="1590"/>
                  </a:cubicBezTo>
                  <a:cubicBezTo>
                    <a:pt x="774" y="1573"/>
                    <a:pt x="785" y="1551"/>
                    <a:pt x="799" y="1531"/>
                  </a:cubicBezTo>
                  <a:cubicBezTo>
                    <a:pt x="821" y="1498"/>
                    <a:pt x="856" y="1461"/>
                    <a:pt x="899" y="1433"/>
                  </a:cubicBezTo>
                  <a:cubicBezTo>
                    <a:pt x="945" y="1401"/>
                    <a:pt x="1002" y="1379"/>
                    <a:pt x="1062" y="1371"/>
                  </a:cubicBezTo>
                  <a:cubicBezTo>
                    <a:pt x="1078" y="1370"/>
                    <a:pt x="1093" y="1368"/>
                    <a:pt x="1109" y="1368"/>
                  </a:cubicBezTo>
                  <a:cubicBezTo>
                    <a:pt x="1124" y="1369"/>
                    <a:pt x="1138" y="1369"/>
                    <a:pt x="1153" y="1370"/>
                  </a:cubicBezTo>
                  <a:cubicBezTo>
                    <a:pt x="1249" y="1377"/>
                    <a:pt x="1334" y="1409"/>
                    <a:pt x="1388" y="1438"/>
                  </a:cubicBezTo>
                  <a:cubicBezTo>
                    <a:pt x="1407" y="1449"/>
                    <a:pt x="1422" y="1458"/>
                    <a:pt x="1442" y="1470"/>
                  </a:cubicBezTo>
                  <a:cubicBezTo>
                    <a:pt x="1506" y="1508"/>
                    <a:pt x="1594" y="1572"/>
                    <a:pt x="1672" y="1638"/>
                  </a:cubicBezTo>
                  <a:cubicBezTo>
                    <a:pt x="1679" y="1645"/>
                    <a:pt x="1679" y="1645"/>
                    <a:pt x="1679" y="1645"/>
                  </a:cubicBezTo>
                  <a:cubicBezTo>
                    <a:pt x="1684" y="1649"/>
                    <a:pt x="1684" y="1649"/>
                    <a:pt x="1684" y="1649"/>
                  </a:cubicBezTo>
                  <a:cubicBezTo>
                    <a:pt x="1704" y="1665"/>
                    <a:pt x="1724" y="1683"/>
                    <a:pt x="1743" y="1700"/>
                  </a:cubicBezTo>
                  <a:cubicBezTo>
                    <a:pt x="1775" y="1727"/>
                    <a:pt x="1808" y="1756"/>
                    <a:pt x="1842" y="1786"/>
                  </a:cubicBezTo>
                  <a:cubicBezTo>
                    <a:pt x="1857" y="1799"/>
                    <a:pt x="1872" y="1811"/>
                    <a:pt x="1885" y="1821"/>
                  </a:cubicBezTo>
                  <a:cubicBezTo>
                    <a:pt x="1898" y="1832"/>
                    <a:pt x="1912" y="1843"/>
                    <a:pt x="1923" y="1851"/>
                  </a:cubicBezTo>
                  <a:cubicBezTo>
                    <a:pt x="1938" y="1863"/>
                    <a:pt x="1955" y="1875"/>
                    <a:pt x="1969" y="1886"/>
                  </a:cubicBezTo>
                  <a:cubicBezTo>
                    <a:pt x="1997" y="1907"/>
                    <a:pt x="2030" y="1935"/>
                    <a:pt x="2064" y="1963"/>
                  </a:cubicBezTo>
                  <a:cubicBezTo>
                    <a:pt x="2100" y="1994"/>
                    <a:pt x="2138" y="2028"/>
                    <a:pt x="2176" y="2062"/>
                  </a:cubicBezTo>
                  <a:cubicBezTo>
                    <a:pt x="2176" y="2062"/>
                    <a:pt x="2176" y="2062"/>
                    <a:pt x="2176" y="2062"/>
                  </a:cubicBezTo>
                  <a:cubicBezTo>
                    <a:pt x="2195" y="2079"/>
                    <a:pt x="2215" y="2097"/>
                    <a:pt x="2235" y="2114"/>
                  </a:cubicBezTo>
                  <a:cubicBezTo>
                    <a:pt x="2299" y="2172"/>
                    <a:pt x="2359" y="2223"/>
                    <a:pt x="2402" y="2258"/>
                  </a:cubicBezTo>
                  <a:cubicBezTo>
                    <a:pt x="2417" y="2270"/>
                    <a:pt x="2429" y="2280"/>
                    <a:pt x="2446" y="2292"/>
                  </a:cubicBezTo>
                  <a:cubicBezTo>
                    <a:pt x="2474" y="2311"/>
                    <a:pt x="2510" y="2332"/>
                    <a:pt x="2552" y="2348"/>
                  </a:cubicBezTo>
                  <a:cubicBezTo>
                    <a:pt x="2594" y="2364"/>
                    <a:pt x="2641" y="2374"/>
                    <a:pt x="2686" y="2374"/>
                  </a:cubicBezTo>
                  <a:cubicBezTo>
                    <a:pt x="2696" y="2374"/>
                    <a:pt x="2696" y="2374"/>
                    <a:pt x="2696" y="2374"/>
                  </a:cubicBezTo>
                  <a:cubicBezTo>
                    <a:pt x="2697" y="2374"/>
                    <a:pt x="2699" y="2374"/>
                    <a:pt x="2701" y="2374"/>
                  </a:cubicBezTo>
                  <a:cubicBezTo>
                    <a:pt x="2725" y="2374"/>
                    <a:pt x="2749" y="2371"/>
                    <a:pt x="2772" y="2366"/>
                  </a:cubicBezTo>
                  <a:cubicBezTo>
                    <a:pt x="2813" y="2357"/>
                    <a:pt x="2852" y="2341"/>
                    <a:pt x="2885" y="2324"/>
                  </a:cubicBezTo>
                  <a:cubicBezTo>
                    <a:pt x="2902" y="2315"/>
                    <a:pt x="2917" y="2306"/>
                    <a:pt x="2930" y="2297"/>
                  </a:cubicBezTo>
                  <a:cubicBezTo>
                    <a:pt x="2943" y="2288"/>
                    <a:pt x="2958" y="2278"/>
                    <a:pt x="2967" y="2270"/>
                  </a:cubicBezTo>
                  <a:cubicBezTo>
                    <a:pt x="2982" y="2258"/>
                    <a:pt x="2997" y="2246"/>
                    <a:pt x="3011" y="2234"/>
                  </a:cubicBezTo>
                  <a:cubicBezTo>
                    <a:pt x="3036" y="2213"/>
                    <a:pt x="3068" y="2186"/>
                    <a:pt x="3100" y="2158"/>
                  </a:cubicBezTo>
                  <a:cubicBezTo>
                    <a:pt x="3138" y="2124"/>
                    <a:pt x="3174" y="2092"/>
                    <a:pt x="3210" y="2060"/>
                  </a:cubicBezTo>
                  <a:cubicBezTo>
                    <a:pt x="3230" y="2043"/>
                    <a:pt x="3250" y="2025"/>
                    <a:pt x="3269" y="2007"/>
                  </a:cubicBezTo>
                  <a:cubicBezTo>
                    <a:pt x="3334" y="1949"/>
                    <a:pt x="3400" y="1896"/>
                    <a:pt x="3445" y="1863"/>
                  </a:cubicBezTo>
                  <a:cubicBezTo>
                    <a:pt x="3461" y="1850"/>
                    <a:pt x="3474" y="1841"/>
                    <a:pt x="3491" y="1828"/>
                  </a:cubicBezTo>
                  <a:cubicBezTo>
                    <a:pt x="3547" y="1784"/>
                    <a:pt x="3625" y="1712"/>
                    <a:pt x="3703" y="1646"/>
                  </a:cubicBezTo>
                  <a:cubicBezTo>
                    <a:pt x="3711" y="1640"/>
                    <a:pt x="3711" y="1640"/>
                    <a:pt x="3711" y="1640"/>
                  </a:cubicBezTo>
                  <a:cubicBezTo>
                    <a:pt x="3712" y="1639"/>
                    <a:pt x="3714" y="1637"/>
                    <a:pt x="3715" y="1636"/>
                  </a:cubicBezTo>
                  <a:cubicBezTo>
                    <a:pt x="3735" y="1619"/>
                    <a:pt x="3756" y="1602"/>
                    <a:pt x="3777" y="1586"/>
                  </a:cubicBezTo>
                  <a:cubicBezTo>
                    <a:pt x="3813" y="1557"/>
                    <a:pt x="3850" y="1530"/>
                    <a:pt x="3885" y="1507"/>
                  </a:cubicBezTo>
                  <a:cubicBezTo>
                    <a:pt x="3902" y="1496"/>
                    <a:pt x="3919" y="1485"/>
                    <a:pt x="3933" y="1476"/>
                  </a:cubicBezTo>
                  <a:cubicBezTo>
                    <a:pt x="3947" y="1468"/>
                    <a:pt x="3963" y="1458"/>
                    <a:pt x="3978" y="1449"/>
                  </a:cubicBezTo>
                  <a:cubicBezTo>
                    <a:pt x="3992" y="1440"/>
                    <a:pt x="4012" y="1430"/>
                    <a:pt x="4033" y="1420"/>
                  </a:cubicBezTo>
                  <a:cubicBezTo>
                    <a:pt x="4067" y="1405"/>
                    <a:pt x="4111" y="1390"/>
                    <a:pt x="4159" y="1380"/>
                  </a:cubicBezTo>
                  <a:cubicBezTo>
                    <a:pt x="4184" y="1375"/>
                    <a:pt x="4211" y="1372"/>
                    <a:pt x="4239" y="1370"/>
                  </a:cubicBezTo>
                  <a:cubicBezTo>
                    <a:pt x="4253" y="1369"/>
                    <a:pt x="4266" y="1368"/>
                    <a:pt x="4281" y="1369"/>
                  </a:cubicBezTo>
                  <a:cubicBezTo>
                    <a:pt x="4296" y="1369"/>
                    <a:pt x="4311" y="1370"/>
                    <a:pt x="4326" y="1372"/>
                  </a:cubicBezTo>
                  <a:cubicBezTo>
                    <a:pt x="4357" y="1376"/>
                    <a:pt x="4388" y="1384"/>
                    <a:pt x="4416" y="1396"/>
                  </a:cubicBezTo>
                  <a:cubicBezTo>
                    <a:pt x="4464" y="1415"/>
                    <a:pt x="4506" y="1443"/>
                    <a:pt x="4538" y="1475"/>
                  </a:cubicBezTo>
                  <a:cubicBezTo>
                    <a:pt x="4570" y="1506"/>
                    <a:pt x="4593" y="1540"/>
                    <a:pt x="4608" y="1569"/>
                  </a:cubicBezTo>
                  <a:cubicBezTo>
                    <a:pt x="4619" y="1590"/>
                    <a:pt x="4625" y="1607"/>
                    <a:pt x="4633" y="1631"/>
                  </a:cubicBezTo>
                  <a:cubicBezTo>
                    <a:pt x="4645" y="1669"/>
                    <a:pt x="4656" y="1717"/>
                    <a:pt x="4655" y="1771"/>
                  </a:cubicBezTo>
                  <a:cubicBezTo>
                    <a:pt x="4654" y="1819"/>
                    <a:pt x="4653" y="1870"/>
                    <a:pt x="4653" y="1920"/>
                  </a:cubicBezTo>
                  <a:cubicBezTo>
                    <a:pt x="4653" y="1930"/>
                    <a:pt x="4653" y="1930"/>
                    <a:pt x="4653" y="1930"/>
                  </a:cubicBezTo>
                  <a:cubicBezTo>
                    <a:pt x="4653" y="1932"/>
                    <a:pt x="4653" y="1934"/>
                    <a:pt x="4653" y="1936"/>
                  </a:cubicBezTo>
                  <a:cubicBezTo>
                    <a:pt x="4653" y="1962"/>
                    <a:pt x="4653" y="1988"/>
                    <a:pt x="4654" y="2014"/>
                  </a:cubicBezTo>
                  <a:cubicBezTo>
                    <a:pt x="4654" y="2059"/>
                    <a:pt x="4656" y="2104"/>
                    <a:pt x="4657" y="2144"/>
                  </a:cubicBezTo>
                  <a:cubicBezTo>
                    <a:pt x="4658" y="2164"/>
                    <a:pt x="4659" y="2183"/>
                    <a:pt x="4661" y="2199"/>
                  </a:cubicBezTo>
                  <a:cubicBezTo>
                    <a:pt x="4662" y="2218"/>
                    <a:pt x="4663" y="2231"/>
                    <a:pt x="4667" y="2242"/>
                  </a:cubicBezTo>
                  <a:cubicBezTo>
                    <a:pt x="4670" y="2255"/>
                    <a:pt x="4676" y="2271"/>
                    <a:pt x="4683" y="2287"/>
                  </a:cubicBezTo>
                  <a:cubicBezTo>
                    <a:pt x="4695" y="2313"/>
                    <a:pt x="4714" y="2343"/>
                    <a:pt x="4740" y="2371"/>
                  </a:cubicBezTo>
                  <a:cubicBezTo>
                    <a:pt x="4767" y="2401"/>
                    <a:pt x="4802" y="2430"/>
                    <a:pt x="4841" y="2453"/>
                  </a:cubicBezTo>
                  <a:cubicBezTo>
                    <a:pt x="4841" y="2453"/>
                    <a:pt x="4841" y="2453"/>
                    <a:pt x="4841" y="2453"/>
                  </a:cubicBezTo>
                  <a:cubicBezTo>
                    <a:pt x="4861" y="2466"/>
                    <a:pt x="4882" y="2477"/>
                    <a:pt x="4903" y="2486"/>
                  </a:cubicBezTo>
                  <a:cubicBezTo>
                    <a:pt x="4939" y="2502"/>
                    <a:pt x="4975" y="2514"/>
                    <a:pt x="5008" y="2521"/>
                  </a:cubicBezTo>
                  <a:cubicBezTo>
                    <a:pt x="5024" y="2524"/>
                    <a:pt x="5040" y="2526"/>
                    <a:pt x="5055" y="2528"/>
                  </a:cubicBezTo>
                  <a:cubicBezTo>
                    <a:pt x="5070" y="2529"/>
                    <a:pt x="5085" y="2530"/>
                    <a:pt x="5101" y="2531"/>
                  </a:cubicBezTo>
                  <a:cubicBezTo>
                    <a:pt x="5121" y="2533"/>
                    <a:pt x="5136" y="2535"/>
                    <a:pt x="5158" y="2536"/>
                  </a:cubicBezTo>
                  <a:cubicBezTo>
                    <a:pt x="5167" y="2536"/>
                    <a:pt x="5176" y="2536"/>
                    <a:pt x="5185" y="2536"/>
                  </a:cubicBezTo>
                  <a:cubicBezTo>
                    <a:pt x="5194" y="2536"/>
                    <a:pt x="5202" y="2536"/>
                    <a:pt x="5210" y="2536"/>
                  </a:cubicBezTo>
                  <a:cubicBezTo>
                    <a:pt x="5216" y="2536"/>
                    <a:pt x="5223" y="2536"/>
                    <a:pt x="5230" y="2535"/>
                  </a:cubicBezTo>
                  <a:cubicBezTo>
                    <a:pt x="5237" y="2534"/>
                    <a:pt x="5245" y="2533"/>
                    <a:pt x="5250" y="2528"/>
                  </a:cubicBezTo>
                  <a:cubicBezTo>
                    <a:pt x="5261" y="2516"/>
                    <a:pt x="5259" y="2499"/>
                    <a:pt x="5259" y="2484"/>
                  </a:cubicBezTo>
                  <a:cubicBezTo>
                    <a:pt x="5260" y="2459"/>
                    <a:pt x="5260" y="2435"/>
                    <a:pt x="5260" y="2411"/>
                  </a:cubicBezTo>
                  <a:cubicBezTo>
                    <a:pt x="5260" y="2401"/>
                    <a:pt x="5260" y="2401"/>
                    <a:pt x="5260" y="2401"/>
                  </a:cubicBezTo>
                  <a:cubicBezTo>
                    <a:pt x="5260" y="2399"/>
                    <a:pt x="5260" y="2398"/>
                    <a:pt x="5260" y="2396"/>
                  </a:cubicBezTo>
                  <a:cubicBezTo>
                    <a:pt x="5260" y="2370"/>
                    <a:pt x="5260" y="2344"/>
                    <a:pt x="5259" y="2318"/>
                  </a:cubicBezTo>
                  <a:cubicBezTo>
                    <a:pt x="5259" y="2273"/>
                    <a:pt x="5257" y="2228"/>
                    <a:pt x="5256" y="2188"/>
                  </a:cubicBezTo>
                  <a:cubicBezTo>
                    <a:pt x="5255" y="2168"/>
                    <a:pt x="5254" y="2149"/>
                    <a:pt x="5252" y="2133"/>
                  </a:cubicBezTo>
                  <a:cubicBezTo>
                    <a:pt x="5251" y="2116"/>
                    <a:pt x="5250" y="2097"/>
                    <a:pt x="5248" y="2084"/>
                  </a:cubicBezTo>
                  <a:cubicBezTo>
                    <a:pt x="5246" y="2068"/>
                    <a:pt x="5244" y="2047"/>
                    <a:pt x="5243" y="2025"/>
                  </a:cubicBezTo>
                  <a:cubicBezTo>
                    <a:pt x="5240" y="1991"/>
                    <a:pt x="5239" y="1948"/>
                    <a:pt x="5237" y="1904"/>
                  </a:cubicBezTo>
                  <a:cubicBezTo>
                    <a:pt x="5236" y="1856"/>
                    <a:pt x="5235" y="1805"/>
                    <a:pt x="5235" y="1754"/>
                  </a:cubicBezTo>
                  <a:cubicBezTo>
                    <a:pt x="5235" y="1754"/>
                    <a:pt x="5235" y="1754"/>
                    <a:pt x="5235" y="1754"/>
                  </a:cubicBezTo>
                  <a:cubicBezTo>
                    <a:pt x="5235" y="1728"/>
                    <a:pt x="5236" y="1701"/>
                    <a:pt x="5236" y="1674"/>
                  </a:cubicBezTo>
                  <a:cubicBezTo>
                    <a:pt x="5237" y="1587"/>
                    <a:pt x="5241" y="1505"/>
                    <a:pt x="5246" y="1447"/>
                  </a:cubicBezTo>
                  <a:cubicBezTo>
                    <a:pt x="5248" y="1428"/>
                    <a:pt x="5250" y="1408"/>
                    <a:pt x="5251" y="1389"/>
                  </a:cubicBezTo>
                  <a:cubicBezTo>
                    <a:pt x="5257" y="1318"/>
                    <a:pt x="5260" y="1212"/>
                    <a:pt x="5260" y="1112"/>
                  </a:cubicBezTo>
                  <a:cubicBezTo>
                    <a:pt x="5260" y="1102"/>
                    <a:pt x="5260" y="1102"/>
                    <a:pt x="5260" y="1102"/>
                  </a:cubicBezTo>
                  <a:cubicBezTo>
                    <a:pt x="5260" y="1100"/>
                    <a:pt x="5260" y="1098"/>
                    <a:pt x="5260" y="1096"/>
                  </a:cubicBezTo>
                  <a:cubicBezTo>
                    <a:pt x="5260" y="1071"/>
                    <a:pt x="5260" y="1045"/>
                    <a:pt x="5259" y="1019"/>
                  </a:cubicBezTo>
                  <a:cubicBezTo>
                    <a:pt x="5259" y="973"/>
                    <a:pt x="5257" y="929"/>
                    <a:pt x="5256" y="889"/>
                  </a:cubicBezTo>
                  <a:close/>
                  <a:moveTo>
                    <a:pt x="5207" y="1112"/>
                  </a:moveTo>
                  <a:cubicBezTo>
                    <a:pt x="5207" y="1138"/>
                    <a:pt x="5208" y="1164"/>
                    <a:pt x="5208" y="1190"/>
                  </a:cubicBezTo>
                  <a:cubicBezTo>
                    <a:pt x="5208" y="1235"/>
                    <a:pt x="5210" y="1280"/>
                    <a:pt x="5212" y="1320"/>
                  </a:cubicBezTo>
                  <a:cubicBezTo>
                    <a:pt x="5213" y="1340"/>
                    <a:pt x="5214" y="1359"/>
                    <a:pt x="5215" y="1375"/>
                  </a:cubicBezTo>
                  <a:cubicBezTo>
                    <a:pt x="5216" y="1393"/>
                    <a:pt x="5218" y="1411"/>
                    <a:pt x="5219" y="1424"/>
                  </a:cubicBezTo>
                  <a:cubicBezTo>
                    <a:pt x="5221" y="1440"/>
                    <a:pt x="5223" y="1462"/>
                    <a:pt x="5224" y="1482"/>
                  </a:cubicBezTo>
                  <a:cubicBezTo>
                    <a:pt x="5227" y="1517"/>
                    <a:pt x="5229" y="1560"/>
                    <a:pt x="5230" y="1604"/>
                  </a:cubicBezTo>
                  <a:cubicBezTo>
                    <a:pt x="5231" y="1652"/>
                    <a:pt x="5232" y="1703"/>
                    <a:pt x="5232" y="1754"/>
                  </a:cubicBezTo>
                  <a:cubicBezTo>
                    <a:pt x="5232" y="1780"/>
                    <a:pt x="5232" y="1807"/>
                    <a:pt x="5232" y="1833"/>
                  </a:cubicBezTo>
                  <a:cubicBezTo>
                    <a:pt x="5230" y="1921"/>
                    <a:pt x="5227" y="2003"/>
                    <a:pt x="5221" y="2061"/>
                  </a:cubicBezTo>
                  <a:cubicBezTo>
                    <a:pt x="5220" y="2080"/>
                    <a:pt x="5218" y="2100"/>
                    <a:pt x="5216" y="2119"/>
                  </a:cubicBezTo>
                  <a:cubicBezTo>
                    <a:pt x="5210" y="2190"/>
                    <a:pt x="5207" y="2296"/>
                    <a:pt x="5207" y="2396"/>
                  </a:cubicBezTo>
                  <a:cubicBezTo>
                    <a:pt x="5207" y="2398"/>
                    <a:pt x="5207" y="2400"/>
                    <a:pt x="5207" y="2401"/>
                  </a:cubicBezTo>
                  <a:cubicBezTo>
                    <a:pt x="5207" y="2405"/>
                    <a:pt x="5207" y="2408"/>
                    <a:pt x="5207" y="2412"/>
                  </a:cubicBezTo>
                  <a:cubicBezTo>
                    <a:pt x="5207" y="2424"/>
                    <a:pt x="5207" y="2438"/>
                    <a:pt x="5207" y="2451"/>
                  </a:cubicBezTo>
                  <a:cubicBezTo>
                    <a:pt x="5207" y="2451"/>
                    <a:pt x="5208" y="2475"/>
                    <a:pt x="5208" y="2479"/>
                  </a:cubicBezTo>
                  <a:cubicBezTo>
                    <a:pt x="5207" y="2484"/>
                    <a:pt x="5208" y="2493"/>
                    <a:pt x="5200" y="2494"/>
                  </a:cubicBezTo>
                  <a:cubicBezTo>
                    <a:pt x="5192" y="2495"/>
                    <a:pt x="5178" y="2497"/>
                    <a:pt x="5169" y="2498"/>
                  </a:cubicBezTo>
                  <a:cubicBezTo>
                    <a:pt x="5155" y="2500"/>
                    <a:pt x="5138" y="2502"/>
                    <a:pt x="5123" y="2504"/>
                  </a:cubicBezTo>
                  <a:cubicBezTo>
                    <a:pt x="5107" y="2507"/>
                    <a:pt x="5086" y="2509"/>
                    <a:pt x="5066" y="2510"/>
                  </a:cubicBezTo>
                  <a:cubicBezTo>
                    <a:pt x="5037" y="2513"/>
                    <a:pt x="5001" y="2511"/>
                    <a:pt x="4963" y="2501"/>
                  </a:cubicBezTo>
                  <a:cubicBezTo>
                    <a:pt x="4923" y="2492"/>
                    <a:pt x="4881" y="2475"/>
                    <a:pt x="4842" y="2451"/>
                  </a:cubicBezTo>
                  <a:cubicBezTo>
                    <a:pt x="4822" y="2439"/>
                    <a:pt x="4803" y="2424"/>
                    <a:pt x="4786" y="2410"/>
                  </a:cubicBezTo>
                  <a:cubicBezTo>
                    <a:pt x="4758" y="2385"/>
                    <a:pt x="4735" y="2356"/>
                    <a:pt x="4720" y="2329"/>
                  </a:cubicBezTo>
                  <a:cubicBezTo>
                    <a:pt x="4705" y="2301"/>
                    <a:pt x="4698" y="2275"/>
                    <a:pt x="4696" y="2255"/>
                  </a:cubicBezTo>
                  <a:cubicBezTo>
                    <a:pt x="4695" y="2239"/>
                    <a:pt x="4696" y="2229"/>
                    <a:pt x="4697" y="2213"/>
                  </a:cubicBezTo>
                  <a:cubicBezTo>
                    <a:pt x="4703" y="2142"/>
                    <a:pt x="4706" y="2036"/>
                    <a:pt x="4706" y="1936"/>
                  </a:cubicBezTo>
                  <a:cubicBezTo>
                    <a:pt x="4706" y="1934"/>
                    <a:pt x="4706" y="1932"/>
                    <a:pt x="4706" y="1930"/>
                  </a:cubicBezTo>
                  <a:cubicBezTo>
                    <a:pt x="4706" y="1927"/>
                    <a:pt x="4706" y="1923"/>
                    <a:pt x="4706" y="1920"/>
                  </a:cubicBezTo>
                  <a:cubicBezTo>
                    <a:pt x="4706" y="1894"/>
                    <a:pt x="4705" y="1868"/>
                    <a:pt x="4705" y="1843"/>
                  </a:cubicBezTo>
                  <a:cubicBezTo>
                    <a:pt x="4705" y="1821"/>
                    <a:pt x="4704" y="1798"/>
                    <a:pt x="4704" y="1775"/>
                  </a:cubicBezTo>
                  <a:cubicBezTo>
                    <a:pt x="4703" y="1748"/>
                    <a:pt x="4699" y="1722"/>
                    <a:pt x="4694" y="1697"/>
                  </a:cubicBezTo>
                  <a:cubicBezTo>
                    <a:pt x="4688" y="1673"/>
                    <a:pt x="4681" y="1651"/>
                    <a:pt x="4673" y="1633"/>
                  </a:cubicBezTo>
                  <a:cubicBezTo>
                    <a:pt x="4664" y="1613"/>
                    <a:pt x="4654" y="1593"/>
                    <a:pt x="4645" y="1580"/>
                  </a:cubicBezTo>
                  <a:cubicBezTo>
                    <a:pt x="4634" y="1563"/>
                    <a:pt x="4619" y="1542"/>
                    <a:pt x="4603" y="1523"/>
                  </a:cubicBezTo>
                  <a:cubicBezTo>
                    <a:pt x="4575" y="1491"/>
                    <a:pt x="4537" y="1456"/>
                    <a:pt x="4493" y="1429"/>
                  </a:cubicBezTo>
                  <a:cubicBezTo>
                    <a:pt x="4445" y="1399"/>
                    <a:pt x="4387" y="1377"/>
                    <a:pt x="4326" y="1369"/>
                  </a:cubicBezTo>
                  <a:cubicBezTo>
                    <a:pt x="4326" y="1369"/>
                    <a:pt x="4326" y="1369"/>
                    <a:pt x="4326" y="1369"/>
                  </a:cubicBezTo>
                  <a:cubicBezTo>
                    <a:pt x="4311" y="1367"/>
                    <a:pt x="4295" y="1366"/>
                    <a:pt x="4279" y="1365"/>
                  </a:cubicBezTo>
                  <a:cubicBezTo>
                    <a:pt x="4263" y="1365"/>
                    <a:pt x="4249" y="1365"/>
                    <a:pt x="4235" y="1366"/>
                  </a:cubicBezTo>
                  <a:cubicBezTo>
                    <a:pt x="4138" y="1370"/>
                    <a:pt x="4049" y="1395"/>
                    <a:pt x="3989" y="1415"/>
                  </a:cubicBezTo>
                  <a:cubicBezTo>
                    <a:pt x="3968" y="1422"/>
                    <a:pt x="3952" y="1427"/>
                    <a:pt x="3929" y="1437"/>
                  </a:cubicBezTo>
                  <a:cubicBezTo>
                    <a:pt x="3857" y="1466"/>
                    <a:pt x="3761" y="1529"/>
                    <a:pt x="3681" y="1596"/>
                  </a:cubicBezTo>
                  <a:cubicBezTo>
                    <a:pt x="3680" y="1597"/>
                    <a:pt x="3678" y="1598"/>
                    <a:pt x="3677" y="1599"/>
                  </a:cubicBezTo>
                  <a:cubicBezTo>
                    <a:pt x="3674" y="1602"/>
                    <a:pt x="3671" y="1604"/>
                    <a:pt x="3669" y="1606"/>
                  </a:cubicBezTo>
                  <a:cubicBezTo>
                    <a:pt x="3648" y="1624"/>
                    <a:pt x="3628" y="1642"/>
                    <a:pt x="3609" y="1659"/>
                  </a:cubicBezTo>
                  <a:cubicBezTo>
                    <a:pt x="3574" y="1691"/>
                    <a:pt x="3542" y="1723"/>
                    <a:pt x="3514" y="1752"/>
                  </a:cubicBezTo>
                  <a:cubicBezTo>
                    <a:pt x="3500" y="1766"/>
                    <a:pt x="3488" y="1779"/>
                    <a:pt x="3476" y="1792"/>
                  </a:cubicBezTo>
                  <a:cubicBezTo>
                    <a:pt x="3465" y="1804"/>
                    <a:pt x="3452" y="1818"/>
                    <a:pt x="3444" y="1828"/>
                  </a:cubicBezTo>
                  <a:cubicBezTo>
                    <a:pt x="3434" y="1840"/>
                    <a:pt x="3419" y="1855"/>
                    <a:pt x="3405" y="1870"/>
                  </a:cubicBezTo>
                  <a:cubicBezTo>
                    <a:pt x="3381" y="1895"/>
                    <a:pt x="3349" y="1925"/>
                    <a:pt x="3318" y="1956"/>
                  </a:cubicBezTo>
                  <a:cubicBezTo>
                    <a:pt x="3283" y="1989"/>
                    <a:pt x="3246" y="2024"/>
                    <a:pt x="3208" y="2058"/>
                  </a:cubicBezTo>
                  <a:cubicBezTo>
                    <a:pt x="3189" y="2075"/>
                    <a:pt x="3169" y="2093"/>
                    <a:pt x="3149" y="2109"/>
                  </a:cubicBezTo>
                  <a:cubicBezTo>
                    <a:pt x="3084" y="2165"/>
                    <a:pt x="3019" y="2211"/>
                    <a:pt x="2971" y="2236"/>
                  </a:cubicBezTo>
                  <a:cubicBezTo>
                    <a:pt x="2954" y="2245"/>
                    <a:pt x="2941" y="2251"/>
                    <a:pt x="2923" y="2259"/>
                  </a:cubicBezTo>
                  <a:cubicBezTo>
                    <a:pt x="2893" y="2273"/>
                    <a:pt x="2858" y="2289"/>
                    <a:pt x="2819" y="2301"/>
                  </a:cubicBezTo>
                  <a:cubicBezTo>
                    <a:pt x="2780" y="2313"/>
                    <a:pt x="2739" y="2321"/>
                    <a:pt x="2700" y="2321"/>
                  </a:cubicBezTo>
                  <a:cubicBezTo>
                    <a:pt x="2695" y="2321"/>
                    <a:pt x="2695" y="2321"/>
                    <a:pt x="2695" y="2321"/>
                  </a:cubicBezTo>
                  <a:cubicBezTo>
                    <a:pt x="2692" y="2321"/>
                    <a:pt x="2690" y="2321"/>
                    <a:pt x="2687" y="2321"/>
                  </a:cubicBezTo>
                  <a:cubicBezTo>
                    <a:pt x="2666" y="2321"/>
                    <a:pt x="2645" y="2319"/>
                    <a:pt x="2625" y="2316"/>
                  </a:cubicBezTo>
                  <a:cubicBezTo>
                    <a:pt x="2589" y="2309"/>
                    <a:pt x="2553" y="2298"/>
                    <a:pt x="2520" y="2285"/>
                  </a:cubicBezTo>
                  <a:cubicBezTo>
                    <a:pt x="2504" y="2279"/>
                    <a:pt x="2489" y="2272"/>
                    <a:pt x="2475" y="2266"/>
                  </a:cubicBezTo>
                  <a:cubicBezTo>
                    <a:pt x="2463" y="2260"/>
                    <a:pt x="2448" y="2253"/>
                    <a:pt x="2435" y="2247"/>
                  </a:cubicBezTo>
                  <a:cubicBezTo>
                    <a:pt x="2421" y="2241"/>
                    <a:pt x="2404" y="2231"/>
                    <a:pt x="2387" y="2221"/>
                  </a:cubicBezTo>
                  <a:cubicBezTo>
                    <a:pt x="2358" y="2204"/>
                    <a:pt x="2325" y="2180"/>
                    <a:pt x="2291" y="2154"/>
                  </a:cubicBezTo>
                  <a:cubicBezTo>
                    <a:pt x="2254" y="2126"/>
                    <a:pt x="2216" y="2094"/>
                    <a:pt x="2178" y="2060"/>
                  </a:cubicBezTo>
                  <a:cubicBezTo>
                    <a:pt x="2178" y="2060"/>
                    <a:pt x="2178" y="2060"/>
                    <a:pt x="2178" y="2060"/>
                  </a:cubicBezTo>
                  <a:cubicBezTo>
                    <a:pt x="2159" y="2042"/>
                    <a:pt x="2139" y="2024"/>
                    <a:pt x="2120" y="2006"/>
                  </a:cubicBezTo>
                  <a:cubicBezTo>
                    <a:pt x="2088" y="1976"/>
                    <a:pt x="2057" y="1947"/>
                    <a:pt x="2029" y="1920"/>
                  </a:cubicBezTo>
                  <a:cubicBezTo>
                    <a:pt x="2002" y="1892"/>
                    <a:pt x="1976" y="1867"/>
                    <a:pt x="1958" y="1847"/>
                  </a:cubicBezTo>
                  <a:cubicBezTo>
                    <a:pt x="1945" y="1832"/>
                    <a:pt x="1932" y="1818"/>
                    <a:pt x="1919" y="1804"/>
                  </a:cubicBezTo>
                  <a:cubicBezTo>
                    <a:pt x="1872" y="1752"/>
                    <a:pt x="1797" y="1675"/>
                    <a:pt x="1718" y="1608"/>
                  </a:cubicBezTo>
                  <a:cubicBezTo>
                    <a:pt x="1713" y="1604"/>
                    <a:pt x="1713" y="1604"/>
                    <a:pt x="1713" y="1604"/>
                  </a:cubicBezTo>
                  <a:cubicBezTo>
                    <a:pt x="1705" y="1597"/>
                    <a:pt x="1705" y="1597"/>
                    <a:pt x="1705" y="1597"/>
                  </a:cubicBezTo>
                  <a:cubicBezTo>
                    <a:pt x="1685" y="1580"/>
                    <a:pt x="1663" y="1563"/>
                    <a:pt x="1642" y="1547"/>
                  </a:cubicBezTo>
                  <a:cubicBezTo>
                    <a:pt x="1603" y="1519"/>
                    <a:pt x="1563" y="1492"/>
                    <a:pt x="1525" y="1471"/>
                  </a:cubicBezTo>
                  <a:cubicBezTo>
                    <a:pt x="1506" y="1461"/>
                    <a:pt x="1488" y="1452"/>
                    <a:pt x="1472" y="1444"/>
                  </a:cubicBezTo>
                  <a:cubicBezTo>
                    <a:pt x="1454" y="1437"/>
                    <a:pt x="1436" y="1429"/>
                    <a:pt x="1422" y="1424"/>
                  </a:cubicBezTo>
                  <a:cubicBezTo>
                    <a:pt x="1405" y="1419"/>
                    <a:pt x="1383" y="1411"/>
                    <a:pt x="1361" y="1404"/>
                  </a:cubicBezTo>
                  <a:cubicBezTo>
                    <a:pt x="1324" y="1393"/>
                    <a:pt x="1278" y="1381"/>
                    <a:pt x="1230" y="1374"/>
                  </a:cubicBezTo>
                  <a:cubicBezTo>
                    <a:pt x="1204" y="1370"/>
                    <a:pt x="1177" y="1367"/>
                    <a:pt x="1149" y="1366"/>
                  </a:cubicBezTo>
                  <a:cubicBezTo>
                    <a:pt x="1135" y="1365"/>
                    <a:pt x="1122" y="1365"/>
                    <a:pt x="1107" y="1365"/>
                  </a:cubicBezTo>
                  <a:cubicBezTo>
                    <a:pt x="1092" y="1365"/>
                    <a:pt x="1077" y="1366"/>
                    <a:pt x="1062" y="1368"/>
                  </a:cubicBezTo>
                  <a:cubicBezTo>
                    <a:pt x="1031" y="1372"/>
                    <a:pt x="999" y="1380"/>
                    <a:pt x="970" y="1391"/>
                  </a:cubicBezTo>
                  <a:cubicBezTo>
                    <a:pt x="921" y="1408"/>
                    <a:pt x="877" y="1435"/>
                    <a:pt x="841" y="1464"/>
                  </a:cubicBezTo>
                  <a:cubicBezTo>
                    <a:pt x="806" y="1493"/>
                    <a:pt x="778" y="1525"/>
                    <a:pt x="757" y="1553"/>
                  </a:cubicBezTo>
                  <a:cubicBezTo>
                    <a:pt x="743" y="1573"/>
                    <a:pt x="732" y="1589"/>
                    <a:pt x="720" y="1614"/>
                  </a:cubicBezTo>
                  <a:cubicBezTo>
                    <a:pt x="700" y="1653"/>
                    <a:pt x="684" y="1706"/>
                    <a:pt x="681" y="1766"/>
                  </a:cubicBezTo>
                  <a:cubicBezTo>
                    <a:pt x="680" y="1792"/>
                    <a:pt x="680" y="1817"/>
                    <a:pt x="679" y="1842"/>
                  </a:cubicBezTo>
                  <a:cubicBezTo>
                    <a:pt x="679" y="1868"/>
                    <a:pt x="679" y="1893"/>
                    <a:pt x="679" y="1918"/>
                  </a:cubicBezTo>
                  <a:cubicBezTo>
                    <a:pt x="679" y="1919"/>
                    <a:pt x="679" y="1921"/>
                    <a:pt x="679" y="1923"/>
                  </a:cubicBezTo>
                  <a:cubicBezTo>
                    <a:pt x="679" y="1926"/>
                    <a:pt x="679" y="1930"/>
                    <a:pt x="679" y="1933"/>
                  </a:cubicBezTo>
                  <a:cubicBezTo>
                    <a:pt x="679" y="1959"/>
                    <a:pt x="679" y="1985"/>
                    <a:pt x="679" y="2011"/>
                  </a:cubicBezTo>
                  <a:cubicBezTo>
                    <a:pt x="680" y="2056"/>
                    <a:pt x="681" y="2101"/>
                    <a:pt x="683" y="2141"/>
                  </a:cubicBezTo>
                  <a:cubicBezTo>
                    <a:pt x="684" y="2161"/>
                    <a:pt x="685" y="2179"/>
                    <a:pt x="686" y="2196"/>
                  </a:cubicBezTo>
                  <a:cubicBezTo>
                    <a:pt x="687" y="2213"/>
                    <a:pt x="689" y="2232"/>
                    <a:pt x="690" y="2245"/>
                  </a:cubicBezTo>
                  <a:cubicBezTo>
                    <a:pt x="692" y="2261"/>
                    <a:pt x="694" y="2282"/>
                    <a:pt x="696" y="2303"/>
                  </a:cubicBezTo>
                  <a:cubicBezTo>
                    <a:pt x="698" y="2338"/>
                    <a:pt x="700" y="2381"/>
                    <a:pt x="701" y="2425"/>
                  </a:cubicBezTo>
                  <a:cubicBezTo>
                    <a:pt x="702" y="2437"/>
                    <a:pt x="702" y="2449"/>
                    <a:pt x="702" y="2461"/>
                  </a:cubicBezTo>
                  <a:cubicBezTo>
                    <a:pt x="703" y="2480"/>
                    <a:pt x="703" y="2480"/>
                    <a:pt x="703" y="2480"/>
                  </a:cubicBezTo>
                  <a:cubicBezTo>
                    <a:pt x="703" y="2487"/>
                    <a:pt x="703" y="2487"/>
                    <a:pt x="703" y="2487"/>
                  </a:cubicBezTo>
                  <a:cubicBezTo>
                    <a:pt x="703" y="2495"/>
                    <a:pt x="704" y="2506"/>
                    <a:pt x="695" y="2510"/>
                  </a:cubicBezTo>
                  <a:cubicBezTo>
                    <a:pt x="695" y="2510"/>
                    <a:pt x="695" y="2510"/>
                    <a:pt x="695" y="2510"/>
                  </a:cubicBezTo>
                  <a:cubicBezTo>
                    <a:pt x="691" y="2512"/>
                    <a:pt x="686" y="2513"/>
                    <a:pt x="681" y="2513"/>
                  </a:cubicBezTo>
                  <a:cubicBezTo>
                    <a:pt x="674" y="2514"/>
                    <a:pt x="674" y="2514"/>
                    <a:pt x="674" y="2514"/>
                  </a:cubicBezTo>
                  <a:cubicBezTo>
                    <a:pt x="661" y="2515"/>
                    <a:pt x="661" y="2515"/>
                    <a:pt x="661" y="2515"/>
                  </a:cubicBezTo>
                  <a:cubicBezTo>
                    <a:pt x="620" y="2516"/>
                    <a:pt x="578" y="2516"/>
                    <a:pt x="540" y="2514"/>
                  </a:cubicBezTo>
                  <a:cubicBezTo>
                    <a:pt x="526" y="2513"/>
                    <a:pt x="526" y="2513"/>
                    <a:pt x="526" y="2513"/>
                  </a:cubicBezTo>
                  <a:cubicBezTo>
                    <a:pt x="514" y="2512"/>
                    <a:pt x="514" y="2512"/>
                    <a:pt x="514" y="2512"/>
                  </a:cubicBezTo>
                  <a:cubicBezTo>
                    <a:pt x="507" y="2511"/>
                    <a:pt x="499" y="2510"/>
                    <a:pt x="492" y="2509"/>
                  </a:cubicBezTo>
                  <a:cubicBezTo>
                    <a:pt x="478" y="2506"/>
                    <a:pt x="465" y="2503"/>
                    <a:pt x="454" y="2499"/>
                  </a:cubicBezTo>
                  <a:cubicBezTo>
                    <a:pt x="437" y="2494"/>
                    <a:pt x="425" y="2488"/>
                    <a:pt x="408" y="2481"/>
                  </a:cubicBezTo>
                  <a:cubicBezTo>
                    <a:pt x="381" y="2468"/>
                    <a:pt x="347" y="2451"/>
                    <a:pt x="315" y="2428"/>
                  </a:cubicBezTo>
                  <a:cubicBezTo>
                    <a:pt x="282" y="2405"/>
                    <a:pt x="251" y="2377"/>
                    <a:pt x="227" y="2346"/>
                  </a:cubicBezTo>
                  <a:cubicBezTo>
                    <a:pt x="225" y="2343"/>
                    <a:pt x="225" y="2343"/>
                    <a:pt x="225" y="2343"/>
                  </a:cubicBezTo>
                  <a:cubicBezTo>
                    <a:pt x="220" y="2337"/>
                    <a:pt x="220" y="2337"/>
                    <a:pt x="220" y="2337"/>
                  </a:cubicBezTo>
                  <a:cubicBezTo>
                    <a:pt x="208" y="2320"/>
                    <a:pt x="199" y="2304"/>
                    <a:pt x="191" y="2287"/>
                  </a:cubicBezTo>
                  <a:cubicBezTo>
                    <a:pt x="185" y="2272"/>
                    <a:pt x="180" y="2257"/>
                    <a:pt x="177" y="2243"/>
                  </a:cubicBezTo>
                  <a:cubicBezTo>
                    <a:pt x="176" y="2235"/>
                    <a:pt x="175" y="2228"/>
                    <a:pt x="174" y="2221"/>
                  </a:cubicBezTo>
                  <a:cubicBezTo>
                    <a:pt x="173" y="2216"/>
                    <a:pt x="173" y="2203"/>
                    <a:pt x="173" y="2193"/>
                  </a:cubicBezTo>
                  <a:cubicBezTo>
                    <a:pt x="172" y="2173"/>
                    <a:pt x="171" y="2155"/>
                    <a:pt x="169" y="2138"/>
                  </a:cubicBezTo>
                  <a:cubicBezTo>
                    <a:pt x="168" y="2121"/>
                    <a:pt x="167" y="2103"/>
                    <a:pt x="165" y="2089"/>
                  </a:cubicBezTo>
                  <a:cubicBezTo>
                    <a:pt x="163" y="2073"/>
                    <a:pt x="161" y="2052"/>
                    <a:pt x="160" y="2031"/>
                  </a:cubicBezTo>
                  <a:cubicBezTo>
                    <a:pt x="157" y="1996"/>
                    <a:pt x="156" y="1953"/>
                    <a:pt x="154" y="1909"/>
                  </a:cubicBezTo>
                  <a:cubicBezTo>
                    <a:pt x="153" y="1862"/>
                    <a:pt x="152" y="1811"/>
                    <a:pt x="152" y="1759"/>
                  </a:cubicBezTo>
                  <a:cubicBezTo>
                    <a:pt x="152" y="1759"/>
                    <a:pt x="152" y="1759"/>
                    <a:pt x="152" y="1759"/>
                  </a:cubicBezTo>
                  <a:cubicBezTo>
                    <a:pt x="152" y="1733"/>
                    <a:pt x="153" y="1706"/>
                    <a:pt x="153" y="1680"/>
                  </a:cubicBezTo>
                  <a:cubicBezTo>
                    <a:pt x="154" y="1592"/>
                    <a:pt x="158" y="1510"/>
                    <a:pt x="163" y="1453"/>
                  </a:cubicBezTo>
                  <a:cubicBezTo>
                    <a:pt x="165" y="1433"/>
                    <a:pt x="167" y="1413"/>
                    <a:pt x="168" y="1394"/>
                  </a:cubicBezTo>
                  <a:cubicBezTo>
                    <a:pt x="174" y="1323"/>
                    <a:pt x="177" y="1218"/>
                    <a:pt x="177" y="1118"/>
                  </a:cubicBezTo>
                  <a:cubicBezTo>
                    <a:pt x="177" y="1112"/>
                    <a:pt x="177" y="1112"/>
                    <a:pt x="177" y="1112"/>
                  </a:cubicBezTo>
                  <a:cubicBezTo>
                    <a:pt x="177" y="1109"/>
                    <a:pt x="177" y="1105"/>
                    <a:pt x="177" y="1102"/>
                  </a:cubicBezTo>
                  <a:cubicBezTo>
                    <a:pt x="177" y="1076"/>
                    <a:pt x="177" y="1050"/>
                    <a:pt x="176" y="1025"/>
                  </a:cubicBezTo>
                  <a:cubicBezTo>
                    <a:pt x="176" y="979"/>
                    <a:pt x="174" y="934"/>
                    <a:pt x="173" y="894"/>
                  </a:cubicBezTo>
                  <a:cubicBezTo>
                    <a:pt x="172" y="874"/>
                    <a:pt x="171" y="856"/>
                    <a:pt x="169" y="839"/>
                  </a:cubicBezTo>
                  <a:cubicBezTo>
                    <a:pt x="168" y="822"/>
                    <a:pt x="167" y="803"/>
                    <a:pt x="165" y="790"/>
                  </a:cubicBezTo>
                  <a:cubicBezTo>
                    <a:pt x="163" y="774"/>
                    <a:pt x="161" y="753"/>
                    <a:pt x="160" y="732"/>
                  </a:cubicBezTo>
                  <a:cubicBezTo>
                    <a:pt x="157" y="697"/>
                    <a:pt x="156" y="654"/>
                    <a:pt x="154" y="610"/>
                  </a:cubicBezTo>
                  <a:cubicBezTo>
                    <a:pt x="153" y="562"/>
                    <a:pt x="152" y="511"/>
                    <a:pt x="152" y="460"/>
                  </a:cubicBezTo>
                  <a:cubicBezTo>
                    <a:pt x="152" y="460"/>
                    <a:pt x="152" y="460"/>
                    <a:pt x="152" y="460"/>
                  </a:cubicBezTo>
                  <a:cubicBezTo>
                    <a:pt x="152" y="434"/>
                    <a:pt x="153" y="368"/>
                    <a:pt x="153" y="341"/>
                  </a:cubicBezTo>
                  <a:cubicBezTo>
                    <a:pt x="153" y="299"/>
                    <a:pt x="158" y="180"/>
                    <a:pt x="159" y="169"/>
                  </a:cubicBezTo>
                  <a:cubicBezTo>
                    <a:pt x="159" y="157"/>
                    <a:pt x="195" y="158"/>
                    <a:pt x="205" y="158"/>
                  </a:cubicBezTo>
                  <a:cubicBezTo>
                    <a:pt x="228" y="157"/>
                    <a:pt x="645" y="158"/>
                    <a:pt x="660" y="158"/>
                  </a:cubicBezTo>
                  <a:cubicBezTo>
                    <a:pt x="796" y="158"/>
                    <a:pt x="848" y="198"/>
                    <a:pt x="883" y="217"/>
                  </a:cubicBezTo>
                  <a:cubicBezTo>
                    <a:pt x="922" y="237"/>
                    <a:pt x="960" y="261"/>
                    <a:pt x="995" y="291"/>
                  </a:cubicBezTo>
                  <a:cubicBezTo>
                    <a:pt x="1004" y="299"/>
                    <a:pt x="1013" y="306"/>
                    <a:pt x="1022" y="315"/>
                  </a:cubicBezTo>
                  <a:cubicBezTo>
                    <a:pt x="1032" y="324"/>
                    <a:pt x="1041" y="334"/>
                    <a:pt x="1051" y="343"/>
                  </a:cubicBezTo>
                  <a:cubicBezTo>
                    <a:pt x="1114" y="403"/>
                    <a:pt x="1171" y="462"/>
                    <a:pt x="1209" y="505"/>
                  </a:cubicBezTo>
                  <a:cubicBezTo>
                    <a:pt x="1222" y="520"/>
                    <a:pt x="1235" y="535"/>
                    <a:pt x="1248" y="549"/>
                  </a:cubicBezTo>
                  <a:cubicBezTo>
                    <a:pt x="1296" y="602"/>
                    <a:pt x="1371" y="676"/>
                    <a:pt x="1443" y="745"/>
                  </a:cubicBezTo>
                  <a:cubicBezTo>
                    <a:pt x="1447" y="748"/>
                    <a:pt x="1447" y="748"/>
                    <a:pt x="1447" y="748"/>
                  </a:cubicBezTo>
                  <a:cubicBezTo>
                    <a:pt x="1455" y="755"/>
                    <a:pt x="1455" y="755"/>
                    <a:pt x="1455" y="755"/>
                  </a:cubicBezTo>
                  <a:cubicBezTo>
                    <a:pt x="1473" y="773"/>
                    <a:pt x="1493" y="790"/>
                    <a:pt x="1511" y="808"/>
                  </a:cubicBezTo>
                  <a:cubicBezTo>
                    <a:pt x="1543" y="836"/>
                    <a:pt x="1576" y="865"/>
                    <a:pt x="1609" y="895"/>
                  </a:cubicBezTo>
                  <a:cubicBezTo>
                    <a:pt x="1625" y="909"/>
                    <a:pt x="1640" y="922"/>
                    <a:pt x="1655" y="932"/>
                  </a:cubicBezTo>
                  <a:cubicBezTo>
                    <a:pt x="1669" y="943"/>
                    <a:pt x="1685" y="954"/>
                    <a:pt x="1697" y="962"/>
                  </a:cubicBezTo>
                  <a:cubicBezTo>
                    <a:pt x="1714" y="973"/>
                    <a:pt x="1732" y="985"/>
                    <a:pt x="1748" y="996"/>
                  </a:cubicBezTo>
                  <a:cubicBezTo>
                    <a:pt x="1779" y="1016"/>
                    <a:pt x="1817" y="1040"/>
                    <a:pt x="1857" y="1063"/>
                  </a:cubicBezTo>
                  <a:cubicBezTo>
                    <a:pt x="1900" y="1088"/>
                    <a:pt x="1947" y="1114"/>
                    <a:pt x="1995" y="1137"/>
                  </a:cubicBezTo>
                  <a:cubicBezTo>
                    <a:pt x="2020" y="1149"/>
                    <a:pt x="2045" y="1161"/>
                    <a:pt x="2070" y="1172"/>
                  </a:cubicBezTo>
                  <a:cubicBezTo>
                    <a:pt x="2154" y="1208"/>
                    <a:pt x="2235" y="1237"/>
                    <a:pt x="2293" y="1256"/>
                  </a:cubicBezTo>
                  <a:cubicBezTo>
                    <a:pt x="2313" y="1263"/>
                    <a:pt x="2329" y="1269"/>
                    <a:pt x="2351" y="1275"/>
                  </a:cubicBezTo>
                  <a:cubicBezTo>
                    <a:pt x="2423" y="1297"/>
                    <a:pt x="2534" y="1315"/>
                    <a:pt x="2639" y="1318"/>
                  </a:cubicBezTo>
                  <a:cubicBezTo>
                    <a:pt x="2645" y="1318"/>
                    <a:pt x="2645" y="1318"/>
                    <a:pt x="2645" y="1318"/>
                  </a:cubicBezTo>
                  <a:cubicBezTo>
                    <a:pt x="2649" y="1318"/>
                    <a:pt x="2652" y="1318"/>
                    <a:pt x="2656" y="1318"/>
                  </a:cubicBezTo>
                  <a:cubicBezTo>
                    <a:pt x="2683" y="1319"/>
                    <a:pt x="2711" y="1319"/>
                    <a:pt x="2737" y="1318"/>
                  </a:cubicBezTo>
                  <a:cubicBezTo>
                    <a:pt x="2785" y="1316"/>
                    <a:pt x="2832" y="1311"/>
                    <a:pt x="2874" y="1305"/>
                  </a:cubicBezTo>
                  <a:cubicBezTo>
                    <a:pt x="2895" y="1301"/>
                    <a:pt x="2914" y="1298"/>
                    <a:pt x="2931" y="1294"/>
                  </a:cubicBezTo>
                  <a:cubicBezTo>
                    <a:pt x="2949" y="1291"/>
                    <a:pt x="2968" y="1286"/>
                    <a:pt x="2981" y="1282"/>
                  </a:cubicBezTo>
                  <a:cubicBezTo>
                    <a:pt x="3001" y="1276"/>
                    <a:pt x="3021" y="1271"/>
                    <a:pt x="3040" y="1265"/>
                  </a:cubicBezTo>
                  <a:cubicBezTo>
                    <a:pt x="3075" y="1255"/>
                    <a:pt x="3118" y="1243"/>
                    <a:pt x="3162" y="1228"/>
                  </a:cubicBezTo>
                  <a:cubicBezTo>
                    <a:pt x="3209" y="1213"/>
                    <a:pt x="3259" y="1194"/>
                    <a:pt x="3309" y="1174"/>
                  </a:cubicBezTo>
                  <a:cubicBezTo>
                    <a:pt x="3309" y="1174"/>
                    <a:pt x="3309" y="1174"/>
                    <a:pt x="3309" y="1174"/>
                  </a:cubicBezTo>
                  <a:cubicBezTo>
                    <a:pt x="3334" y="1163"/>
                    <a:pt x="3360" y="1152"/>
                    <a:pt x="3384" y="1140"/>
                  </a:cubicBezTo>
                  <a:cubicBezTo>
                    <a:pt x="3468" y="1102"/>
                    <a:pt x="3542" y="1060"/>
                    <a:pt x="3595" y="1029"/>
                  </a:cubicBezTo>
                  <a:cubicBezTo>
                    <a:pt x="3614" y="1018"/>
                    <a:pt x="3629" y="1010"/>
                    <a:pt x="3648" y="998"/>
                  </a:cubicBezTo>
                  <a:cubicBezTo>
                    <a:pt x="3680" y="977"/>
                    <a:pt x="3718" y="949"/>
                    <a:pt x="3756" y="916"/>
                  </a:cubicBezTo>
                  <a:cubicBezTo>
                    <a:pt x="3794" y="883"/>
                    <a:pt x="3831" y="849"/>
                    <a:pt x="3867" y="815"/>
                  </a:cubicBezTo>
                  <a:cubicBezTo>
                    <a:pt x="3869" y="814"/>
                    <a:pt x="3870" y="812"/>
                    <a:pt x="3871" y="811"/>
                  </a:cubicBezTo>
                  <a:cubicBezTo>
                    <a:pt x="3879" y="804"/>
                    <a:pt x="3879" y="804"/>
                    <a:pt x="3879" y="804"/>
                  </a:cubicBezTo>
                  <a:cubicBezTo>
                    <a:pt x="3897" y="786"/>
                    <a:pt x="3916" y="768"/>
                    <a:pt x="3935" y="751"/>
                  </a:cubicBezTo>
                  <a:cubicBezTo>
                    <a:pt x="3968" y="719"/>
                    <a:pt x="3999" y="687"/>
                    <a:pt x="4027" y="658"/>
                  </a:cubicBezTo>
                  <a:cubicBezTo>
                    <a:pt x="4041" y="644"/>
                    <a:pt x="4054" y="631"/>
                    <a:pt x="4065" y="619"/>
                  </a:cubicBezTo>
                  <a:cubicBezTo>
                    <a:pt x="4077" y="606"/>
                    <a:pt x="4089" y="592"/>
                    <a:pt x="4098" y="582"/>
                  </a:cubicBezTo>
                  <a:cubicBezTo>
                    <a:pt x="4108" y="570"/>
                    <a:pt x="4122" y="554"/>
                    <a:pt x="4137" y="538"/>
                  </a:cubicBezTo>
                  <a:cubicBezTo>
                    <a:pt x="4160" y="512"/>
                    <a:pt x="4190" y="482"/>
                    <a:pt x="4222" y="451"/>
                  </a:cubicBezTo>
                  <a:cubicBezTo>
                    <a:pt x="4255" y="417"/>
                    <a:pt x="4292" y="382"/>
                    <a:pt x="4329" y="346"/>
                  </a:cubicBezTo>
                  <a:cubicBezTo>
                    <a:pt x="4348" y="329"/>
                    <a:pt x="4368" y="310"/>
                    <a:pt x="4388" y="292"/>
                  </a:cubicBezTo>
                  <a:cubicBezTo>
                    <a:pt x="4415" y="267"/>
                    <a:pt x="4443" y="243"/>
                    <a:pt x="4468" y="220"/>
                  </a:cubicBezTo>
                  <a:cubicBezTo>
                    <a:pt x="4481" y="210"/>
                    <a:pt x="4514" y="180"/>
                    <a:pt x="4523" y="174"/>
                  </a:cubicBezTo>
                  <a:cubicBezTo>
                    <a:pt x="4532" y="168"/>
                    <a:pt x="4539" y="165"/>
                    <a:pt x="4548" y="166"/>
                  </a:cubicBezTo>
                  <a:cubicBezTo>
                    <a:pt x="4557" y="167"/>
                    <a:pt x="4564" y="167"/>
                    <a:pt x="4571" y="168"/>
                  </a:cubicBezTo>
                  <a:cubicBezTo>
                    <a:pt x="4642" y="174"/>
                    <a:pt x="4748" y="177"/>
                    <a:pt x="4848" y="177"/>
                  </a:cubicBezTo>
                  <a:cubicBezTo>
                    <a:pt x="4853" y="177"/>
                    <a:pt x="4853" y="177"/>
                    <a:pt x="4853" y="177"/>
                  </a:cubicBezTo>
                  <a:cubicBezTo>
                    <a:pt x="4864" y="177"/>
                    <a:pt x="4864" y="177"/>
                    <a:pt x="4864" y="177"/>
                  </a:cubicBezTo>
                  <a:cubicBezTo>
                    <a:pt x="4888" y="176"/>
                    <a:pt x="4913" y="176"/>
                    <a:pt x="4938" y="176"/>
                  </a:cubicBezTo>
                  <a:cubicBezTo>
                    <a:pt x="4973" y="177"/>
                    <a:pt x="5007" y="183"/>
                    <a:pt x="5036" y="193"/>
                  </a:cubicBezTo>
                  <a:cubicBezTo>
                    <a:pt x="5050" y="198"/>
                    <a:pt x="5064" y="204"/>
                    <a:pt x="5075" y="209"/>
                  </a:cubicBezTo>
                  <a:cubicBezTo>
                    <a:pt x="5088" y="215"/>
                    <a:pt x="5100" y="222"/>
                    <a:pt x="5109" y="228"/>
                  </a:cubicBezTo>
                  <a:cubicBezTo>
                    <a:pt x="5120" y="234"/>
                    <a:pt x="5134" y="244"/>
                    <a:pt x="5147" y="256"/>
                  </a:cubicBezTo>
                  <a:cubicBezTo>
                    <a:pt x="5168" y="274"/>
                    <a:pt x="5190" y="303"/>
                    <a:pt x="5205" y="335"/>
                  </a:cubicBezTo>
                  <a:cubicBezTo>
                    <a:pt x="5222" y="371"/>
                    <a:pt x="5232" y="412"/>
                    <a:pt x="5232" y="455"/>
                  </a:cubicBezTo>
                  <a:cubicBezTo>
                    <a:pt x="5232" y="481"/>
                    <a:pt x="5232" y="508"/>
                    <a:pt x="5232" y="534"/>
                  </a:cubicBezTo>
                  <a:cubicBezTo>
                    <a:pt x="5230" y="622"/>
                    <a:pt x="5227" y="704"/>
                    <a:pt x="5221" y="762"/>
                  </a:cubicBezTo>
                  <a:cubicBezTo>
                    <a:pt x="5220" y="781"/>
                    <a:pt x="5218" y="801"/>
                    <a:pt x="5216" y="820"/>
                  </a:cubicBezTo>
                  <a:cubicBezTo>
                    <a:pt x="5210" y="891"/>
                    <a:pt x="5207" y="997"/>
                    <a:pt x="5207" y="1097"/>
                  </a:cubicBezTo>
                  <a:cubicBezTo>
                    <a:pt x="5207" y="1099"/>
                    <a:pt x="5207" y="1100"/>
                    <a:pt x="5207" y="1102"/>
                  </a:cubicBezTo>
                  <a:cubicBezTo>
                    <a:pt x="5207" y="1106"/>
                    <a:pt x="5207" y="1109"/>
                    <a:pt x="5207" y="111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6803CD67-F2CE-48C0-B256-1D30D3720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4738" y="2455863"/>
              <a:ext cx="2447925" cy="1181100"/>
            </a:xfrm>
            <a:custGeom>
              <a:avLst/>
              <a:gdLst>
                <a:gd name="T0" fmla="*/ 5208 w 5260"/>
                <a:gd name="T1" fmla="*/ 1128 h 2536"/>
                <a:gd name="T2" fmla="*/ 5232 w 5260"/>
                <a:gd name="T3" fmla="*/ 1692 h 2536"/>
                <a:gd name="T4" fmla="*/ 5208 w 5260"/>
                <a:gd name="T5" fmla="*/ 2424 h 2536"/>
                <a:gd name="T6" fmla="*/ 5004 w 5260"/>
                <a:gd name="T7" fmla="*/ 2510 h 2536"/>
                <a:gd name="T8" fmla="*/ 4573 w 5260"/>
                <a:gd name="T9" fmla="*/ 2151 h 2536"/>
                <a:gd name="T10" fmla="*/ 4552 w 5260"/>
                <a:gd name="T11" fmla="*/ 1591 h 2536"/>
                <a:gd name="T12" fmla="*/ 3951 w 5260"/>
                <a:gd name="T13" fmla="*/ 1410 h 2536"/>
                <a:gd name="T14" fmla="*/ 3456 w 5260"/>
                <a:gd name="T15" fmla="*/ 1775 h 2536"/>
                <a:gd name="T16" fmla="*/ 2943 w 5260"/>
                <a:gd name="T17" fmla="*/ 2225 h 2536"/>
                <a:gd name="T18" fmla="*/ 2432 w 5260"/>
                <a:gd name="T19" fmla="*/ 2279 h 2536"/>
                <a:gd name="T20" fmla="*/ 2016 w 5260"/>
                <a:gd name="T21" fmla="*/ 1990 h 2536"/>
                <a:gd name="T22" fmla="*/ 1430 w 5260"/>
                <a:gd name="T23" fmla="*/ 1462 h 2536"/>
                <a:gd name="T24" fmla="*/ 929 w 5260"/>
                <a:gd name="T25" fmla="*/ 1386 h 2536"/>
                <a:gd name="T26" fmla="*/ 679 w 5260"/>
                <a:gd name="T27" fmla="*/ 1948 h 2536"/>
                <a:gd name="T28" fmla="*/ 701 w 5260"/>
                <a:gd name="T29" fmla="*/ 2473 h 2536"/>
                <a:gd name="T30" fmla="*/ 219 w 5260"/>
                <a:gd name="T31" fmla="*/ 2418 h 2536"/>
                <a:gd name="T32" fmla="*/ 45 w 5260"/>
                <a:gd name="T33" fmla="*/ 2076 h 2536"/>
                <a:gd name="T34" fmla="*/ 38 w 5260"/>
                <a:gd name="T35" fmla="*/ 1390 h 2536"/>
                <a:gd name="T36" fmla="*/ 45 w 5260"/>
                <a:gd name="T37" fmla="*/ 777 h 2536"/>
                <a:gd name="T38" fmla="*/ 32 w 5260"/>
                <a:gd name="T39" fmla="*/ 160 h 2536"/>
                <a:gd name="T40" fmla="*/ 973 w 5260"/>
                <a:gd name="T41" fmla="*/ 181 h 2536"/>
                <a:gd name="T42" fmla="*/ 1492 w 5260"/>
                <a:gd name="T43" fmla="*/ 701 h 2536"/>
                <a:gd name="T44" fmla="*/ 1960 w 5260"/>
                <a:gd name="T45" fmla="*/ 1019 h 2536"/>
                <a:gd name="T46" fmla="*/ 2673 w 5260"/>
                <a:gd name="T47" fmla="*/ 1193 h 2536"/>
                <a:gd name="T48" fmla="*/ 3222 w 5260"/>
                <a:gd name="T49" fmla="*/ 1054 h 2536"/>
                <a:gd name="T50" fmla="*/ 3774 w 5260"/>
                <a:gd name="T51" fmla="*/ 697 h 2536"/>
                <a:gd name="T52" fmla="*/ 4224 w 5260"/>
                <a:gd name="T53" fmla="*/ 239 h 2536"/>
                <a:gd name="T54" fmla="*/ 4509 w 5260"/>
                <a:gd name="T55" fmla="*/ 44 h 2536"/>
                <a:gd name="T56" fmla="*/ 5086 w 5260"/>
                <a:gd name="T57" fmla="*/ 117 h 2536"/>
                <a:gd name="T58" fmla="*/ 5076 w 5260"/>
                <a:gd name="T59" fmla="*/ 70 h 2536"/>
                <a:gd name="T60" fmla="*/ 4577 w 5260"/>
                <a:gd name="T61" fmla="*/ 4 h 2536"/>
                <a:gd name="T62" fmla="*/ 3991 w 5260"/>
                <a:gd name="T63" fmla="*/ 439 h 2536"/>
                <a:gd name="T64" fmla="*/ 3537 w 5260"/>
                <a:gd name="T65" fmla="*/ 849 h 2536"/>
                <a:gd name="T66" fmla="*/ 2926 w 5260"/>
                <a:gd name="T67" fmla="*/ 1128 h 2536"/>
                <a:gd name="T68" fmla="*/ 2322 w 5260"/>
                <a:gd name="T69" fmla="*/ 1119 h 2536"/>
                <a:gd name="T70" fmla="*/ 1708 w 5260"/>
                <a:gd name="T71" fmla="*/ 845 h 2536"/>
                <a:gd name="T72" fmla="*/ 1306 w 5260"/>
                <a:gd name="T73" fmla="*/ 460 h 2536"/>
                <a:gd name="T74" fmla="*/ 911 w 5260"/>
                <a:gd name="T75" fmla="*/ 131 h 2536"/>
                <a:gd name="T76" fmla="*/ 23 w 5260"/>
                <a:gd name="T77" fmla="*/ 209 h 2536"/>
                <a:gd name="T78" fmla="*/ 0 w 5260"/>
                <a:gd name="T79" fmla="*/ 1050 h 2536"/>
                <a:gd name="T80" fmla="*/ 23 w 5260"/>
                <a:gd name="T81" fmla="*/ 1548 h 2536"/>
                <a:gd name="T82" fmla="*/ 3 w 5260"/>
                <a:gd name="T83" fmla="*/ 2155 h 2536"/>
                <a:gd name="T84" fmla="*/ 300 w 5260"/>
                <a:gd name="T85" fmla="*/ 2507 h 2536"/>
                <a:gd name="T86" fmla="*/ 704 w 5260"/>
                <a:gd name="T87" fmla="*/ 2473 h 2536"/>
                <a:gd name="T88" fmla="*/ 731 w 5260"/>
                <a:gd name="T89" fmla="*/ 1778 h 2536"/>
                <a:gd name="T90" fmla="*/ 1007 w 5260"/>
                <a:gd name="T91" fmla="*/ 1371 h 2536"/>
                <a:gd name="T92" fmla="*/ 1581 w 5260"/>
                <a:gd name="T93" fmla="*/ 1634 h 2536"/>
                <a:gd name="T94" fmla="*/ 2072 w 5260"/>
                <a:gd name="T95" fmla="*/ 2046 h 2536"/>
                <a:gd name="T96" fmla="*/ 2634 w 5260"/>
                <a:gd name="T97" fmla="*/ 2374 h 2536"/>
                <a:gd name="T98" fmla="*/ 3078 w 5260"/>
                <a:gd name="T99" fmla="*/ 2144 h 2536"/>
                <a:gd name="T100" fmla="*/ 3688 w 5260"/>
                <a:gd name="T101" fmla="*/ 1625 h 2536"/>
                <a:gd name="T102" fmla="*/ 4107 w 5260"/>
                <a:gd name="T103" fmla="*/ 1379 h 2536"/>
                <a:gd name="T104" fmla="*/ 4531 w 5260"/>
                <a:gd name="T105" fmla="*/ 1710 h 2536"/>
                <a:gd name="T106" fmla="*/ 4543 w 5260"/>
                <a:gd name="T107" fmla="*/ 2188 h 2536"/>
                <a:gd name="T108" fmla="*/ 5039 w 5260"/>
                <a:gd name="T109" fmla="*/ 2531 h 2536"/>
                <a:gd name="T110" fmla="*/ 5259 w 5260"/>
                <a:gd name="T111" fmla="*/ 2426 h 2536"/>
                <a:gd name="T112" fmla="*/ 5248 w 5260"/>
                <a:gd name="T113" fmla="*/ 2022 h 2536"/>
                <a:gd name="T114" fmla="*/ 5251 w 5260"/>
                <a:gd name="T115" fmla="*/ 1327 h 2536"/>
                <a:gd name="T116" fmla="*/ 5248 w 5260"/>
                <a:gd name="T117" fmla="*/ 723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0" h="2536">
                  <a:moveTo>
                    <a:pt x="5231" y="472"/>
                  </a:moveTo>
                  <a:cubicBezTo>
                    <a:pt x="5230" y="560"/>
                    <a:pt x="5226" y="642"/>
                    <a:pt x="5221" y="700"/>
                  </a:cubicBezTo>
                  <a:cubicBezTo>
                    <a:pt x="5219" y="719"/>
                    <a:pt x="5217" y="739"/>
                    <a:pt x="5216" y="758"/>
                  </a:cubicBezTo>
                  <a:cubicBezTo>
                    <a:pt x="5210" y="829"/>
                    <a:pt x="5207" y="935"/>
                    <a:pt x="5207" y="1035"/>
                  </a:cubicBezTo>
                  <a:cubicBezTo>
                    <a:pt x="5207" y="1036"/>
                    <a:pt x="5207" y="1038"/>
                    <a:pt x="5207" y="1040"/>
                  </a:cubicBezTo>
                  <a:cubicBezTo>
                    <a:pt x="5207" y="1043"/>
                    <a:pt x="5207" y="1047"/>
                    <a:pt x="5207" y="1050"/>
                  </a:cubicBezTo>
                  <a:cubicBezTo>
                    <a:pt x="5207" y="1076"/>
                    <a:pt x="5207" y="1102"/>
                    <a:pt x="5208" y="1128"/>
                  </a:cubicBezTo>
                  <a:cubicBezTo>
                    <a:pt x="5208" y="1173"/>
                    <a:pt x="5210" y="1218"/>
                    <a:pt x="5211" y="1258"/>
                  </a:cubicBezTo>
                  <a:cubicBezTo>
                    <a:pt x="5212" y="1278"/>
                    <a:pt x="5213" y="1296"/>
                    <a:pt x="5215" y="1313"/>
                  </a:cubicBezTo>
                  <a:cubicBezTo>
                    <a:pt x="5216" y="1330"/>
                    <a:pt x="5217" y="1349"/>
                    <a:pt x="5219" y="1362"/>
                  </a:cubicBezTo>
                  <a:cubicBezTo>
                    <a:pt x="5221" y="1378"/>
                    <a:pt x="5223" y="1399"/>
                    <a:pt x="5224" y="1420"/>
                  </a:cubicBezTo>
                  <a:cubicBezTo>
                    <a:pt x="5227" y="1455"/>
                    <a:pt x="5228" y="1498"/>
                    <a:pt x="5230" y="1542"/>
                  </a:cubicBezTo>
                  <a:cubicBezTo>
                    <a:pt x="5231" y="1590"/>
                    <a:pt x="5232" y="1641"/>
                    <a:pt x="5232" y="1692"/>
                  </a:cubicBezTo>
                  <a:cubicBezTo>
                    <a:pt x="5232" y="1692"/>
                    <a:pt x="5232" y="1692"/>
                    <a:pt x="5232" y="1692"/>
                  </a:cubicBezTo>
                  <a:cubicBezTo>
                    <a:pt x="5232" y="1718"/>
                    <a:pt x="5231" y="1745"/>
                    <a:pt x="5231" y="1771"/>
                  </a:cubicBezTo>
                  <a:cubicBezTo>
                    <a:pt x="5230" y="1859"/>
                    <a:pt x="5226" y="1941"/>
                    <a:pt x="5221" y="1999"/>
                  </a:cubicBezTo>
                  <a:cubicBezTo>
                    <a:pt x="5219" y="2018"/>
                    <a:pt x="5217" y="2038"/>
                    <a:pt x="5216" y="2057"/>
                  </a:cubicBezTo>
                  <a:cubicBezTo>
                    <a:pt x="5210" y="2128"/>
                    <a:pt x="5207" y="2234"/>
                    <a:pt x="5207" y="2334"/>
                  </a:cubicBezTo>
                  <a:cubicBezTo>
                    <a:pt x="5207" y="2336"/>
                    <a:pt x="5207" y="2338"/>
                    <a:pt x="5207" y="2339"/>
                  </a:cubicBezTo>
                  <a:cubicBezTo>
                    <a:pt x="5207" y="2343"/>
                    <a:pt x="5207" y="2346"/>
                    <a:pt x="5207" y="2350"/>
                  </a:cubicBezTo>
                  <a:cubicBezTo>
                    <a:pt x="5207" y="2374"/>
                    <a:pt x="5207" y="2399"/>
                    <a:pt x="5208" y="2424"/>
                  </a:cubicBezTo>
                  <a:cubicBezTo>
                    <a:pt x="5207" y="2441"/>
                    <a:pt x="5211" y="2459"/>
                    <a:pt x="5202" y="2474"/>
                  </a:cubicBezTo>
                  <a:cubicBezTo>
                    <a:pt x="5197" y="2481"/>
                    <a:pt x="5189" y="2485"/>
                    <a:pt x="5182" y="2487"/>
                  </a:cubicBezTo>
                  <a:cubicBezTo>
                    <a:pt x="5174" y="2489"/>
                    <a:pt x="5166" y="2490"/>
                    <a:pt x="5159" y="2492"/>
                  </a:cubicBezTo>
                  <a:cubicBezTo>
                    <a:pt x="5151" y="2493"/>
                    <a:pt x="5145" y="2494"/>
                    <a:pt x="5136" y="2495"/>
                  </a:cubicBezTo>
                  <a:cubicBezTo>
                    <a:pt x="5127" y="2496"/>
                    <a:pt x="5119" y="2497"/>
                    <a:pt x="5110" y="2498"/>
                  </a:cubicBezTo>
                  <a:cubicBezTo>
                    <a:pt x="5095" y="2500"/>
                    <a:pt x="5078" y="2502"/>
                    <a:pt x="5062" y="2504"/>
                  </a:cubicBezTo>
                  <a:cubicBezTo>
                    <a:pt x="5046" y="2506"/>
                    <a:pt x="5025" y="2509"/>
                    <a:pt x="5004" y="2510"/>
                  </a:cubicBezTo>
                  <a:cubicBezTo>
                    <a:pt x="4970" y="2513"/>
                    <a:pt x="4927" y="2510"/>
                    <a:pt x="4884" y="2499"/>
                  </a:cubicBezTo>
                  <a:cubicBezTo>
                    <a:pt x="4838" y="2488"/>
                    <a:pt x="4791" y="2468"/>
                    <a:pt x="4747" y="2441"/>
                  </a:cubicBezTo>
                  <a:cubicBezTo>
                    <a:pt x="4747" y="2441"/>
                    <a:pt x="4747" y="2441"/>
                    <a:pt x="4747" y="2441"/>
                  </a:cubicBezTo>
                  <a:cubicBezTo>
                    <a:pt x="4725" y="2428"/>
                    <a:pt x="4703" y="2412"/>
                    <a:pt x="4684" y="2395"/>
                  </a:cubicBezTo>
                  <a:cubicBezTo>
                    <a:pt x="4651" y="2366"/>
                    <a:pt x="4624" y="2333"/>
                    <a:pt x="4605" y="2299"/>
                  </a:cubicBezTo>
                  <a:cubicBezTo>
                    <a:pt x="4586" y="2266"/>
                    <a:pt x="4576" y="2233"/>
                    <a:pt x="4573" y="2206"/>
                  </a:cubicBezTo>
                  <a:cubicBezTo>
                    <a:pt x="4571" y="2186"/>
                    <a:pt x="4571" y="2171"/>
                    <a:pt x="4573" y="2151"/>
                  </a:cubicBezTo>
                  <a:cubicBezTo>
                    <a:pt x="4578" y="2080"/>
                    <a:pt x="4581" y="1974"/>
                    <a:pt x="4581" y="1874"/>
                  </a:cubicBezTo>
                  <a:cubicBezTo>
                    <a:pt x="4581" y="1872"/>
                    <a:pt x="4581" y="1870"/>
                    <a:pt x="4581" y="1868"/>
                  </a:cubicBezTo>
                  <a:cubicBezTo>
                    <a:pt x="4581" y="1865"/>
                    <a:pt x="4581" y="1861"/>
                    <a:pt x="4581" y="1858"/>
                  </a:cubicBezTo>
                  <a:cubicBezTo>
                    <a:pt x="4581" y="1833"/>
                    <a:pt x="4581" y="1806"/>
                    <a:pt x="4581" y="1781"/>
                  </a:cubicBezTo>
                  <a:cubicBezTo>
                    <a:pt x="4580" y="1759"/>
                    <a:pt x="4580" y="1736"/>
                    <a:pt x="4579" y="1713"/>
                  </a:cubicBezTo>
                  <a:cubicBezTo>
                    <a:pt x="4578" y="1690"/>
                    <a:pt x="4575" y="1668"/>
                    <a:pt x="4570" y="1647"/>
                  </a:cubicBezTo>
                  <a:cubicBezTo>
                    <a:pt x="4566" y="1626"/>
                    <a:pt x="4559" y="1607"/>
                    <a:pt x="4552" y="1591"/>
                  </a:cubicBezTo>
                  <a:cubicBezTo>
                    <a:pt x="4545" y="1575"/>
                    <a:pt x="4536" y="1558"/>
                    <a:pt x="4528" y="1546"/>
                  </a:cubicBezTo>
                  <a:cubicBezTo>
                    <a:pt x="4518" y="1532"/>
                    <a:pt x="4505" y="1514"/>
                    <a:pt x="4491" y="1498"/>
                  </a:cubicBezTo>
                  <a:cubicBezTo>
                    <a:pt x="4467" y="1471"/>
                    <a:pt x="4435" y="1441"/>
                    <a:pt x="4397" y="1418"/>
                  </a:cubicBezTo>
                  <a:cubicBezTo>
                    <a:pt x="4356" y="1393"/>
                    <a:pt x="4307" y="1375"/>
                    <a:pt x="4256" y="1368"/>
                  </a:cubicBezTo>
                  <a:cubicBezTo>
                    <a:pt x="4256" y="1368"/>
                    <a:pt x="4256" y="1368"/>
                    <a:pt x="4256" y="1368"/>
                  </a:cubicBezTo>
                  <a:cubicBezTo>
                    <a:pt x="4229" y="1365"/>
                    <a:pt x="4202" y="1365"/>
                    <a:pt x="4176" y="1366"/>
                  </a:cubicBezTo>
                  <a:cubicBezTo>
                    <a:pt x="4088" y="1369"/>
                    <a:pt x="4007" y="1391"/>
                    <a:pt x="3951" y="1410"/>
                  </a:cubicBezTo>
                  <a:cubicBezTo>
                    <a:pt x="3932" y="1416"/>
                    <a:pt x="3916" y="1421"/>
                    <a:pt x="3895" y="1430"/>
                  </a:cubicBezTo>
                  <a:cubicBezTo>
                    <a:pt x="3828" y="1457"/>
                    <a:pt x="3736" y="1516"/>
                    <a:pt x="3659" y="1581"/>
                  </a:cubicBezTo>
                  <a:cubicBezTo>
                    <a:pt x="3657" y="1582"/>
                    <a:pt x="3656" y="1584"/>
                    <a:pt x="3654" y="1585"/>
                  </a:cubicBezTo>
                  <a:cubicBezTo>
                    <a:pt x="3646" y="1591"/>
                    <a:pt x="3646" y="1591"/>
                    <a:pt x="3646" y="1591"/>
                  </a:cubicBezTo>
                  <a:cubicBezTo>
                    <a:pt x="3626" y="1608"/>
                    <a:pt x="3607" y="1626"/>
                    <a:pt x="3588" y="1643"/>
                  </a:cubicBezTo>
                  <a:cubicBezTo>
                    <a:pt x="3554" y="1674"/>
                    <a:pt x="3522" y="1706"/>
                    <a:pt x="3494" y="1735"/>
                  </a:cubicBezTo>
                  <a:cubicBezTo>
                    <a:pt x="3480" y="1749"/>
                    <a:pt x="3468" y="1763"/>
                    <a:pt x="3456" y="1775"/>
                  </a:cubicBezTo>
                  <a:cubicBezTo>
                    <a:pt x="3445" y="1788"/>
                    <a:pt x="3432" y="1801"/>
                    <a:pt x="3424" y="1811"/>
                  </a:cubicBezTo>
                  <a:cubicBezTo>
                    <a:pt x="3413" y="1823"/>
                    <a:pt x="3399" y="1839"/>
                    <a:pt x="3384" y="1854"/>
                  </a:cubicBezTo>
                  <a:cubicBezTo>
                    <a:pt x="3360" y="1879"/>
                    <a:pt x="3329" y="1909"/>
                    <a:pt x="3297" y="1939"/>
                  </a:cubicBezTo>
                  <a:cubicBezTo>
                    <a:pt x="3263" y="1973"/>
                    <a:pt x="3226" y="2008"/>
                    <a:pt x="3187" y="2042"/>
                  </a:cubicBezTo>
                  <a:cubicBezTo>
                    <a:pt x="3187" y="2042"/>
                    <a:pt x="3187" y="2042"/>
                    <a:pt x="3187" y="2042"/>
                  </a:cubicBezTo>
                  <a:cubicBezTo>
                    <a:pt x="3168" y="2059"/>
                    <a:pt x="3147" y="2077"/>
                    <a:pt x="3128" y="2094"/>
                  </a:cubicBezTo>
                  <a:cubicBezTo>
                    <a:pt x="3061" y="2151"/>
                    <a:pt x="2994" y="2198"/>
                    <a:pt x="2943" y="2225"/>
                  </a:cubicBezTo>
                  <a:cubicBezTo>
                    <a:pt x="2925" y="2235"/>
                    <a:pt x="2911" y="2241"/>
                    <a:pt x="2891" y="2251"/>
                  </a:cubicBezTo>
                  <a:cubicBezTo>
                    <a:pt x="2860" y="2266"/>
                    <a:pt x="2821" y="2284"/>
                    <a:pt x="2777" y="2297"/>
                  </a:cubicBezTo>
                  <a:cubicBezTo>
                    <a:pt x="2734" y="2311"/>
                    <a:pt x="2685" y="2320"/>
                    <a:pt x="2638" y="2321"/>
                  </a:cubicBezTo>
                  <a:cubicBezTo>
                    <a:pt x="2637" y="2321"/>
                    <a:pt x="2635" y="2321"/>
                    <a:pt x="2633" y="2321"/>
                  </a:cubicBezTo>
                  <a:cubicBezTo>
                    <a:pt x="2630" y="2321"/>
                    <a:pt x="2627" y="2321"/>
                    <a:pt x="2624" y="2321"/>
                  </a:cubicBezTo>
                  <a:cubicBezTo>
                    <a:pt x="2599" y="2321"/>
                    <a:pt x="2575" y="2318"/>
                    <a:pt x="2551" y="2314"/>
                  </a:cubicBezTo>
                  <a:cubicBezTo>
                    <a:pt x="2509" y="2307"/>
                    <a:pt x="2468" y="2294"/>
                    <a:pt x="2432" y="2279"/>
                  </a:cubicBezTo>
                  <a:cubicBezTo>
                    <a:pt x="2414" y="2272"/>
                    <a:pt x="2398" y="2265"/>
                    <a:pt x="2383" y="2258"/>
                  </a:cubicBezTo>
                  <a:cubicBezTo>
                    <a:pt x="2369" y="2251"/>
                    <a:pt x="2354" y="2244"/>
                    <a:pt x="2339" y="2237"/>
                  </a:cubicBezTo>
                  <a:cubicBezTo>
                    <a:pt x="2325" y="2230"/>
                    <a:pt x="2306" y="2220"/>
                    <a:pt x="2288" y="2209"/>
                  </a:cubicBezTo>
                  <a:cubicBezTo>
                    <a:pt x="2259" y="2192"/>
                    <a:pt x="2224" y="2167"/>
                    <a:pt x="2189" y="2140"/>
                  </a:cubicBezTo>
                  <a:cubicBezTo>
                    <a:pt x="2151" y="2111"/>
                    <a:pt x="2113" y="2078"/>
                    <a:pt x="2074" y="2044"/>
                  </a:cubicBezTo>
                  <a:cubicBezTo>
                    <a:pt x="2074" y="2044"/>
                    <a:pt x="2074" y="2044"/>
                    <a:pt x="2074" y="2044"/>
                  </a:cubicBezTo>
                  <a:cubicBezTo>
                    <a:pt x="2055" y="2026"/>
                    <a:pt x="2035" y="2008"/>
                    <a:pt x="2016" y="1990"/>
                  </a:cubicBezTo>
                  <a:cubicBezTo>
                    <a:pt x="1952" y="1930"/>
                    <a:pt x="1893" y="1873"/>
                    <a:pt x="1854" y="1830"/>
                  </a:cubicBezTo>
                  <a:cubicBezTo>
                    <a:pt x="1841" y="1816"/>
                    <a:pt x="1828" y="1801"/>
                    <a:pt x="1815" y="1787"/>
                  </a:cubicBezTo>
                  <a:cubicBezTo>
                    <a:pt x="1767" y="1735"/>
                    <a:pt x="1693" y="1659"/>
                    <a:pt x="1615" y="1593"/>
                  </a:cubicBezTo>
                  <a:cubicBezTo>
                    <a:pt x="1611" y="1590"/>
                    <a:pt x="1611" y="1590"/>
                    <a:pt x="1611" y="1590"/>
                  </a:cubicBezTo>
                  <a:cubicBezTo>
                    <a:pt x="1603" y="1583"/>
                    <a:pt x="1603" y="1583"/>
                    <a:pt x="1603" y="1583"/>
                  </a:cubicBezTo>
                  <a:cubicBezTo>
                    <a:pt x="1583" y="1566"/>
                    <a:pt x="1562" y="1550"/>
                    <a:pt x="1542" y="1534"/>
                  </a:cubicBezTo>
                  <a:cubicBezTo>
                    <a:pt x="1504" y="1507"/>
                    <a:pt x="1466" y="1482"/>
                    <a:pt x="1430" y="1462"/>
                  </a:cubicBezTo>
                  <a:cubicBezTo>
                    <a:pt x="1412" y="1452"/>
                    <a:pt x="1395" y="1444"/>
                    <a:pt x="1380" y="1437"/>
                  </a:cubicBezTo>
                  <a:cubicBezTo>
                    <a:pt x="1364" y="1430"/>
                    <a:pt x="1346" y="1423"/>
                    <a:pt x="1333" y="1418"/>
                  </a:cubicBezTo>
                  <a:cubicBezTo>
                    <a:pt x="1318" y="1413"/>
                    <a:pt x="1297" y="1406"/>
                    <a:pt x="1277" y="1400"/>
                  </a:cubicBezTo>
                  <a:cubicBezTo>
                    <a:pt x="1243" y="1390"/>
                    <a:pt x="1201" y="1379"/>
                    <a:pt x="1157" y="1373"/>
                  </a:cubicBezTo>
                  <a:cubicBezTo>
                    <a:pt x="1110" y="1366"/>
                    <a:pt x="1058" y="1362"/>
                    <a:pt x="1007" y="1368"/>
                  </a:cubicBezTo>
                  <a:cubicBezTo>
                    <a:pt x="1007" y="1368"/>
                    <a:pt x="1007" y="1368"/>
                    <a:pt x="1007" y="1368"/>
                  </a:cubicBezTo>
                  <a:cubicBezTo>
                    <a:pt x="981" y="1371"/>
                    <a:pt x="954" y="1377"/>
                    <a:pt x="929" y="1386"/>
                  </a:cubicBezTo>
                  <a:cubicBezTo>
                    <a:pt x="846" y="1416"/>
                    <a:pt x="783" y="1476"/>
                    <a:pt x="747" y="1524"/>
                  </a:cubicBezTo>
                  <a:cubicBezTo>
                    <a:pt x="735" y="1541"/>
                    <a:pt x="725" y="1554"/>
                    <a:pt x="715" y="1575"/>
                  </a:cubicBezTo>
                  <a:cubicBezTo>
                    <a:pt x="698" y="1609"/>
                    <a:pt x="683" y="1654"/>
                    <a:pt x="681" y="1705"/>
                  </a:cubicBezTo>
                  <a:cubicBezTo>
                    <a:pt x="679" y="1755"/>
                    <a:pt x="678" y="1805"/>
                    <a:pt x="678" y="1855"/>
                  </a:cubicBezTo>
                  <a:cubicBezTo>
                    <a:pt x="678" y="1857"/>
                    <a:pt x="678" y="1859"/>
                    <a:pt x="678" y="1861"/>
                  </a:cubicBezTo>
                  <a:cubicBezTo>
                    <a:pt x="678" y="1864"/>
                    <a:pt x="678" y="1868"/>
                    <a:pt x="678" y="1871"/>
                  </a:cubicBezTo>
                  <a:cubicBezTo>
                    <a:pt x="678" y="1897"/>
                    <a:pt x="679" y="1923"/>
                    <a:pt x="679" y="1948"/>
                  </a:cubicBezTo>
                  <a:cubicBezTo>
                    <a:pt x="680" y="1994"/>
                    <a:pt x="681" y="2039"/>
                    <a:pt x="683" y="2079"/>
                  </a:cubicBezTo>
                  <a:cubicBezTo>
                    <a:pt x="684" y="2099"/>
                    <a:pt x="685" y="2117"/>
                    <a:pt x="686" y="2134"/>
                  </a:cubicBezTo>
                  <a:cubicBezTo>
                    <a:pt x="687" y="2151"/>
                    <a:pt x="689" y="2169"/>
                    <a:pt x="690" y="2183"/>
                  </a:cubicBezTo>
                  <a:cubicBezTo>
                    <a:pt x="692" y="2199"/>
                    <a:pt x="694" y="2220"/>
                    <a:pt x="695" y="2241"/>
                  </a:cubicBezTo>
                  <a:cubicBezTo>
                    <a:pt x="698" y="2276"/>
                    <a:pt x="700" y="2319"/>
                    <a:pt x="701" y="2363"/>
                  </a:cubicBezTo>
                  <a:cubicBezTo>
                    <a:pt x="702" y="2388"/>
                    <a:pt x="702" y="2412"/>
                    <a:pt x="703" y="2436"/>
                  </a:cubicBezTo>
                  <a:cubicBezTo>
                    <a:pt x="703" y="2448"/>
                    <a:pt x="703" y="2461"/>
                    <a:pt x="701" y="2473"/>
                  </a:cubicBezTo>
                  <a:cubicBezTo>
                    <a:pt x="698" y="2486"/>
                    <a:pt x="691" y="2497"/>
                    <a:pt x="679" y="2503"/>
                  </a:cubicBezTo>
                  <a:cubicBezTo>
                    <a:pt x="679" y="2503"/>
                    <a:pt x="679" y="2503"/>
                    <a:pt x="679" y="2503"/>
                  </a:cubicBezTo>
                  <a:cubicBezTo>
                    <a:pt x="655" y="2512"/>
                    <a:pt x="628" y="2513"/>
                    <a:pt x="602" y="2514"/>
                  </a:cubicBezTo>
                  <a:cubicBezTo>
                    <a:pt x="558" y="2516"/>
                    <a:pt x="516" y="2515"/>
                    <a:pt x="478" y="2514"/>
                  </a:cubicBezTo>
                  <a:cubicBezTo>
                    <a:pt x="439" y="2513"/>
                    <a:pt x="405" y="2506"/>
                    <a:pt x="378" y="2498"/>
                  </a:cubicBezTo>
                  <a:cubicBezTo>
                    <a:pt x="359" y="2492"/>
                    <a:pt x="345" y="2486"/>
                    <a:pt x="325" y="2477"/>
                  </a:cubicBezTo>
                  <a:cubicBezTo>
                    <a:pt x="294" y="2463"/>
                    <a:pt x="256" y="2444"/>
                    <a:pt x="219" y="2418"/>
                  </a:cubicBezTo>
                  <a:cubicBezTo>
                    <a:pt x="181" y="2392"/>
                    <a:pt x="145" y="2359"/>
                    <a:pt x="116" y="2322"/>
                  </a:cubicBezTo>
                  <a:cubicBezTo>
                    <a:pt x="113" y="2318"/>
                    <a:pt x="113" y="2318"/>
                    <a:pt x="113" y="2318"/>
                  </a:cubicBezTo>
                  <a:cubicBezTo>
                    <a:pt x="107" y="2311"/>
                    <a:pt x="107" y="2311"/>
                    <a:pt x="107" y="2311"/>
                  </a:cubicBezTo>
                  <a:cubicBezTo>
                    <a:pt x="93" y="2291"/>
                    <a:pt x="81" y="2270"/>
                    <a:pt x="72" y="2249"/>
                  </a:cubicBezTo>
                  <a:cubicBezTo>
                    <a:pt x="63" y="2230"/>
                    <a:pt x="57" y="2210"/>
                    <a:pt x="54" y="2190"/>
                  </a:cubicBezTo>
                  <a:cubicBezTo>
                    <a:pt x="50" y="2171"/>
                    <a:pt x="49" y="2152"/>
                    <a:pt x="48" y="2131"/>
                  </a:cubicBezTo>
                  <a:cubicBezTo>
                    <a:pt x="47" y="2111"/>
                    <a:pt x="46" y="2093"/>
                    <a:pt x="45" y="2076"/>
                  </a:cubicBezTo>
                  <a:cubicBezTo>
                    <a:pt x="44" y="2059"/>
                    <a:pt x="42" y="2040"/>
                    <a:pt x="41" y="2027"/>
                  </a:cubicBezTo>
                  <a:cubicBezTo>
                    <a:pt x="39" y="2011"/>
                    <a:pt x="37" y="1990"/>
                    <a:pt x="36" y="1969"/>
                  </a:cubicBezTo>
                  <a:cubicBezTo>
                    <a:pt x="33" y="1934"/>
                    <a:pt x="31" y="1891"/>
                    <a:pt x="30" y="1847"/>
                  </a:cubicBezTo>
                  <a:cubicBezTo>
                    <a:pt x="28" y="1799"/>
                    <a:pt x="28" y="1749"/>
                    <a:pt x="28" y="1697"/>
                  </a:cubicBezTo>
                  <a:cubicBezTo>
                    <a:pt x="28" y="1697"/>
                    <a:pt x="28" y="1697"/>
                    <a:pt x="28" y="1697"/>
                  </a:cubicBezTo>
                  <a:cubicBezTo>
                    <a:pt x="28" y="1671"/>
                    <a:pt x="28" y="1644"/>
                    <a:pt x="28" y="1618"/>
                  </a:cubicBezTo>
                  <a:cubicBezTo>
                    <a:pt x="30" y="1530"/>
                    <a:pt x="33" y="1448"/>
                    <a:pt x="38" y="1390"/>
                  </a:cubicBezTo>
                  <a:cubicBezTo>
                    <a:pt x="40" y="1371"/>
                    <a:pt x="42" y="1351"/>
                    <a:pt x="44" y="1332"/>
                  </a:cubicBezTo>
                  <a:cubicBezTo>
                    <a:pt x="50" y="1261"/>
                    <a:pt x="53" y="1155"/>
                    <a:pt x="53" y="1055"/>
                  </a:cubicBezTo>
                  <a:cubicBezTo>
                    <a:pt x="53" y="1050"/>
                    <a:pt x="53" y="1050"/>
                    <a:pt x="53" y="1050"/>
                  </a:cubicBezTo>
                  <a:cubicBezTo>
                    <a:pt x="53" y="1047"/>
                    <a:pt x="53" y="1043"/>
                    <a:pt x="53" y="1040"/>
                  </a:cubicBezTo>
                  <a:cubicBezTo>
                    <a:pt x="53" y="1014"/>
                    <a:pt x="52" y="988"/>
                    <a:pt x="52" y="962"/>
                  </a:cubicBezTo>
                  <a:cubicBezTo>
                    <a:pt x="51" y="917"/>
                    <a:pt x="50" y="872"/>
                    <a:pt x="48" y="832"/>
                  </a:cubicBezTo>
                  <a:cubicBezTo>
                    <a:pt x="47" y="812"/>
                    <a:pt x="46" y="794"/>
                    <a:pt x="45" y="777"/>
                  </a:cubicBezTo>
                  <a:cubicBezTo>
                    <a:pt x="44" y="760"/>
                    <a:pt x="42" y="741"/>
                    <a:pt x="41" y="728"/>
                  </a:cubicBezTo>
                  <a:cubicBezTo>
                    <a:pt x="39" y="712"/>
                    <a:pt x="37" y="691"/>
                    <a:pt x="36" y="670"/>
                  </a:cubicBezTo>
                  <a:cubicBezTo>
                    <a:pt x="33" y="635"/>
                    <a:pt x="31" y="592"/>
                    <a:pt x="30" y="548"/>
                  </a:cubicBezTo>
                  <a:cubicBezTo>
                    <a:pt x="28" y="500"/>
                    <a:pt x="28" y="449"/>
                    <a:pt x="28" y="398"/>
                  </a:cubicBezTo>
                  <a:cubicBezTo>
                    <a:pt x="28" y="398"/>
                    <a:pt x="28" y="398"/>
                    <a:pt x="28" y="398"/>
                  </a:cubicBezTo>
                  <a:cubicBezTo>
                    <a:pt x="28" y="372"/>
                    <a:pt x="28" y="305"/>
                    <a:pt x="28" y="279"/>
                  </a:cubicBezTo>
                  <a:cubicBezTo>
                    <a:pt x="29" y="237"/>
                    <a:pt x="30" y="197"/>
                    <a:pt x="32" y="160"/>
                  </a:cubicBezTo>
                  <a:cubicBezTo>
                    <a:pt x="33" y="142"/>
                    <a:pt x="37" y="80"/>
                    <a:pt x="38" y="65"/>
                  </a:cubicBezTo>
                  <a:cubicBezTo>
                    <a:pt x="39" y="50"/>
                    <a:pt x="46" y="39"/>
                    <a:pt x="70" y="39"/>
                  </a:cubicBezTo>
                  <a:cubicBezTo>
                    <a:pt x="94" y="39"/>
                    <a:pt x="557" y="41"/>
                    <a:pt x="605" y="39"/>
                  </a:cubicBezTo>
                  <a:cubicBezTo>
                    <a:pt x="653" y="37"/>
                    <a:pt x="713" y="57"/>
                    <a:pt x="734" y="61"/>
                  </a:cubicBezTo>
                  <a:cubicBezTo>
                    <a:pt x="767" y="69"/>
                    <a:pt x="808" y="82"/>
                    <a:pt x="847" y="101"/>
                  </a:cubicBezTo>
                  <a:cubicBezTo>
                    <a:pt x="890" y="121"/>
                    <a:pt x="934" y="148"/>
                    <a:pt x="973" y="181"/>
                  </a:cubicBezTo>
                  <a:cubicBezTo>
                    <a:pt x="973" y="181"/>
                    <a:pt x="973" y="181"/>
                    <a:pt x="973" y="181"/>
                  </a:cubicBezTo>
                  <a:cubicBezTo>
                    <a:pt x="993" y="198"/>
                    <a:pt x="1012" y="217"/>
                    <a:pt x="1031" y="235"/>
                  </a:cubicBezTo>
                  <a:cubicBezTo>
                    <a:pt x="1094" y="296"/>
                    <a:pt x="1151" y="355"/>
                    <a:pt x="1190" y="398"/>
                  </a:cubicBezTo>
                  <a:cubicBezTo>
                    <a:pt x="1203" y="413"/>
                    <a:pt x="1216" y="428"/>
                    <a:pt x="1228" y="442"/>
                  </a:cubicBezTo>
                  <a:cubicBezTo>
                    <a:pt x="1276" y="495"/>
                    <a:pt x="1351" y="569"/>
                    <a:pt x="1424" y="638"/>
                  </a:cubicBezTo>
                  <a:cubicBezTo>
                    <a:pt x="1428" y="642"/>
                    <a:pt x="1428" y="642"/>
                    <a:pt x="1428" y="642"/>
                  </a:cubicBezTo>
                  <a:cubicBezTo>
                    <a:pt x="1435" y="648"/>
                    <a:pt x="1435" y="648"/>
                    <a:pt x="1435" y="648"/>
                  </a:cubicBezTo>
                  <a:cubicBezTo>
                    <a:pt x="1454" y="666"/>
                    <a:pt x="1473" y="683"/>
                    <a:pt x="1492" y="701"/>
                  </a:cubicBezTo>
                  <a:cubicBezTo>
                    <a:pt x="1523" y="729"/>
                    <a:pt x="1556" y="758"/>
                    <a:pt x="1590" y="788"/>
                  </a:cubicBezTo>
                  <a:cubicBezTo>
                    <a:pt x="1605" y="801"/>
                    <a:pt x="1619" y="813"/>
                    <a:pt x="1633" y="823"/>
                  </a:cubicBezTo>
                  <a:cubicBezTo>
                    <a:pt x="1647" y="834"/>
                    <a:pt x="1662" y="845"/>
                    <a:pt x="1673" y="852"/>
                  </a:cubicBezTo>
                  <a:cubicBezTo>
                    <a:pt x="1690" y="863"/>
                    <a:pt x="1708" y="874"/>
                    <a:pt x="1723" y="884"/>
                  </a:cubicBezTo>
                  <a:cubicBezTo>
                    <a:pt x="1753" y="903"/>
                    <a:pt x="1789" y="926"/>
                    <a:pt x="1827" y="948"/>
                  </a:cubicBezTo>
                  <a:cubicBezTo>
                    <a:pt x="1869" y="972"/>
                    <a:pt x="1913" y="997"/>
                    <a:pt x="1960" y="1019"/>
                  </a:cubicBezTo>
                  <a:cubicBezTo>
                    <a:pt x="1960" y="1019"/>
                    <a:pt x="1960" y="1019"/>
                    <a:pt x="1960" y="1019"/>
                  </a:cubicBezTo>
                  <a:cubicBezTo>
                    <a:pt x="1983" y="1030"/>
                    <a:pt x="2008" y="1042"/>
                    <a:pt x="2032" y="1052"/>
                  </a:cubicBezTo>
                  <a:cubicBezTo>
                    <a:pt x="2112" y="1088"/>
                    <a:pt x="2190" y="1115"/>
                    <a:pt x="2245" y="1134"/>
                  </a:cubicBezTo>
                  <a:cubicBezTo>
                    <a:pt x="2265" y="1140"/>
                    <a:pt x="2280" y="1146"/>
                    <a:pt x="2301" y="1152"/>
                  </a:cubicBezTo>
                  <a:cubicBezTo>
                    <a:pt x="2370" y="1173"/>
                    <a:pt x="2477" y="1191"/>
                    <a:pt x="2579" y="1194"/>
                  </a:cubicBezTo>
                  <a:cubicBezTo>
                    <a:pt x="2584" y="1194"/>
                    <a:pt x="2584" y="1194"/>
                    <a:pt x="2584" y="1194"/>
                  </a:cubicBezTo>
                  <a:cubicBezTo>
                    <a:pt x="2588" y="1194"/>
                    <a:pt x="2591" y="1194"/>
                    <a:pt x="2595" y="1194"/>
                  </a:cubicBezTo>
                  <a:cubicBezTo>
                    <a:pt x="2621" y="1195"/>
                    <a:pt x="2648" y="1194"/>
                    <a:pt x="2673" y="1193"/>
                  </a:cubicBezTo>
                  <a:cubicBezTo>
                    <a:pt x="2720" y="1192"/>
                    <a:pt x="2765" y="1187"/>
                    <a:pt x="2805" y="1181"/>
                  </a:cubicBezTo>
                  <a:cubicBezTo>
                    <a:pt x="2825" y="1178"/>
                    <a:pt x="2843" y="1174"/>
                    <a:pt x="2860" y="1171"/>
                  </a:cubicBezTo>
                  <a:cubicBezTo>
                    <a:pt x="2877" y="1167"/>
                    <a:pt x="2895" y="1163"/>
                    <a:pt x="2908" y="1159"/>
                  </a:cubicBezTo>
                  <a:cubicBezTo>
                    <a:pt x="2927" y="1153"/>
                    <a:pt x="2947" y="1148"/>
                    <a:pt x="2965" y="1142"/>
                  </a:cubicBezTo>
                  <a:cubicBezTo>
                    <a:pt x="2999" y="1133"/>
                    <a:pt x="3040" y="1121"/>
                    <a:pt x="3082" y="1107"/>
                  </a:cubicBezTo>
                  <a:cubicBezTo>
                    <a:pt x="3127" y="1091"/>
                    <a:pt x="3175" y="1074"/>
                    <a:pt x="3222" y="1054"/>
                  </a:cubicBezTo>
                  <a:cubicBezTo>
                    <a:pt x="3222" y="1054"/>
                    <a:pt x="3222" y="1054"/>
                    <a:pt x="3222" y="1054"/>
                  </a:cubicBezTo>
                  <a:cubicBezTo>
                    <a:pt x="3247" y="1044"/>
                    <a:pt x="3272" y="1033"/>
                    <a:pt x="3295" y="1022"/>
                  </a:cubicBezTo>
                  <a:cubicBezTo>
                    <a:pt x="3375" y="986"/>
                    <a:pt x="3447" y="945"/>
                    <a:pt x="3498" y="916"/>
                  </a:cubicBezTo>
                  <a:cubicBezTo>
                    <a:pt x="3515" y="906"/>
                    <a:pt x="3530" y="898"/>
                    <a:pt x="3549" y="886"/>
                  </a:cubicBezTo>
                  <a:cubicBezTo>
                    <a:pt x="3579" y="867"/>
                    <a:pt x="3615" y="840"/>
                    <a:pt x="3652" y="808"/>
                  </a:cubicBezTo>
                  <a:cubicBezTo>
                    <a:pt x="3689" y="776"/>
                    <a:pt x="3726" y="742"/>
                    <a:pt x="3763" y="707"/>
                  </a:cubicBezTo>
                  <a:cubicBezTo>
                    <a:pt x="3764" y="706"/>
                    <a:pt x="3765" y="705"/>
                    <a:pt x="3767" y="704"/>
                  </a:cubicBezTo>
                  <a:cubicBezTo>
                    <a:pt x="3774" y="697"/>
                    <a:pt x="3774" y="697"/>
                    <a:pt x="3774" y="697"/>
                  </a:cubicBezTo>
                  <a:cubicBezTo>
                    <a:pt x="3793" y="679"/>
                    <a:pt x="3811" y="661"/>
                    <a:pt x="3830" y="643"/>
                  </a:cubicBezTo>
                  <a:cubicBezTo>
                    <a:pt x="3863" y="611"/>
                    <a:pt x="3894" y="580"/>
                    <a:pt x="3922" y="551"/>
                  </a:cubicBezTo>
                  <a:cubicBezTo>
                    <a:pt x="3936" y="537"/>
                    <a:pt x="3949" y="523"/>
                    <a:pt x="3960" y="511"/>
                  </a:cubicBezTo>
                  <a:cubicBezTo>
                    <a:pt x="3972" y="498"/>
                    <a:pt x="3984" y="485"/>
                    <a:pt x="3993" y="475"/>
                  </a:cubicBezTo>
                  <a:cubicBezTo>
                    <a:pt x="4003" y="462"/>
                    <a:pt x="4018" y="446"/>
                    <a:pt x="4032" y="431"/>
                  </a:cubicBezTo>
                  <a:cubicBezTo>
                    <a:pt x="4056" y="405"/>
                    <a:pt x="4086" y="374"/>
                    <a:pt x="4117" y="343"/>
                  </a:cubicBezTo>
                  <a:cubicBezTo>
                    <a:pt x="4151" y="309"/>
                    <a:pt x="4187" y="274"/>
                    <a:pt x="4224" y="239"/>
                  </a:cubicBezTo>
                  <a:cubicBezTo>
                    <a:pt x="4224" y="239"/>
                    <a:pt x="4224" y="239"/>
                    <a:pt x="4224" y="239"/>
                  </a:cubicBezTo>
                  <a:cubicBezTo>
                    <a:pt x="4244" y="221"/>
                    <a:pt x="4263" y="203"/>
                    <a:pt x="4283" y="185"/>
                  </a:cubicBezTo>
                  <a:cubicBezTo>
                    <a:pt x="4311" y="160"/>
                    <a:pt x="4338" y="135"/>
                    <a:pt x="4364" y="113"/>
                  </a:cubicBezTo>
                  <a:cubicBezTo>
                    <a:pt x="4376" y="103"/>
                    <a:pt x="4388" y="92"/>
                    <a:pt x="4401" y="81"/>
                  </a:cubicBezTo>
                  <a:cubicBezTo>
                    <a:pt x="4407" y="76"/>
                    <a:pt x="4421" y="64"/>
                    <a:pt x="4433" y="54"/>
                  </a:cubicBezTo>
                  <a:cubicBezTo>
                    <a:pt x="4446" y="44"/>
                    <a:pt x="4469" y="40"/>
                    <a:pt x="4479" y="41"/>
                  </a:cubicBezTo>
                  <a:cubicBezTo>
                    <a:pt x="4489" y="42"/>
                    <a:pt x="4499" y="43"/>
                    <a:pt x="4509" y="44"/>
                  </a:cubicBezTo>
                  <a:cubicBezTo>
                    <a:pt x="4579" y="49"/>
                    <a:pt x="4685" y="52"/>
                    <a:pt x="4785" y="52"/>
                  </a:cubicBezTo>
                  <a:cubicBezTo>
                    <a:pt x="4791" y="52"/>
                    <a:pt x="4791" y="52"/>
                    <a:pt x="4791" y="52"/>
                  </a:cubicBezTo>
                  <a:cubicBezTo>
                    <a:pt x="4801" y="52"/>
                    <a:pt x="4801" y="52"/>
                    <a:pt x="4801" y="52"/>
                  </a:cubicBezTo>
                  <a:cubicBezTo>
                    <a:pt x="4826" y="52"/>
                    <a:pt x="4852" y="52"/>
                    <a:pt x="4878" y="52"/>
                  </a:cubicBezTo>
                  <a:cubicBezTo>
                    <a:pt x="4920" y="53"/>
                    <a:pt x="4961" y="61"/>
                    <a:pt x="4997" y="74"/>
                  </a:cubicBezTo>
                  <a:cubicBezTo>
                    <a:pt x="5015" y="80"/>
                    <a:pt x="5031" y="87"/>
                    <a:pt x="5045" y="94"/>
                  </a:cubicBezTo>
                  <a:cubicBezTo>
                    <a:pt x="5060" y="101"/>
                    <a:pt x="5075" y="110"/>
                    <a:pt x="5086" y="117"/>
                  </a:cubicBezTo>
                  <a:cubicBezTo>
                    <a:pt x="5099" y="125"/>
                    <a:pt x="5116" y="137"/>
                    <a:pt x="5131" y="152"/>
                  </a:cubicBezTo>
                  <a:cubicBezTo>
                    <a:pt x="5155" y="175"/>
                    <a:pt x="5182" y="209"/>
                    <a:pt x="5200" y="248"/>
                  </a:cubicBezTo>
                  <a:cubicBezTo>
                    <a:pt x="5220" y="291"/>
                    <a:pt x="5232" y="342"/>
                    <a:pt x="5232" y="393"/>
                  </a:cubicBezTo>
                  <a:cubicBezTo>
                    <a:pt x="5235" y="393"/>
                    <a:pt x="5235" y="393"/>
                    <a:pt x="5235" y="393"/>
                  </a:cubicBezTo>
                  <a:cubicBezTo>
                    <a:pt x="5235" y="366"/>
                    <a:pt x="5232" y="339"/>
                    <a:pt x="5227" y="313"/>
                  </a:cubicBezTo>
                  <a:cubicBezTo>
                    <a:pt x="5210" y="226"/>
                    <a:pt x="5161" y="154"/>
                    <a:pt x="5120" y="111"/>
                  </a:cubicBezTo>
                  <a:cubicBezTo>
                    <a:pt x="5106" y="96"/>
                    <a:pt x="5094" y="84"/>
                    <a:pt x="5076" y="70"/>
                  </a:cubicBezTo>
                  <a:cubicBezTo>
                    <a:pt x="5046" y="47"/>
                    <a:pt x="5004" y="25"/>
                    <a:pt x="4955" y="12"/>
                  </a:cubicBezTo>
                  <a:cubicBezTo>
                    <a:pt x="4930" y="5"/>
                    <a:pt x="4904" y="1"/>
                    <a:pt x="4877" y="0"/>
                  </a:cubicBezTo>
                  <a:cubicBezTo>
                    <a:pt x="4850" y="0"/>
                    <a:pt x="4826" y="0"/>
                    <a:pt x="4801" y="0"/>
                  </a:cubicBezTo>
                  <a:cubicBezTo>
                    <a:pt x="4791" y="0"/>
                    <a:pt x="4791" y="0"/>
                    <a:pt x="4791" y="0"/>
                  </a:cubicBezTo>
                  <a:cubicBezTo>
                    <a:pt x="4785" y="0"/>
                    <a:pt x="4785" y="0"/>
                    <a:pt x="4785" y="0"/>
                  </a:cubicBezTo>
                  <a:cubicBezTo>
                    <a:pt x="4759" y="0"/>
                    <a:pt x="4733" y="0"/>
                    <a:pt x="4708" y="0"/>
                  </a:cubicBezTo>
                  <a:cubicBezTo>
                    <a:pt x="4662" y="1"/>
                    <a:pt x="4617" y="2"/>
                    <a:pt x="4577" y="4"/>
                  </a:cubicBezTo>
                  <a:cubicBezTo>
                    <a:pt x="4557" y="5"/>
                    <a:pt x="4490" y="8"/>
                    <a:pt x="4474" y="11"/>
                  </a:cubicBezTo>
                  <a:cubicBezTo>
                    <a:pt x="4459" y="15"/>
                    <a:pt x="4436" y="23"/>
                    <a:pt x="4423" y="37"/>
                  </a:cubicBezTo>
                  <a:cubicBezTo>
                    <a:pt x="4409" y="51"/>
                    <a:pt x="4361" y="101"/>
                    <a:pt x="4330" y="133"/>
                  </a:cubicBezTo>
                  <a:cubicBezTo>
                    <a:pt x="4296" y="166"/>
                    <a:pt x="4260" y="202"/>
                    <a:pt x="4222" y="237"/>
                  </a:cubicBezTo>
                  <a:cubicBezTo>
                    <a:pt x="4222" y="237"/>
                    <a:pt x="4222" y="237"/>
                    <a:pt x="4222" y="237"/>
                  </a:cubicBezTo>
                  <a:cubicBezTo>
                    <a:pt x="4203" y="255"/>
                    <a:pt x="4183" y="273"/>
                    <a:pt x="4164" y="291"/>
                  </a:cubicBezTo>
                  <a:cubicBezTo>
                    <a:pt x="4099" y="350"/>
                    <a:pt x="4037" y="404"/>
                    <a:pt x="3991" y="439"/>
                  </a:cubicBezTo>
                  <a:cubicBezTo>
                    <a:pt x="3976" y="451"/>
                    <a:pt x="3960" y="463"/>
                    <a:pt x="3945" y="475"/>
                  </a:cubicBezTo>
                  <a:cubicBezTo>
                    <a:pt x="3890" y="519"/>
                    <a:pt x="3811" y="590"/>
                    <a:pt x="3738" y="658"/>
                  </a:cubicBezTo>
                  <a:cubicBezTo>
                    <a:pt x="3730" y="665"/>
                    <a:pt x="3730" y="665"/>
                    <a:pt x="3730" y="665"/>
                  </a:cubicBezTo>
                  <a:cubicBezTo>
                    <a:pt x="3726" y="669"/>
                    <a:pt x="3726" y="669"/>
                    <a:pt x="3726" y="669"/>
                  </a:cubicBezTo>
                  <a:cubicBezTo>
                    <a:pt x="3708" y="687"/>
                    <a:pt x="3689" y="705"/>
                    <a:pt x="3670" y="723"/>
                  </a:cubicBezTo>
                  <a:cubicBezTo>
                    <a:pt x="3637" y="755"/>
                    <a:pt x="3606" y="786"/>
                    <a:pt x="3577" y="812"/>
                  </a:cubicBezTo>
                  <a:cubicBezTo>
                    <a:pt x="3564" y="824"/>
                    <a:pt x="3551" y="836"/>
                    <a:pt x="3537" y="849"/>
                  </a:cubicBezTo>
                  <a:cubicBezTo>
                    <a:pt x="3526" y="859"/>
                    <a:pt x="3513" y="870"/>
                    <a:pt x="3501" y="881"/>
                  </a:cubicBezTo>
                  <a:cubicBezTo>
                    <a:pt x="3489" y="892"/>
                    <a:pt x="3473" y="905"/>
                    <a:pt x="3456" y="918"/>
                  </a:cubicBezTo>
                  <a:cubicBezTo>
                    <a:pt x="3429" y="939"/>
                    <a:pt x="3393" y="963"/>
                    <a:pt x="3355" y="985"/>
                  </a:cubicBezTo>
                  <a:cubicBezTo>
                    <a:pt x="3314" y="1009"/>
                    <a:pt x="3268" y="1032"/>
                    <a:pt x="3221" y="1052"/>
                  </a:cubicBezTo>
                  <a:cubicBezTo>
                    <a:pt x="3221" y="1052"/>
                    <a:pt x="3221" y="1052"/>
                    <a:pt x="3221" y="1052"/>
                  </a:cubicBezTo>
                  <a:cubicBezTo>
                    <a:pt x="3197" y="1062"/>
                    <a:pt x="3171" y="1071"/>
                    <a:pt x="3147" y="1079"/>
                  </a:cubicBezTo>
                  <a:cubicBezTo>
                    <a:pt x="3064" y="1108"/>
                    <a:pt x="2983" y="1123"/>
                    <a:pt x="2926" y="1128"/>
                  </a:cubicBezTo>
                  <a:cubicBezTo>
                    <a:pt x="2906" y="1130"/>
                    <a:pt x="2890" y="1131"/>
                    <a:pt x="2868" y="1132"/>
                  </a:cubicBezTo>
                  <a:cubicBezTo>
                    <a:pt x="2798" y="1138"/>
                    <a:pt x="2694" y="1144"/>
                    <a:pt x="2596" y="1141"/>
                  </a:cubicBezTo>
                  <a:cubicBezTo>
                    <a:pt x="2586" y="1141"/>
                    <a:pt x="2586" y="1141"/>
                    <a:pt x="2586" y="1141"/>
                  </a:cubicBezTo>
                  <a:cubicBezTo>
                    <a:pt x="2580" y="1141"/>
                    <a:pt x="2580" y="1141"/>
                    <a:pt x="2580" y="1141"/>
                  </a:cubicBezTo>
                  <a:cubicBezTo>
                    <a:pt x="2555" y="1140"/>
                    <a:pt x="2529" y="1139"/>
                    <a:pt x="2504" y="1137"/>
                  </a:cubicBezTo>
                  <a:cubicBezTo>
                    <a:pt x="2459" y="1134"/>
                    <a:pt x="2415" y="1131"/>
                    <a:pt x="2376" y="1126"/>
                  </a:cubicBezTo>
                  <a:cubicBezTo>
                    <a:pt x="2358" y="1124"/>
                    <a:pt x="2341" y="1122"/>
                    <a:pt x="2322" y="1119"/>
                  </a:cubicBezTo>
                  <a:cubicBezTo>
                    <a:pt x="2307" y="1117"/>
                    <a:pt x="2290" y="1115"/>
                    <a:pt x="2274" y="1113"/>
                  </a:cubicBezTo>
                  <a:cubicBezTo>
                    <a:pt x="2258" y="1112"/>
                    <a:pt x="2237" y="1108"/>
                    <a:pt x="2216" y="1104"/>
                  </a:cubicBezTo>
                  <a:cubicBezTo>
                    <a:pt x="2182" y="1098"/>
                    <a:pt x="2141" y="1086"/>
                    <a:pt x="2099" y="1073"/>
                  </a:cubicBezTo>
                  <a:cubicBezTo>
                    <a:pt x="2054" y="1058"/>
                    <a:pt x="2007" y="1039"/>
                    <a:pt x="1961" y="1016"/>
                  </a:cubicBezTo>
                  <a:cubicBezTo>
                    <a:pt x="1961" y="1016"/>
                    <a:pt x="1961" y="1016"/>
                    <a:pt x="1961" y="1016"/>
                  </a:cubicBezTo>
                  <a:cubicBezTo>
                    <a:pt x="1937" y="1005"/>
                    <a:pt x="1913" y="992"/>
                    <a:pt x="1891" y="979"/>
                  </a:cubicBezTo>
                  <a:cubicBezTo>
                    <a:pt x="1815" y="935"/>
                    <a:pt x="1750" y="885"/>
                    <a:pt x="1708" y="845"/>
                  </a:cubicBezTo>
                  <a:cubicBezTo>
                    <a:pt x="1693" y="832"/>
                    <a:pt x="1683" y="820"/>
                    <a:pt x="1667" y="805"/>
                  </a:cubicBezTo>
                  <a:cubicBezTo>
                    <a:pt x="1636" y="773"/>
                    <a:pt x="1607" y="743"/>
                    <a:pt x="1579" y="714"/>
                  </a:cubicBezTo>
                  <a:cubicBezTo>
                    <a:pt x="1545" y="680"/>
                    <a:pt x="1508" y="644"/>
                    <a:pt x="1472" y="610"/>
                  </a:cubicBezTo>
                  <a:cubicBezTo>
                    <a:pt x="1465" y="603"/>
                    <a:pt x="1465" y="603"/>
                    <a:pt x="1465" y="603"/>
                  </a:cubicBezTo>
                  <a:cubicBezTo>
                    <a:pt x="1463" y="602"/>
                    <a:pt x="1462" y="601"/>
                    <a:pt x="1460" y="599"/>
                  </a:cubicBezTo>
                  <a:cubicBezTo>
                    <a:pt x="1441" y="582"/>
                    <a:pt x="1422" y="564"/>
                    <a:pt x="1403" y="547"/>
                  </a:cubicBezTo>
                  <a:cubicBezTo>
                    <a:pt x="1370" y="516"/>
                    <a:pt x="1336" y="486"/>
                    <a:pt x="1306" y="460"/>
                  </a:cubicBezTo>
                  <a:cubicBezTo>
                    <a:pt x="1291" y="447"/>
                    <a:pt x="1276" y="435"/>
                    <a:pt x="1263" y="425"/>
                  </a:cubicBezTo>
                  <a:cubicBezTo>
                    <a:pt x="1250" y="414"/>
                    <a:pt x="1235" y="402"/>
                    <a:pt x="1225" y="395"/>
                  </a:cubicBezTo>
                  <a:cubicBezTo>
                    <a:pt x="1212" y="385"/>
                    <a:pt x="1195" y="372"/>
                    <a:pt x="1178" y="358"/>
                  </a:cubicBezTo>
                  <a:cubicBezTo>
                    <a:pt x="1152" y="336"/>
                    <a:pt x="1119" y="308"/>
                    <a:pt x="1086" y="279"/>
                  </a:cubicBezTo>
                  <a:cubicBezTo>
                    <a:pt x="1050" y="248"/>
                    <a:pt x="1014" y="212"/>
                    <a:pt x="975" y="179"/>
                  </a:cubicBezTo>
                  <a:cubicBezTo>
                    <a:pt x="975" y="179"/>
                    <a:pt x="975" y="179"/>
                    <a:pt x="975" y="179"/>
                  </a:cubicBezTo>
                  <a:cubicBezTo>
                    <a:pt x="954" y="162"/>
                    <a:pt x="933" y="145"/>
                    <a:pt x="911" y="131"/>
                  </a:cubicBezTo>
                  <a:cubicBezTo>
                    <a:pt x="838" y="81"/>
                    <a:pt x="761" y="50"/>
                    <a:pt x="705" y="32"/>
                  </a:cubicBezTo>
                  <a:cubicBezTo>
                    <a:pt x="685" y="25"/>
                    <a:pt x="669" y="20"/>
                    <a:pt x="647" y="15"/>
                  </a:cubicBezTo>
                  <a:cubicBezTo>
                    <a:pt x="629" y="11"/>
                    <a:pt x="609" y="8"/>
                    <a:pt x="587" y="5"/>
                  </a:cubicBezTo>
                  <a:cubicBezTo>
                    <a:pt x="570" y="4"/>
                    <a:pt x="570" y="4"/>
                    <a:pt x="570" y="4"/>
                  </a:cubicBezTo>
                  <a:cubicBezTo>
                    <a:pt x="563" y="3"/>
                    <a:pt x="76" y="5"/>
                    <a:pt x="56" y="7"/>
                  </a:cubicBezTo>
                  <a:cubicBezTo>
                    <a:pt x="35" y="10"/>
                    <a:pt x="13" y="25"/>
                    <a:pt x="15" y="55"/>
                  </a:cubicBezTo>
                  <a:cubicBezTo>
                    <a:pt x="17" y="85"/>
                    <a:pt x="21" y="164"/>
                    <a:pt x="23" y="209"/>
                  </a:cubicBezTo>
                  <a:cubicBezTo>
                    <a:pt x="24" y="257"/>
                    <a:pt x="25" y="347"/>
                    <a:pt x="25" y="398"/>
                  </a:cubicBezTo>
                  <a:cubicBezTo>
                    <a:pt x="25" y="398"/>
                    <a:pt x="25" y="398"/>
                    <a:pt x="25" y="398"/>
                  </a:cubicBezTo>
                  <a:cubicBezTo>
                    <a:pt x="25" y="424"/>
                    <a:pt x="24" y="451"/>
                    <a:pt x="24" y="478"/>
                  </a:cubicBezTo>
                  <a:cubicBezTo>
                    <a:pt x="23" y="565"/>
                    <a:pt x="19" y="647"/>
                    <a:pt x="14" y="705"/>
                  </a:cubicBezTo>
                  <a:cubicBezTo>
                    <a:pt x="12" y="724"/>
                    <a:pt x="10" y="744"/>
                    <a:pt x="8" y="763"/>
                  </a:cubicBezTo>
                  <a:cubicBezTo>
                    <a:pt x="3" y="834"/>
                    <a:pt x="0" y="940"/>
                    <a:pt x="0" y="1040"/>
                  </a:cubicBezTo>
                  <a:cubicBezTo>
                    <a:pt x="0" y="1050"/>
                    <a:pt x="0" y="1050"/>
                    <a:pt x="0" y="1050"/>
                  </a:cubicBezTo>
                  <a:cubicBezTo>
                    <a:pt x="0" y="1052"/>
                    <a:pt x="0" y="1054"/>
                    <a:pt x="0" y="1056"/>
                  </a:cubicBezTo>
                  <a:cubicBezTo>
                    <a:pt x="0" y="1081"/>
                    <a:pt x="0" y="1107"/>
                    <a:pt x="0" y="1133"/>
                  </a:cubicBezTo>
                  <a:cubicBezTo>
                    <a:pt x="1" y="1179"/>
                    <a:pt x="3" y="1223"/>
                    <a:pt x="4" y="1264"/>
                  </a:cubicBezTo>
                  <a:cubicBezTo>
                    <a:pt x="5" y="1283"/>
                    <a:pt x="6" y="1302"/>
                    <a:pt x="7" y="1319"/>
                  </a:cubicBezTo>
                  <a:cubicBezTo>
                    <a:pt x="9" y="1336"/>
                    <a:pt x="10" y="1354"/>
                    <a:pt x="12" y="1367"/>
                  </a:cubicBezTo>
                  <a:cubicBezTo>
                    <a:pt x="14" y="1384"/>
                    <a:pt x="15" y="1405"/>
                    <a:pt x="17" y="1426"/>
                  </a:cubicBezTo>
                  <a:cubicBezTo>
                    <a:pt x="20" y="1461"/>
                    <a:pt x="21" y="1504"/>
                    <a:pt x="23" y="1548"/>
                  </a:cubicBezTo>
                  <a:cubicBezTo>
                    <a:pt x="24" y="1595"/>
                    <a:pt x="25" y="1646"/>
                    <a:pt x="25" y="1697"/>
                  </a:cubicBezTo>
                  <a:cubicBezTo>
                    <a:pt x="25" y="1697"/>
                    <a:pt x="25" y="1697"/>
                    <a:pt x="25" y="1697"/>
                  </a:cubicBezTo>
                  <a:cubicBezTo>
                    <a:pt x="25" y="1724"/>
                    <a:pt x="24" y="1750"/>
                    <a:pt x="24" y="1777"/>
                  </a:cubicBezTo>
                  <a:cubicBezTo>
                    <a:pt x="23" y="1864"/>
                    <a:pt x="19" y="1946"/>
                    <a:pt x="14" y="2004"/>
                  </a:cubicBezTo>
                  <a:cubicBezTo>
                    <a:pt x="12" y="2023"/>
                    <a:pt x="10" y="2043"/>
                    <a:pt x="8" y="2063"/>
                  </a:cubicBezTo>
                  <a:cubicBezTo>
                    <a:pt x="7" y="2080"/>
                    <a:pt x="6" y="2100"/>
                    <a:pt x="5" y="2121"/>
                  </a:cubicBezTo>
                  <a:cubicBezTo>
                    <a:pt x="4" y="2133"/>
                    <a:pt x="4" y="2144"/>
                    <a:pt x="3" y="2155"/>
                  </a:cubicBezTo>
                  <a:cubicBezTo>
                    <a:pt x="3" y="2167"/>
                    <a:pt x="3" y="2180"/>
                    <a:pt x="5" y="2193"/>
                  </a:cubicBezTo>
                  <a:cubicBezTo>
                    <a:pt x="11" y="2245"/>
                    <a:pt x="33" y="2298"/>
                    <a:pt x="65" y="2342"/>
                  </a:cubicBezTo>
                  <a:cubicBezTo>
                    <a:pt x="71" y="2350"/>
                    <a:pt x="71" y="2350"/>
                    <a:pt x="71" y="2350"/>
                  </a:cubicBezTo>
                  <a:cubicBezTo>
                    <a:pt x="72" y="2352"/>
                    <a:pt x="73" y="2353"/>
                    <a:pt x="75" y="2355"/>
                  </a:cubicBezTo>
                  <a:cubicBezTo>
                    <a:pt x="92" y="2377"/>
                    <a:pt x="111" y="2397"/>
                    <a:pt x="132" y="2414"/>
                  </a:cubicBezTo>
                  <a:cubicBezTo>
                    <a:pt x="168" y="2446"/>
                    <a:pt x="208" y="2470"/>
                    <a:pt x="247" y="2487"/>
                  </a:cubicBezTo>
                  <a:cubicBezTo>
                    <a:pt x="266" y="2495"/>
                    <a:pt x="284" y="2502"/>
                    <a:pt x="300" y="2507"/>
                  </a:cubicBezTo>
                  <a:cubicBezTo>
                    <a:pt x="317" y="2512"/>
                    <a:pt x="336" y="2516"/>
                    <a:pt x="350" y="2518"/>
                  </a:cubicBezTo>
                  <a:cubicBezTo>
                    <a:pt x="366" y="2521"/>
                    <a:pt x="388" y="2524"/>
                    <a:pt x="410" y="2525"/>
                  </a:cubicBezTo>
                  <a:cubicBezTo>
                    <a:pt x="445" y="2528"/>
                    <a:pt x="488" y="2524"/>
                    <a:pt x="532" y="2523"/>
                  </a:cubicBezTo>
                  <a:cubicBezTo>
                    <a:pt x="556" y="2521"/>
                    <a:pt x="581" y="2520"/>
                    <a:pt x="606" y="2518"/>
                  </a:cubicBezTo>
                  <a:cubicBezTo>
                    <a:pt x="631" y="2516"/>
                    <a:pt x="657" y="2515"/>
                    <a:pt x="682" y="2505"/>
                  </a:cubicBezTo>
                  <a:cubicBezTo>
                    <a:pt x="682" y="2505"/>
                    <a:pt x="682" y="2505"/>
                    <a:pt x="682" y="2505"/>
                  </a:cubicBezTo>
                  <a:cubicBezTo>
                    <a:pt x="694" y="2499"/>
                    <a:pt x="702" y="2487"/>
                    <a:pt x="704" y="2473"/>
                  </a:cubicBezTo>
                  <a:cubicBezTo>
                    <a:pt x="707" y="2460"/>
                    <a:pt x="706" y="2447"/>
                    <a:pt x="707" y="2433"/>
                  </a:cubicBezTo>
                  <a:cubicBezTo>
                    <a:pt x="708" y="2345"/>
                    <a:pt x="712" y="2264"/>
                    <a:pt x="717" y="2206"/>
                  </a:cubicBezTo>
                  <a:cubicBezTo>
                    <a:pt x="719" y="2186"/>
                    <a:pt x="721" y="2167"/>
                    <a:pt x="723" y="2147"/>
                  </a:cubicBezTo>
                  <a:cubicBezTo>
                    <a:pt x="728" y="2077"/>
                    <a:pt x="731" y="1971"/>
                    <a:pt x="731" y="1871"/>
                  </a:cubicBezTo>
                  <a:cubicBezTo>
                    <a:pt x="731" y="1861"/>
                    <a:pt x="731" y="1861"/>
                    <a:pt x="731" y="1861"/>
                  </a:cubicBezTo>
                  <a:cubicBezTo>
                    <a:pt x="731" y="1859"/>
                    <a:pt x="731" y="1857"/>
                    <a:pt x="731" y="1855"/>
                  </a:cubicBezTo>
                  <a:cubicBezTo>
                    <a:pt x="731" y="1830"/>
                    <a:pt x="731" y="1803"/>
                    <a:pt x="731" y="1778"/>
                  </a:cubicBezTo>
                  <a:cubicBezTo>
                    <a:pt x="730" y="1756"/>
                    <a:pt x="730" y="1734"/>
                    <a:pt x="729" y="1711"/>
                  </a:cubicBezTo>
                  <a:cubicBezTo>
                    <a:pt x="729" y="1690"/>
                    <a:pt x="730" y="1671"/>
                    <a:pt x="733" y="1652"/>
                  </a:cubicBezTo>
                  <a:cubicBezTo>
                    <a:pt x="736" y="1633"/>
                    <a:pt x="739" y="1616"/>
                    <a:pt x="744" y="1601"/>
                  </a:cubicBezTo>
                  <a:cubicBezTo>
                    <a:pt x="748" y="1586"/>
                    <a:pt x="754" y="1569"/>
                    <a:pt x="759" y="1557"/>
                  </a:cubicBezTo>
                  <a:cubicBezTo>
                    <a:pt x="765" y="1543"/>
                    <a:pt x="774" y="1524"/>
                    <a:pt x="785" y="1507"/>
                  </a:cubicBezTo>
                  <a:cubicBezTo>
                    <a:pt x="804" y="1479"/>
                    <a:pt x="833" y="1447"/>
                    <a:pt x="869" y="1423"/>
                  </a:cubicBezTo>
                  <a:cubicBezTo>
                    <a:pt x="908" y="1396"/>
                    <a:pt x="957" y="1377"/>
                    <a:pt x="1007" y="1371"/>
                  </a:cubicBezTo>
                  <a:cubicBezTo>
                    <a:pt x="1007" y="1371"/>
                    <a:pt x="1007" y="1371"/>
                    <a:pt x="1007" y="1371"/>
                  </a:cubicBezTo>
                  <a:cubicBezTo>
                    <a:pt x="1033" y="1367"/>
                    <a:pt x="1061" y="1368"/>
                    <a:pt x="1087" y="1370"/>
                  </a:cubicBezTo>
                  <a:cubicBezTo>
                    <a:pt x="1174" y="1376"/>
                    <a:pt x="1252" y="1406"/>
                    <a:pt x="1301" y="1433"/>
                  </a:cubicBezTo>
                  <a:cubicBezTo>
                    <a:pt x="1319" y="1443"/>
                    <a:pt x="1332" y="1451"/>
                    <a:pt x="1351" y="1463"/>
                  </a:cubicBezTo>
                  <a:cubicBezTo>
                    <a:pt x="1410" y="1499"/>
                    <a:pt x="1494" y="1560"/>
                    <a:pt x="1570" y="1624"/>
                  </a:cubicBezTo>
                  <a:cubicBezTo>
                    <a:pt x="1577" y="1630"/>
                    <a:pt x="1577" y="1630"/>
                    <a:pt x="1577" y="1630"/>
                  </a:cubicBezTo>
                  <a:cubicBezTo>
                    <a:pt x="1581" y="1634"/>
                    <a:pt x="1581" y="1634"/>
                    <a:pt x="1581" y="1634"/>
                  </a:cubicBezTo>
                  <a:cubicBezTo>
                    <a:pt x="1601" y="1650"/>
                    <a:pt x="1620" y="1667"/>
                    <a:pt x="1639" y="1684"/>
                  </a:cubicBezTo>
                  <a:cubicBezTo>
                    <a:pt x="1671" y="1711"/>
                    <a:pt x="1704" y="1740"/>
                    <a:pt x="1738" y="1769"/>
                  </a:cubicBezTo>
                  <a:cubicBezTo>
                    <a:pt x="1753" y="1782"/>
                    <a:pt x="1767" y="1794"/>
                    <a:pt x="1780" y="1804"/>
                  </a:cubicBezTo>
                  <a:cubicBezTo>
                    <a:pt x="1793" y="1815"/>
                    <a:pt x="1808" y="1827"/>
                    <a:pt x="1819" y="1835"/>
                  </a:cubicBezTo>
                  <a:cubicBezTo>
                    <a:pt x="1834" y="1846"/>
                    <a:pt x="1851" y="1859"/>
                    <a:pt x="1866" y="1870"/>
                  </a:cubicBezTo>
                  <a:cubicBezTo>
                    <a:pt x="1893" y="1891"/>
                    <a:pt x="1927" y="1918"/>
                    <a:pt x="1960" y="1947"/>
                  </a:cubicBezTo>
                  <a:cubicBezTo>
                    <a:pt x="1996" y="1978"/>
                    <a:pt x="2034" y="2012"/>
                    <a:pt x="2072" y="2046"/>
                  </a:cubicBezTo>
                  <a:cubicBezTo>
                    <a:pt x="2072" y="2046"/>
                    <a:pt x="2072" y="2046"/>
                    <a:pt x="2072" y="2046"/>
                  </a:cubicBezTo>
                  <a:cubicBezTo>
                    <a:pt x="2092" y="2063"/>
                    <a:pt x="2112" y="2081"/>
                    <a:pt x="2132" y="2099"/>
                  </a:cubicBezTo>
                  <a:cubicBezTo>
                    <a:pt x="2197" y="2158"/>
                    <a:pt x="2260" y="2211"/>
                    <a:pt x="2306" y="2247"/>
                  </a:cubicBezTo>
                  <a:cubicBezTo>
                    <a:pt x="2322" y="2260"/>
                    <a:pt x="2334" y="2270"/>
                    <a:pt x="2353" y="2283"/>
                  </a:cubicBezTo>
                  <a:cubicBezTo>
                    <a:pt x="2383" y="2304"/>
                    <a:pt x="2423" y="2326"/>
                    <a:pt x="2470" y="2344"/>
                  </a:cubicBezTo>
                  <a:cubicBezTo>
                    <a:pt x="2516" y="2362"/>
                    <a:pt x="2570" y="2373"/>
                    <a:pt x="2623" y="2374"/>
                  </a:cubicBezTo>
                  <a:cubicBezTo>
                    <a:pt x="2634" y="2374"/>
                    <a:pt x="2634" y="2374"/>
                    <a:pt x="2634" y="2374"/>
                  </a:cubicBezTo>
                  <a:cubicBezTo>
                    <a:pt x="2636" y="2374"/>
                    <a:pt x="2638" y="2374"/>
                    <a:pt x="2640" y="2374"/>
                  </a:cubicBezTo>
                  <a:cubicBezTo>
                    <a:pt x="2667" y="2373"/>
                    <a:pt x="2695" y="2370"/>
                    <a:pt x="2721" y="2364"/>
                  </a:cubicBezTo>
                  <a:cubicBezTo>
                    <a:pt x="2768" y="2355"/>
                    <a:pt x="2812" y="2337"/>
                    <a:pt x="2849" y="2318"/>
                  </a:cubicBezTo>
                  <a:cubicBezTo>
                    <a:pt x="2867" y="2308"/>
                    <a:pt x="2883" y="2299"/>
                    <a:pt x="2898" y="2289"/>
                  </a:cubicBezTo>
                  <a:cubicBezTo>
                    <a:pt x="2913" y="2280"/>
                    <a:pt x="2928" y="2269"/>
                    <a:pt x="2938" y="2260"/>
                  </a:cubicBezTo>
                  <a:cubicBezTo>
                    <a:pt x="2954" y="2248"/>
                    <a:pt x="2970" y="2235"/>
                    <a:pt x="2984" y="2223"/>
                  </a:cubicBezTo>
                  <a:cubicBezTo>
                    <a:pt x="3011" y="2201"/>
                    <a:pt x="3044" y="2173"/>
                    <a:pt x="3078" y="2144"/>
                  </a:cubicBezTo>
                  <a:cubicBezTo>
                    <a:pt x="3116" y="2109"/>
                    <a:pt x="3153" y="2077"/>
                    <a:pt x="3189" y="2044"/>
                  </a:cubicBezTo>
                  <a:cubicBezTo>
                    <a:pt x="3190" y="2044"/>
                    <a:pt x="3190" y="2044"/>
                    <a:pt x="3190" y="2044"/>
                  </a:cubicBezTo>
                  <a:cubicBezTo>
                    <a:pt x="3209" y="2027"/>
                    <a:pt x="3229" y="2009"/>
                    <a:pt x="3249" y="1991"/>
                  </a:cubicBezTo>
                  <a:cubicBezTo>
                    <a:pt x="3314" y="1933"/>
                    <a:pt x="3378" y="1881"/>
                    <a:pt x="3425" y="1846"/>
                  </a:cubicBezTo>
                  <a:cubicBezTo>
                    <a:pt x="3441" y="1834"/>
                    <a:pt x="3454" y="1825"/>
                    <a:pt x="3471" y="1811"/>
                  </a:cubicBezTo>
                  <a:cubicBezTo>
                    <a:pt x="3527" y="1767"/>
                    <a:pt x="3605" y="1695"/>
                    <a:pt x="3681" y="1632"/>
                  </a:cubicBezTo>
                  <a:cubicBezTo>
                    <a:pt x="3688" y="1625"/>
                    <a:pt x="3688" y="1625"/>
                    <a:pt x="3688" y="1625"/>
                  </a:cubicBezTo>
                  <a:cubicBezTo>
                    <a:pt x="3690" y="1624"/>
                    <a:pt x="3691" y="1623"/>
                    <a:pt x="3693" y="1622"/>
                  </a:cubicBezTo>
                  <a:cubicBezTo>
                    <a:pt x="3712" y="1605"/>
                    <a:pt x="3732" y="1589"/>
                    <a:pt x="3752" y="1574"/>
                  </a:cubicBezTo>
                  <a:cubicBezTo>
                    <a:pt x="3787" y="1546"/>
                    <a:pt x="3822" y="1520"/>
                    <a:pt x="3855" y="1498"/>
                  </a:cubicBezTo>
                  <a:cubicBezTo>
                    <a:pt x="3871" y="1487"/>
                    <a:pt x="3886" y="1477"/>
                    <a:pt x="3900" y="1469"/>
                  </a:cubicBezTo>
                  <a:cubicBezTo>
                    <a:pt x="3913" y="1461"/>
                    <a:pt x="3928" y="1452"/>
                    <a:pt x="3941" y="1443"/>
                  </a:cubicBezTo>
                  <a:cubicBezTo>
                    <a:pt x="3955" y="1435"/>
                    <a:pt x="3973" y="1425"/>
                    <a:pt x="3992" y="1416"/>
                  </a:cubicBezTo>
                  <a:cubicBezTo>
                    <a:pt x="4024" y="1402"/>
                    <a:pt x="4064" y="1388"/>
                    <a:pt x="4107" y="1379"/>
                  </a:cubicBezTo>
                  <a:cubicBezTo>
                    <a:pt x="4153" y="1370"/>
                    <a:pt x="4205" y="1365"/>
                    <a:pt x="4255" y="1371"/>
                  </a:cubicBezTo>
                  <a:cubicBezTo>
                    <a:pt x="4255" y="1371"/>
                    <a:pt x="4255" y="1371"/>
                    <a:pt x="4255" y="1371"/>
                  </a:cubicBezTo>
                  <a:cubicBezTo>
                    <a:pt x="4281" y="1375"/>
                    <a:pt x="4308" y="1382"/>
                    <a:pt x="4332" y="1391"/>
                  </a:cubicBezTo>
                  <a:cubicBezTo>
                    <a:pt x="4372" y="1408"/>
                    <a:pt x="4407" y="1432"/>
                    <a:pt x="4434" y="1459"/>
                  </a:cubicBezTo>
                  <a:cubicBezTo>
                    <a:pt x="4462" y="1485"/>
                    <a:pt x="4481" y="1514"/>
                    <a:pt x="4493" y="1539"/>
                  </a:cubicBezTo>
                  <a:cubicBezTo>
                    <a:pt x="4502" y="1557"/>
                    <a:pt x="4507" y="1572"/>
                    <a:pt x="4513" y="1592"/>
                  </a:cubicBezTo>
                  <a:cubicBezTo>
                    <a:pt x="4523" y="1624"/>
                    <a:pt x="4531" y="1665"/>
                    <a:pt x="4531" y="1710"/>
                  </a:cubicBezTo>
                  <a:cubicBezTo>
                    <a:pt x="4529" y="1757"/>
                    <a:pt x="4529" y="1809"/>
                    <a:pt x="4529" y="1859"/>
                  </a:cubicBezTo>
                  <a:cubicBezTo>
                    <a:pt x="4529" y="1868"/>
                    <a:pt x="4529" y="1868"/>
                    <a:pt x="4529" y="1868"/>
                  </a:cubicBezTo>
                  <a:cubicBezTo>
                    <a:pt x="4529" y="1870"/>
                    <a:pt x="4529" y="1872"/>
                    <a:pt x="4529" y="1874"/>
                  </a:cubicBezTo>
                  <a:cubicBezTo>
                    <a:pt x="4529" y="1900"/>
                    <a:pt x="4529" y="1926"/>
                    <a:pt x="4529" y="1952"/>
                  </a:cubicBezTo>
                  <a:cubicBezTo>
                    <a:pt x="4530" y="1997"/>
                    <a:pt x="4531" y="2042"/>
                    <a:pt x="4533" y="2082"/>
                  </a:cubicBezTo>
                  <a:cubicBezTo>
                    <a:pt x="4534" y="2102"/>
                    <a:pt x="4535" y="2120"/>
                    <a:pt x="4536" y="2137"/>
                  </a:cubicBezTo>
                  <a:cubicBezTo>
                    <a:pt x="4537" y="2154"/>
                    <a:pt x="4539" y="2174"/>
                    <a:pt x="4543" y="2188"/>
                  </a:cubicBezTo>
                  <a:cubicBezTo>
                    <a:pt x="4547" y="2204"/>
                    <a:pt x="4553" y="2226"/>
                    <a:pt x="4562" y="2246"/>
                  </a:cubicBezTo>
                  <a:cubicBezTo>
                    <a:pt x="4577" y="2279"/>
                    <a:pt x="4600" y="2316"/>
                    <a:pt x="4630" y="2349"/>
                  </a:cubicBezTo>
                  <a:cubicBezTo>
                    <a:pt x="4662" y="2385"/>
                    <a:pt x="4702" y="2417"/>
                    <a:pt x="4746" y="2444"/>
                  </a:cubicBezTo>
                  <a:cubicBezTo>
                    <a:pt x="4746" y="2444"/>
                    <a:pt x="4746" y="2444"/>
                    <a:pt x="4746" y="2444"/>
                  </a:cubicBezTo>
                  <a:cubicBezTo>
                    <a:pt x="4768" y="2458"/>
                    <a:pt x="4793" y="2471"/>
                    <a:pt x="4816" y="2481"/>
                  </a:cubicBezTo>
                  <a:cubicBezTo>
                    <a:pt x="4857" y="2499"/>
                    <a:pt x="4897" y="2512"/>
                    <a:pt x="4936" y="2520"/>
                  </a:cubicBezTo>
                  <a:cubicBezTo>
                    <a:pt x="4974" y="2528"/>
                    <a:pt x="5010" y="2529"/>
                    <a:pt x="5039" y="2531"/>
                  </a:cubicBezTo>
                  <a:cubicBezTo>
                    <a:pt x="5060" y="2533"/>
                    <a:pt x="5076" y="2535"/>
                    <a:pt x="5098" y="2535"/>
                  </a:cubicBezTo>
                  <a:cubicBezTo>
                    <a:pt x="5107" y="2536"/>
                    <a:pt x="5116" y="2536"/>
                    <a:pt x="5127" y="2536"/>
                  </a:cubicBezTo>
                  <a:cubicBezTo>
                    <a:pt x="5142" y="2536"/>
                    <a:pt x="5142" y="2536"/>
                    <a:pt x="5142" y="2536"/>
                  </a:cubicBezTo>
                  <a:cubicBezTo>
                    <a:pt x="5161" y="2535"/>
                    <a:pt x="5161" y="2535"/>
                    <a:pt x="5161" y="2535"/>
                  </a:cubicBezTo>
                  <a:cubicBezTo>
                    <a:pt x="5174" y="2534"/>
                    <a:pt x="5188" y="2533"/>
                    <a:pt x="5201" y="2530"/>
                  </a:cubicBezTo>
                  <a:cubicBezTo>
                    <a:pt x="5214" y="2527"/>
                    <a:pt x="5228" y="2523"/>
                    <a:pt x="5238" y="2512"/>
                  </a:cubicBezTo>
                  <a:cubicBezTo>
                    <a:pt x="5259" y="2490"/>
                    <a:pt x="5259" y="2458"/>
                    <a:pt x="5259" y="2426"/>
                  </a:cubicBezTo>
                  <a:cubicBezTo>
                    <a:pt x="5259" y="2400"/>
                    <a:pt x="5260" y="2374"/>
                    <a:pt x="5260" y="2349"/>
                  </a:cubicBezTo>
                  <a:cubicBezTo>
                    <a:pt x="5260" y="2339"/>
                    <a:pt x="5260" y="2339"/>
                    <a:pt x="5260" y="2339"/>
                  </a:cubicBezTo>
                  <a:cubicBezTo>
                    <a:pt x="5260" y="2337"/>
                    <a:pt x="5260" y="2335"/>
                    <a:pt x="5260" y="2333"/>
                  </a:cubicBezTo>
                  <a:cubicBezTo>
                    <a:pt x="5260" y="2308"/>
                    <a:pt x="5259" y="2282"/>
                    <a:pt x="5259" y="2256"/>
                  </a:cubicBezTo>
                  <a:cubicBezTo>
                    <a:pt x="5259" y="2210"/>
                    <a:pt x="5257" y="2166"/>
                    <a:pt x="5255" y="2126"/>
                  </a:cubicBezTo>
                  <a:cubicBezTo>
                    <a:pt x="5254" y="2106"/>
                    <a:pt x="5253" y="2087"/>
                    <a:pt x="5252" y="2071"/>
                  </a:cubicBezTo>
                  <a:cubicBezTo>
                    <a:pt x="5251" y="2053"/>
                    <a:pt x="5249" y="2035"/>
                    <a:pt x="5248" y="2022"/>
                  </a:cubicBezTo>
                  <a:cubicBezTo>
                    <a:pt x="5246" y="2006"/>
                    <a:pt x="5244" y="1984"/>
                    <a:pt x="5243" y="1963"/>
                  </a:cubicBezTo>
                  <a:cubicBezTo>
                    <a:pt x="5240" y="1929"/>
                    <a:pt x="5238" y="1886"/>
                    <a:pt x="5237" y="1842"/>
                  </a:cubicBezTo>
                  <a:cubicBezTo>
                    <a:pt x="5236" y="1794"/>
                    <a:pt x="5235" y="1743"/>
                    <a:pt x="5235" y="1692"/>
                  </a:cubicBezTo>
                  <a:cubicBezTo>
                    <a:pt x="5235" y="1692"/>
                    <a:pt x="5235" y="1692"/>
                    <a:pt x="5235" y="1692"/>
                  </a:cubicBezTo>
                  <a:cubicBezTo>
                    <a:pt x="5235" y="1666"/>
                    <a:pt x="5235" y="1639"/>
                    <a:pt x="5235" y="1612"/>
                  </a:cubicBezTo>
                  <a:cubicBezTo>
                    <a:pt x="5237" y="1525"/>
                    <a:pt x="5240" y="1443"/>
                    <a:pt x="5246" y="1385"/>
                  </a:cubicBezTo>
                  <a:cubicBezTo>
                    <a:pt x="5247" y="1366"/>
                    <a:pt x="5249" y="1346"/>
                    <a:pt x="5251" y="1327"/>
                  </a:cubicBezTo>
                  <a:cubicBezTo>
                    <a:pt x="5257" y="1256"/>
                    <a:pt x="5260" y="1150"/>
                    <a:pt x="5260" y="1050"/>
                  </a:cubicBezTo>
                  <a:cubicBezTo>
                    <a:pt x="5260" y="1040"/>
                    <a:pt x="5260" y="1040"/>
                    <a:pt x="5260" y="1040"/>
                  </a:cubicBezTo>
                  <a:cubicBezTo>
                    <a:pt x="5260" y="1038"/>
                    <a:pt x="5260" y="1036"/>
                    <a:pt x="5260" y="1034"/>
                  </a:cubicBezTo>
                  <a:cubicBezTo>
                    <a:pt x="5260" y="1009"/>
                    <a:pt x="5259" y="983"/>
                    <a:pt x="5259" y="957"/>
                  </a:cubicBezTo>
                  <a:cubicBezTo>
                    <a:pt x="5259" y="911"/>
                    <a:pt x="5257" y="867"/>
                    <a:pt x="5255" y="826"/>
                  </a:cubicBezTo>
                  <a:cubicBezTo>
                    <a:pt x="5254" y="806"/>
                    <a:pt x="5253" y="788"/>
                    <a:pt x="5252" y="771"/>
                  </a:cubicBezTo>
                  <a:cubicBezTo>
                    <a:pt x="5251" y="754"/>
                    <a:pt x="5249" y="736"/>
                    <a:pt x="5248" y="723"/>
                  </a:cubicBezTo>
                  <a:cubicBezTo>
                    <a:pt x="5246" y="707"/>
                    <a:pt x="5244" y="685"/>
                    <a:pt x="5243" y="664"/>
                  </a:cubicBezTo>
                  <a:cubicBezTo>
                    <a:pt x="5240" y="629"/>
                    <a:pt x="5238" y="587"/>
                    <a:pt x="5237" y="542"/>
                  </a:cubicBezTo>
                  <a:cubicBezTo>
                    <a:pt x="5236" y="495"/>
                    <a:pt x="5235" y="444"/>
                    <a:pt x="5235" y="393"/>
                  </a:cubicBezTo>
                  <a:cubicBezTo>
                    <a:pt x="5232" y="393"/>
                    <a:pt x="5232" y="393"/>
                    <a:pt x="5232" y="393"/>
                  </a:cubicBezTo>
                  <a:cubicBezTo>
                    <a:pt x="5232" y="419"/>
                    <a:pt x="5231" y="446"/>
                    <a:pt x="5231" y="4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7" name="Group 12">
            <a:extLst>
              <a:ext uri="{FF2B5EF4-FFF2-40B4-BE49-F238E27FC236}">
                <a16:creationId xmlns:a16="http://schemas.microsoft.com/office/drawing/2014/main" id="{2C7B8EC0-DFCD-4BAD-B6EF-D48C1D1A41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64152" y="4051182"/>
            <a:ext cx="4103960" cy="2041643"/>
            <a:chOff x="801" y="3320"/>
            <a:chExt cx="1588" cy="790"/>
          </a:xfrm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D2D04EB8-4833-45C1-A76F-FB016AD231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" y="3320"/>
              <a:ext cx="1588" cy="790"/>
            </a:xfrm>
            <a:custGeom>
              <a:avLst/>
              <a:gdLst>
                <a:gd name="T0" fmla="*/ 39310 w 40218"/>
                <a:gd name="T1" fmla="*/ 1084 h 20015"/>
                <a:gd name="T2" fmla="*/ 36941 w 40218"/>
                <a:gd name="T3" fmla="*/ 14 h 20015"/>
                <a:gd name="T4" fmla="*/ 34011 w 40218"/>
                <a:gd name="T5" fmla="*/ 0 h 20015"/>
                <a:gd name="T6" fmla="*/ 32895 w 40218"/>
                <a:gd name="T7" fmla="*/ 374 h 20015"/>
                <a:gd name="T8" fmla="*/ 27615 w 40218"/>
                <a:gd name="T9" fmla="*/ 5273 h 20015"/>
                <a:gd name="T10" fmla="*/ 23949 w 40218"/>
                <a:gd name="T11" fmla="*/ 7789 h 20015"/>
                <a:gd name="T12" fmla="*/ 16126 w 40218"/>
                <a:gd name="T13" fmla="*/ 7724 h 20015"/>
                <a:gd name="T14" fmla="*/ 13102 w 40218"/>
                <a:gd name="T15" fmla="*/ 5730 h 20015"/>
                <a:gd name="T16" fmla="*/ 5621 w 40218"/>
                <a:gd name="T17" fmla="*/ 56 h 20015"/>
                <a:gd name="T18" fmla="*/ 1248 w 40218"/>
                <a:gd name="T19" fmla="*/ 0 h 20015"/>
                <a:gd name="T20" fmla="*/ 99 w 40218"/>
                <a:gd name="T21" fmla="*/ 749 h 20015"/>
                <a:gd name="T22" fmla="*/ 0 w 40218"/>
                <a:gd name="T23" fmla="*/ 3820 h 20015"/>
                <a:gd name="T24" fmla="*/ 865 w 40218"/>
                <a:gd name="T25" fmla="*/ 18881 h 20015"/>
                <a:gd name="T26" fmla="*/ 5272 w 40218"/>
                <a:gd name="T27" fmla="*/ 20013 h 20015"/>
                <a:gd name="T28" fmla="*/ 6663 w 40218"/>
                <a:gd name="T29" fmla="*/ 18795 h 20015"/>
                <a:gd name="T30" fmla="*/ 6804 w 40218"/>
                <a:gd name="T31" fmla="*/ 12516 h 20015"/>
                <a:gd name="T32" fmla="*/ 7397 w 40218"/>
                <a:gd name="T33" fmla="*/ 11750 h 20015"/>
                <a:gd name="T34" fmla="*/ 8487 w 40218"/>
                <a:gd name="T35" fmla="*/ 11427 h 20015"/>
                <a:gd name="T36" fmla="*/ 10498 w 40218"/>
                <a:gd name="T37" fmla="*/ 12068 h 20015"/>
                <a:gd name="T38" fmla="*/ 13732 w 40218"/>
                <a:gd name="T39" fmla="*/ 14789 h 20015"/>
                <a:gd name="T40" fmla="*/ 18126 w 40218"/>
                <a:gd name="T41" fmla="*/ 18311 h 20015"/>
                <a:gd name="T42" fmla="*/ 20075 w 40218"/>
                <a:gd name="T43" fmla="*/ 18786 h 20015"/>
                <a:gd name="T44" fmla="*/ 21995 w 40218"/>
                <a:gd name="T45" fmla="*/ 18358 h 20015"/>
                <a:gd name="T46" fmla="*/ 27727 w 40218"/>
                <a:gd name="T47" fmla="*/ 13620 h 20015"/>
                <a:gd name="T48" fmla="*/ 30361 w 40218"/>
                <a:gd name="T49" fmla="*/ 11735 h 20015"/>
                <a:gd name="T50" fmla="*/ 33046 w 40218"/>
                <a:gd name="T51" fmla="*/ 11945 h 20015"/>
                <a:gd name="T52" fmla="*/ 33550 w 40218"/>
                <a:gd name="T53" fmla="*/ 13195 h 20015"/>
                <a:gd name="T54" fmla="*/ 33553 w 40218"/>
                <a:gd name="T55" fmla="*/ 16360 h 20015"/>
                <a:gd name="T56" fmla="*/ 34444 w 40218"/>
                <a:gd name="T57" fmla="*/ 18911 h 20015"/>
                <a:gd name="T58" fmla="*/ 38467 w 40218"/>
                <a:gd name="T59" fmla="*/ 20013 h 20015"/>
                <a:gd name="T60" fmla="*/ 39971 w 40218"/>
                <a:gd name="T61" fmla="*/ 19534 h 20015"/>
                <a:gd name="T62" fmla="*/ 40218 w 40218"/>
                <a:gd name="T63" fmla="*/ 4607 h 20015"/>
                <a:gd name="T64" fmla="*/ 1614 w 40218"/>
                <a:gd name="T65" fmla="*/ 1292 h 20015"/>
                <a:gd name="T66" fmla="*/ 35690 w 40218"/>
                <a:gd name="T67" fmla="*/ 17882 h 20015"/>
                <a:gd name="T68" fmla="*/ 35180 w 40218"/>
                <a:gd name="T69" fmla="*/ 16671 h 20015"/>
                <a:gd name="T70" fmla="*/ 35162 w 40218"/>
                <a:gd name="T71" fmla="*/ 13163 h 20015"/>
                <a:gd name="T72" fmla="*/ 34178 w 40218"/>
                <a:gd name="T73" fmla="*/ 10796 h 20015"/>
                <a:gd name="T74" fmla="*/ 31666 w 40218"/>
                <a:gd name="T75" fmla="*/ 9816 h 20015"/>
                <a:gd name="T76" fmla="*/ 27748 w 40218"/>
                <a:gd name="T77" fmla="*/ 11475 h 20015"/>
                <a:gd name="T78" fmla="*/ 22386 w 40218"/>
                <a:gd name="T79" fmla="*/ 16240 h 20015"/>
                <a:gd name="T80" fmla="*/ 21093 w 40218"/>
                <a:gd name="T81" fmla="*/ 16993 h 20015"/>
                <a:gd name="T82" fmla="*/ 19068 w 40218"/>
                <a:gd name="T83" fmla="*/ 16969 h 20015"/>
                <a:gd name="T84" fmla="*/ 17432 w 40218"/>
                <a:gd name="T85" fmla="*/ 15928 h 20015"/>
                <a:gd name="T86" fmla="*/ 12393 w 40218"/>
                <a:gd name="T87" fmla="*/ 11415 h 20015"/>
                <a:gd name="T88" fmla="*/ 9875 w 40218"/>
                <a:gd name="T89" fmla="*/ 10021 h 20015"/>
                <a:gd name="T90" fmla="*/ 8078 w 40218"/>
                <a:gd name="T91" fmla="*/ 9836 h 20015"/>
                <a:gd name="T92" fmla="*/ 5895 w 40218"/>
                <a:gd name="T93" fmla="*/ 10953 h 20015"/>
                <a:gd name="T94" fmla="*/ 5053 w 40218"/>
                <a:gd name="T95" fmla="*/ 18108 h 20015"/>
                <a:gd name="T96" fmla="*/ 3128 w 40218"/>
                <a:gd name="T97" fmla="*/ 18359 h 20015"/>
                <a:gd name="T98" fmla="*/ 2003 w 40218"/>
                <a:gd name="T99" fmla="*/ 17730 h 20015"/>
                <a:gd name="T100" fmla="*/ 4724 w 40218"/>
                <a:gd name="T101" fmla="*/ 1612 h 20015"/>
                <a:gd name="T102" fmla="*/ 7483 w 40218"/>
                <a:gd name="T103" fmla="*/ 2700 h 20015"/>
                <a:gd name="T104" fmla="*/ 12662 w 40218"/>
                <a:gd name="T105" fmla="*/ 7463 h 20015"/>
                <a:gd name="T106" fmla="*/ 15839 w 40218"/>
                <a:gd name="T107" fmla="*/ 9357 h 20015"/>
                <a:gd name="T108" fmla="*/ 21871 w 40218"/>
                <a:gd name="T109" fmla="*/ 10012 h 20015"/>
                <a:gd name="T110" fmla="*/ 27581 w 40218"/>
                <a:gd name="T111" fmla="*/ 7444 h 20015"/>
                <a:gd name="T112" fmla="*/ 33703 w 40218"/>
                <a:gd name="T113" fmla="*/ 1809 h 20015"/>
                <a:gd name="T114" fmla="*/ 34178 w 40218"/>
                <a:gd name="T115" fmla="*/ 1612 h 20015"/>
                <a:gd name="T116" fmla="*/ 36886 w 40218"/>
                <a:gd name="T117" fmla="*/ 1628 h 20015"/>
                <a:gd name="T118" fmla="*/ 38199 w 40218"/>
                <a:gd name="T119" fmla="*/ 2262 h 20015"/>
                <a:gd name="T120" fmla="*/ 38606 w 40218"/>
                <a:gd name="T121" fmla="*/ 13284 h 20015"/>
                <a:gd name="T122" fmla="*/ 38604 w 40218"/>
                <a:gd name="T123" fmla="*/ 18737 h 20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18" h="20015">
                  <a:moveTo>
                    <a:pt x="40216" y="3536"/>
                  </a:moveTo>
                  <a:cubicBezTo>
                    <a:pt x="40216" y="3477"/>
                    <a:pt x="40212" y="3416"/>
                    <a:pt x="40209" y="3356"/>
                  </a:cubicBezTo>
                  <a:cubicBezTo>
                    <a:pt x="40181" y="2874"/>
                    <a:pt x="40080" y="2358"/>
                    <a:pt x="39842" y="1864"/>
                  </a:cubicBezTo>
                  <a:cubicBezTo>
                    <a:pt x="39781" y="1742"/>
                    <a:pt x="39715" y="1621"/>
                    <a:pt x="39638" y="1505"/>
                  </a:cubicBezTo>
                  <a:cubicBezTo>
                    <a:pt x="39600" y="1447"/>
                    <a:pt x="39561" y="1389"/>
                    <a:pt x="39518" y="1334"/>
                  </a:cubicBezTo>
                  <a:cubicBezTo>
                    <a:pt x="39497" y="1306"/>
                    <a:pt x="39477" y="1279"/>
                    <a:pt x="39454" y="1250"/>
                  </a:cubicBezTo>
                  <a:cubicBezTo>
                    <a:pt x="39377" y="1160"/>
                    <a:pt x="39377" y="1160"/>
                    <a:pt x="39377" y="1160"/>
                  </a:cubicBezTo>
                  <a:cubicBezTo>
                    <a:pt x="39339" y="1115"/>
                    <a:pt x="39339" y="1115"/>
                    <a:pt x="39339" y="1115"/>
                  </a:cubicBezTo>
                  <a:cubicBezTo>
                    <a:pt x="39325" y="1100"/>
                    <a:pt x="39319" y="1094"/>
                    <a:pt x="39310" y="1084"/>
                  </a:cubicBezTo>
                  <a:cubicBezTo>
                    <a:pt x="39256" y="1027"/>
                    <a:pt x="39256" y="1027"/>
                    <a:pt x="39256" y="1027"/>
                  </a:cubicBezTo>
                  <a:cubicBezTo>
                    <a:pt x="39261" y="1032"/>
                    <a:pt x="39219" y="988"/>
                    <a:pt x="39208" y="979"/>
                  </a:cubicBezTo>
                  <a:cubicBezTo>
                    <a:pt x="39171" y="943"/>
                    <a:pt x="39171" y="943"/>
                    <a:pt x="39171" y="943"/>
                  </a:cubicBezTo>
                  <a:cubicBezTo>
                    <a:pt x="39094" y="871"/>
                    <a:pt x="39094" y="871"/>
                    <a:pt x="39094" y="871"/>
                  </a:cubicBezTo>
                  <a:cubicBezTo>
                    <a:pt x="38988" y="779"/>
                    <a:pt x="38878" y="690"/>
                    <a:pt x="38761" y="612"/>
                  </a:cubicBezTo>
                  <a:cubicBezTo>
                    <a:pt x="38528" y="454"/>
                    <a:pt x="38274" y="326"/>
                    <a:pt x="38015" y="234"/>
                  </a:cubicBezTo>
                  <a:cubicBezTo>
                    <a:pt x="37756" y="142"/>
                    <a:pt x="37493" y="81"/>
                    <a:pt x="37233" y="45"/>
                  </a:cubicBezTo>
                  <a:cubicBezTo>
                    <a:pt x="37168" y="36"/>
                    <a:pt x="37103" y="28"/>
                    <a:pt x="37039" y="23"/>
                  </a:cubicBezTo>
                  <a:cubicBezTo>
                    <a:pt x="36941" y="14"/>
                    <a:pt x="36941" y="14"/>
                    <a:pt x="36941" y="14"/>
                  </a:cubicBezTo>
                  <a:cubicBezTo>
                    <a:pt x="36838" y="8"/>
                    <a:pt x="36838" y="8"/>
                    <a:pt x="36838" y="8"/>
                  </a:cubicBezTo>
                  <a:cubicBezTo>
                    <a:pt x="36735" y="3"/>
                    <a:pt x="36735" y="3"/>
                    <a:pt x="36735" y="3"/>
                  </a:cubicBezTo>
                  <a:cubicBezTo>
                    <a:pt x="36655" y="1"/>
                    <a:pt x="36655" y="1"/>
                    <a:pt x="36655" y="1"/>
                  </a:cubicBezTo>
                  <a:cubicBezTo>
                    <a:pt x="36559" y="0"/>
                    <a:pt x="36559" y="0"/>
                    <a:pt x="36559" y="0"/>
                  </a:cubicBezTo>
                  <a:cubicBezTo>
                    <a:pt x="36478" y="0"/>
                    <a:pt x="36478" y="0"/>
                    <a:pt x="36478" y="0"/>
                  </a:cubicBezTo>
                  <a:cubicBezTo>
                    <a:pt x="36262" y="0"/>
                    <a:pt x="36045" y="0"/>
                    <a:pt x="35827" y="0"/>
                  </a:cubicBezTo>
                  <a:cubicBezTo>
                    <a:pt x="35392" y="0"/>
                    <a:pt x="34953" y="0"/>
                    <a:pt x="34510" y="0"/>
                  </a:cubicBezTo>
                  <a:cubicBezTo>
                    <a:pt x="34400" y="0"/>
                    <a:pt x="34289" y="0"/>
                    <a:pt x="34178" y="0"/>
                  </a:cubicBezTo>
                  <a:cubicBezTo>
                    <a:pt x="34011" y="0"/>
                    <a:pt x="34011" y="0"/>
                    <a:pt x="34011" y="0"/>
                  </a:cubicBezTo>
                  <a:cubicBezTo>
                    <a:pt x="33969" y="0"/>
                    <a:pt x="33969" y="0"/>
                    <a:pt x="33969" y="0"/>
                  </a:cubicBezTo>
                  <a:cubicBezTo>
                    <a:pt x="33954" y="0"/>
                    <a:pt x="33922" y="0"/>
                    <a:pt x="33899" y="1"/>
                  </a:cubicBezTo>
                  <a:cubicBezTo>
                    <a:pt x="33849" y="3"/>
                    <a:pt x="33797" y="7"/>
                    <a:pt x="33745" y="13"/>
                  </a:cubicBezTo>
                  <a:cubicBezTo>
                    <a:pt x="33641" y="26"/>
                    <a:pt x="33535" y="49"/>
                    <a:pt x="33431" y="83"/>
                  </a:cubicBezTo>
                  <a:cubicBezTo>
                    <a:pt x="33406" y="91"/>
                    <a:pt x="33380" y="100"/>
                    <a:pt x="33354" y="110"/>
                  </a:cubicBezTo>
                  <a:cubicBezTo>
                    <a:pt x="33327" y="121"/>
                    <a:pt x="33308" y="128"/>
                    <a:pt x="33274" y="143"/>
                  </a:cubicBezTo>
                  <a:cubicBezTo>
                    <a:pt x="33229" y="163"/>
                    <a:pt x="33244" y="157"/>
                    <a:pt x="33203" y="177"/>
                  </a:cubicBezTo>
                  <a:cubicBezTo>
                    <a:pt x="33175" y="191"/>
                    <a:pt x="33148" y="205"/>
                    <a:pt x="33125" y="218"/>
                  </a:cubicBezTo>
                  <a:cubicBezTo>
                    <a:pt x="33030" y="274"/>
                    <a:pt x="32960" y="325"/>
                    <a:pt x="32895" y="374"/>
                  </a:cubicBezTo>
                  <a:cubicBezTo>
                    <a:pt x="32832" y="424"/>
                    <a:pt x="32776" y="472"/>
                    <a:pt x="32723" y="519"/>
                  </a:cubicBezTo>
                  <a:cubicBezTo>
                    <a:pt x="32669" y="567"/>
                    <a:pt x="32623" y="610"/>
                    <a:pt x="32571" y="661"/>
                  </a:cubicBezTo>
                  <a:cubicBezTo>
                    <a:pt x="32540" y="692"/>
                    <a:pt x="32540" y="692"/>
                    <a:pt x="32540" y="692"/>
                  </a:cubicBezTo>
                  <a:cubicBezTo>
                    <a:pt x="32540" y="692"/>
                    <a:pt x="32539" y="692"/>
                    <a:pt x="32539" y="692"/>
                  </a:cubicBezTo>
                  <a:cubicBezTo>
                    <a:pt x="32539" y="693"/>
                    <a:pt x="32536" y="695"/>
                    <a:pt x="32528" y="704"/>
                  </a:cubicBezTo>
                  <a:cubicBezTo>
                    <a:pt x="32466" y="761"/>
                    <a:pt x="32466" y="761"/>
                    <a:pt x="32466" y="761"/>
                  </a:cubicBezTo>
                  <a:cubicBezTo>
                    <a:pt x="32383" y="838"/>
                    <a:pt x="32301" y="915"/>
                    <a:pt x="32218" y="992"/>
                  </a:cubicBezTo>
                  <a:cubicBezTo>
                    <a:pt x="32052" y="1146"/>
                    <a:pt x="31886" y="1300"/>
                    <a:pt x="31719" y="1455"/>
                  </a:cubicBezTo>
                  <a:cubicBezTo>
                    <a:pt x="30386" y="2696"/>
                    <a:pt x="29015" y="3970"/>
                    <a:pt x="27615" y="5273"/>
                  </a:cubicBezTo>
                  <a:cubicBezTo>
                    <a:pt x="27528" y="5354"/>
                    <a:pt x="27440" y="5435"/>
                    <a:pt x="27353" y="5516"/>
                  </a:cubicBezTo>
                  <a:cubicBezTo>
                    <a:pt x="27269" y="5592"/>
                    <a:pt x="27186" y="5669"/>
                    <a:pt x="27100" y="5744"/>
                  </a:cubicBezTo>
                  <a:cubicBezTo>
                    <a:pt x="26931" y="5894"/>
                    <a:pt x="26756" y="6039"/>
                    <a:pt x="26578" y="6181"/>
                  </a:cubicBezTo>
                  <a:cubicBezTo>
                    <a:pt x="26221" y="6465"/>
                    <a:pt x="25849" y="6731"/>
                    <a:pt x="25462" y="6975"/>
                  </a:cubicBezTo>
                  <a:cubicBezTo>
                    <a:pt x="25075" y="7220"/>
                    <a:pt x="24672" y="7446"/>
                    <a:pt x="24258" y="7646"/>
                  </a:cubicBezTo>
                  <a:cubicBezTo>
                    <a:pt x="24174" y="7686"/>
                    <a:pt x="24174" y="7686"/>
                    <a:pt x="24174" y="7686"/>
                  </a:cubicBezTo>
                  <a:cubicBezTo>
                    <a:pt x="24133" y="7706"/>
                    <a:pt x="24133" y="7706"/>
                    <a:pt x="24133" y="7706"/>
                  </a:cubicBezTo>
                  <a:cubicBezTo>
                    <a:pt x="24101" y="7721"/>
                    <a:pt x="24101" y="7721"/>
                    <a:pt x="24101" y="7721"/>
                  </a:cubicBezTo>
                  <a:cubicBezTo>
                    <a:pt x="23949" y="7789"/>
                    <a:pt x="23949" y="7789"/>
                    <a:pt x="23949" y="7789"/>
                  </a:cubicBezTo>
                  <a:cubicBezTo>
                    <a:pt x="23847" y="7833"/>
                    <a:pt x="23744" y="7877"/>
                    <a:pt x="23640" y="7917"/>
                  </a:cubicBezTo>
                  <a:cubicBezTo>
                    <a:pt x="23432" y="7999"/>
                    <a:pt x="23217" y="8068"/>
                    <a:pt x="23000" y="8133"/>
                  </a:cubicBezTo>
                  <a:cubicBezTo>
                    <a:pt x="22130" y="8386"/>
                    <a:pt x="21201" y="8504"/>
                    <a:pt x="20251" y="8513"/>
                  </a:cubicBezTo>
                  <a:cubicBezTo>
                    <a:pt x="19300" y="8525"/>
                    <a:pt x="18350" y="8431"/>
                    <a:pt x="17445" y="8196"/>
                  </a:cubicBezTo>
                  <a:cubicBezTo>
                    <a:pt x="17220" y="8135"/>
                    <a:pt x="16996" y="8069"/>
                    <a:pt x="16777" y="7990"/>
                  </a:cubicBezTo>
                  <a:cubicBezTo>
                    <a:pt x="16722" y="7972"/>
                    <a:pt x="16668" y="7950"/>
                    <a:pt x="16614" y="7930"/>
                  </a:cubicBezTo>
                  <a:cubicBezTo>
                    <a:pt x="16559" y="7909"/>
                    <a:pt x="16505" y="7889"/>
                    <a:pt x="16455" y="7868"/>
                  </a:cubicBezTo>
                  <a:cubicBezTo>
                    <a:pt x="16302" y="7804"/>
                    <a:pt x="16302" y="7804"/>
                    <a:pt x="16302" y="7804"/>
                  </a:cubicBezTo>
                  <a:cubicBezTo>
                    <a:pt x="16126" y="7724"/>
                    <a:pt x="16126" y="7724"/>
                    <a:pt x="16126" y="7724"/>
                  </a:cubicBezTo>
                  <a:cubicBezTo>
                    <a:pt x="16083" y="7705"/>
                    <a:pt x="16083" y="7705"/>
                    <a:pt x="16083" y="7705"/>
                  </a:cubicBezTo>
                  <a:cubicBezTo>
                    <a:pt x="16082" y="7705"/>
                    <a:pt x="16060" y="7694"/>
                    <a:pt x="16052" y="7690"/>
                  </a:cubicBezTo>
                  <a:cubicBezTo>
                    <a:pt x="15971" y="7651"/>
                    <a:pt x="15971" y="7651"/>
                    <a:pt x="15971" y="7651"/>
                  </a:cubicBezTo>
                  <a:cubicBezTo>
                    <a:pt x="15917" y="7624"/>
                    <a:pt x="15862" y="7599"/>
                    <a:pt x="15808" y="7571"/>
                  </a:cubicBezTo>
                  <a:cubicBezTo>
                    <a:pt x="15700" y="7517"/>
                    <a:pt x="15593" y="7461"/>
                    <a:pt x="15487" y="7403"/>
                  </a:cubicBezTo>
                  <a:cubicBezTo>
                    <a:pt x="15275" y="7287"/>
                    <a:pt x="15064" y="7168"/>
                    <a:pt x="14858" y="7039"/>
                  </a:cubicBezTo>
                  <a:cubicBezTo>
                    <a:pt x="14446" y="6784"/>
                    <a:pt x="14046" y="6503"/>
                    <a:pt x="13663" y="6199"/>
                  </a:cubicBezTo>
                  <a:cubicBezTo>
                    <a:pt x="13566" y="6124"/>
                    <a:pt x="13472" y="6045"/>
                    <a:pt x="13378" y="5967"/>
                  </a:cubicBezTo>
                  <a:cubicBezTo>
                    <a:pt x="13284" y="5888"/>
                    <a:pt x="13190" y="5808"/>
                    <a:pt x="13102" y="5730"/>
                  </a:cubicBezTo>
                  <a:cubicBezTo>
                    <a:pt x="13018" y="5657"/>
                    <a:pt x="12908" y="5554"/>
                    <a:pt x="12825" y="5479"/>
                  </a:cubicBezTo>
                  <a:cubicBezTo>
                    <a:pt x="12539" y="5212"/>
                    <a:pt x="12539" y="5212"/>
                    <a:pt x="12539" y="5212"/>
                  </a:cubicBezTo>
                  <a:cubicBezTo>
                    <a:pt x="11776" y="4500"/>
                    <a:pt x="11010" y="3786"/>
                    <a:pt x="10242" y="3069"/>
                  </a:cubicBezTo>
                  <a:cubicBezTo>
                    <a:pt x="9858" y="2711"/>
                    <a:pt x="9473" y="2352"/>
                    <a:pt x="9088" y="1993"/>
                  </a:cubicBezTo>
                  <a:cubicBezTo>
                    <a:pt x="8906" y="1823"/>
                    <a:pt x="8725" y="1654"/>
                    <a:pt x="8543" y="1484"/>
                  </a:cubicBezTo>
                  <a:cubicBezTo>
                    <a:pt x="8324" y="1255"/>
                    <a:pt x="8079" y="1046"/>
                    <a:pt x="7814" y="866"/>
                  </a:cubicBezTo>
                  <a:cubicBezTo>
                    <a:pt x="7283" y="503"/>
                    <a:pt x="6678" y="263"/>
                    <a:pt x="6074" y="134"/>
                  </a:cubicBezTo>
                  <a:cubicBezTo>
                    <a:pt x="5848" y="90"/>
                    <a:pt x="5848" y="90"/>
                    <a:pt x="5848" y="90"/>
                  </a:cubicBezTo>
                  <a:cubicBezTo>
                    <a:pt x="5621" y="56"/>
                    <a:pt x="5621" y="56"/>
                    <a:pt x="5621" y="56"/>
                  </a:cubicBezTo>
                  <a:cubicBezTo>
                    <a:pt x="5468" y="38"/>
                    <a:pt x="5324" y="21"/>
                    <a:pt x="5162" y="13"/>
                  </a:cubicBezTo>
                  <a:cubicBezTo>
                    <a:pt x="5083" y="9"/>
                    <a:pt x="4999" y="3"/>
                    <a:pt x="4938" y="3"/>
                  </a:cubicBezTo>
                  <a:cubicBezTo>
                    <a:pt x="4724" y="0"/>
                    <a:pt x="4724" y="0"/>
                    <a:pt x="4724" y="0"/>
                  </a:cubicBezTo>
                  <a:cubicBezTo>
                    <a:pt x="4327" y="0"/>
                    <a:pt x="4327" y="0"/>
                    <a:pt x="4327" y="0"/>
                  </a:cubicBezTo>
                  <a:cubicBezTo>
                    <a:pt x="3797" y="0"/>
                    <a:pt x="3268" y="0"/>
                    <a:pt x="2738" y="0"/>
                  </a:cubicBezTo>
                  <a:cubicBezTo>
                    <a:pt x="1943" y="0"/>
                    <a:pt x="1943" y="0"/>
                    <a:pt x="1943" y="0"/>
                  </a:cubicBezTo>
                  <a:cubicBezTo>
                    <a:pt x="1546" y="0"/>
                    <a:pt x="1546" y="0"/>
                    <a:pt x="1546" y="0"/>
                  </a:cubicBezTo>
                  <a:cubicBezTo>
                    <a:pt x="1347" y="0"/>
                    <a:pt x="1347" y="0"/>
                    <a:pt x="1347" y="0"/>
                  </a:cubicBezTo>
                  <a:cubicBezTo>
                    <a:pt x="1248" y="0"/>
                    <a:pt x="1248" y="0"/>
                    <a:pt x="1248" y="0"/>
                  </a:cubicBezTo>
                  <a:cubicBezTo>
                    <a:pt x="1229" y="0"/>
                    <a:pt x="1180" y="1"/>
                    <a:pt x="1147" y="3"/>
                  </a:cubicBezTo>
                  <a:cubicBezTo>
                    <a:pt x="1112" y="4"/>
                    <a:pt x="1068" y="10"/>
                    <a:pt x="1030" y="15"/>
                  </a:cubicBezTo>
                  <a:cubicBezTo>
                    <a:pt x="990" y="20"/>
                    <a:pt x="943" y="31"/>
                    <a:pt x="901" y="41"/>
                  </a:cubicBezTo>
                  <a:cubicBezTo>
                    <a:pt x="857" y="52"/>
                    <a:pt x="808" y="68"/>
                    <a:pt x="763" y="85"/>
                  </a:cubicBezTo>
                  <a:cubicBezTo>
                    <a:pt x="714" y="104"/>
                    <a:pt x="666" y="126"/>
                    <a:pt x="618" y="152"/>
                  </a:cubicBezTo>
                  <a:cubicBezTo>
                    <a:pt x="569" y="180"/>
                    <a:pt x="522" y="208"/>
                    <a:pt x="477" y="245"/>
                  </a:cubicBezTo>
                  <a:cubicBezTo>
                    <a:pt x="385" y="314"/>
                    <a:pt x="304" y="399"/>
                    <a:pt x="241" y="487"/>
                  </a:cubicBezTo>
                  <a:cubicBezTo>
                    <a:pt x="208" y="532"/>
                    <a:pt x="185" y="574"/>
                    <a:pt x="159" y="620"/>
                  </a:cubicBezTo>
                  <a:cubicBezTo>
                    <a:pt x="135" y="664"/>
                    <a:pt x="118" y="705"/>
                    <a:pt x="99" y="749"/>
                  </a:cubicBezTo>
                  <a:cubicBezTo>
                    <a:pt x="84" y="790"/>
                    <a:pt x="71" y="830"/>
                    <a:pt x="58" y="870"/>
                  </a:cubicBezTo>
                  <a:cubicBezTo>
                    <a:pt x="48" y="908"/>
                    <a:pt x="39" y="945"/>
                    <a:pt x="31" y="983"/>
                  </a:cubicBezTo>
                  <a:cubicBezTo>
                    <a:pt x="25" y="1017"/>
                    <a:pt x="20" y="1051"/>
                    <a:pt x="15" y="1086"/>
                  </a:cubicBezTo>
                  <a:cubicBezTo>
                    <a:pt x="10" y="1122"/>
                    <a:pt x="7" y="1161"/>
                    <a:pt x="4" y="1199"/>
                  </a:cubicBezTo>
                  <a:cubicBezTo>
                    <a:pt x="1" y="1248"/>
                    <a:pt x="2" y="1241"/>
                    <a:pt x="1" y="1265"/>
                  </a:cubicBezTo>
                  <a:cubicBezTo>
                    <a:pt x="1" y="1276"/>
                    <a:pt x="0" y="1342"/>
                    <a:pt x="0" y="1338"/>
                  </a:cubicBezTo>
                  <a:cubicBezTo>
                    <a:pt x="0" y="1437"/>
                    <a:pt x="0" y="1437"/>
                    <a:pt x="0" y="1437"/>
                  </a:cubicBezTo>
                  <a:cubicBezTo>
                    <a:pt x="0" y="2232"/>
                    <a:pt x="0" y="2232"/>
                    <a:pt x="0" y="2232"/>
                  </a:cubicBezTo>
                  <a:cubicBezTo>
                    <a:pt x="0" y="2761"/>
                    <a:pt x="0" y="3291"/>
                    <a:pt x="0" y="3820"/>
                  </a:cubicBezTo>
                  <a:cubicBezTo>
                    <a:pt x="0" y="4879"/>
                    <a:pt x="0" y="5937"/>
                    <a:pt x="0" y="6993"/>
                  </a:cubicBezTo>
                  <a:cubicBezTo>
                    <a:pt x="0" y="9104"/>
                    <a:pt x="0" y="11207"/>
                    <a:pt x="0" y="13294"/>
                  </a:cubicBezTo>
                  <a:cubicBezTo>
                    <a:pt x="1" y="14340"/>
                    <a:pt x="1" y="15382"/>
                    <a:pt x="1" y="16420"/>
                  </a:cubicBezTo>
                  <a:cubicBezTo>
                    <a:pt x="6" y="16724"/>
                    <a:pt x="32" y="17036"/>
                    <a:pt x="103" y="17352"/>
                  </a:cubicBezTo>
                  <a:cubicBezTo>
                    <a:pt x="136" y="17510"/>
                    <a:pt x="185" y="17669"/>
                    <a:pt x="240" y="17825"/>
                  </a:cubicBezTo>
                  <a:cubicBezTo>
                    <a:pt x="298" y="17982"/>
                    <a:pt x="366" y="18137"/>
                    <a:pt x="448" y="18288"/>
                  </a:cubicBezTo>
                  <a:cubicBezTo>
                    <a:pt x="531" y="18437"/>
                    <a:pt x="623" y="18583"/>
                    <a:pt x="730" y="18718"/>
                  </a:cubicBezTo>
                  <a:cubicBezTo>
                    <a:pt x="754" y="18751"/>
                    <a:pt x="787" y="18790"/>
                    <a:pt x="818" y="18826"/>
                  </a:cubicBezTo>
                  <a:cubicBezTo>
                    <a:pt x="865" y="18881"/>
                    <a:pt x="865" y="18881"/>
                    <a:pt x="865" y="18881"/>
                  </a:cubicBezTo>
                  <a:cubicBezTo>
                    <a:pt x="883" y="18902"/>
                    <a:pt x="895" y="18915"/>
                    <a:pt x="905" y="18925"/>
                  </a:cubicBezTo>
                  <a:cubicBezTo>
                    <a:pt x="971" y="18995"/>
                    <a:pt x="971" y="18995"/>
                    <a:pt x="971" y="18995"/>
                  </a:cubicBezTo>
                  <a:cubicBezTo>
                    <a:pt x="1011" y="19037"/>
                    <a:pt x="1009" y="19032"/>
                    <a:pt x="1030" y="19053"/>
                  </a:cubicBezTo>
                  <a:cubicBezTo>
                    <a:pt x="1077" y="19097"/>
                    <a:pt x="1077" y="19097"/>
                    <a:pt x="1077" y="19097"/>
                  </a:cubicBezTo>
                  <a:cubicBezTo>
                    <a:pt x="1202" y="19214"/>
                    <a:pt x="1336" y="19322"/>
                    <a:pt x="1480" y="19416"/>
                  </a:cubicBezTo>
                  <a:cubicBezTo>
                    <a:pt x="1622" y="19512"/>
                    <a:pt x="1772" y="19595"/>
                    <a:pt x="1924" y="19665"/>
                  </a:cubicBezTo>
                  <a:cubicBezTo>
                    <a:pt x="2230" y="19807"/>
                    <a:pt x="2548" y="19896"/>
                    <a:pt x="2858" y="19949"/>
                  </a:cubicBezTo>
                  <a:cubicBezTo>
                    <a:pt x="3162" y="20003"/>
                    <a:pt x="3497" y="20015"/>
                    <a:pt x="3753" y="20013"/>
                  </a:cubicBezTo>
                  <a:cubicBezTo>
                    <a:pt x="4261" y="20013"/>
                    <a:pt x="4768" y="20013"/>
                    <a:pt x="5272" y="20013"/>
                  </a:cubicBezTo>
                  <a:cubicBezTo>
                    <a:pt x="5367" y="20013"/>
                    <a:pt x="5367" y="20013"/>
                    <a:pt x="5367" y="20013"/>
                  </a:cubicBezTo>
                  <a:cubicBezTo>
                    <a:pt x="5414" y="20013"/>
                    <a:pt x="5414" y="20013"/>
                    <a:pt x="5414" y="20013"/>
                  </a:cubicBezTo>
                  <a:cubicBezTo>
                    <a:pt x="5422" y="20014"/>
                    <a:pt x="5476" y="20012"/>
                    <a:pt x="5504" y="20011"/>
                  </a:cubicBezTo>
                  <a:cubicBezTo>
                    <a:pt x="5644" y="20003"/>
                    <a:pt x="5815" y="19976"/>
                    <a:pt x="6001" y="19886"/>
                  </a:cubicBezTo>
                  <a:cubicBezTo>
                    <a:pt x="6092" y="19841"/>
                    <a:pt x="6184" y="19779"/>
                    <a:pt x="6266" y="19706"/>
                  </a:cubicBezTo>
                  <a:cubicBezTo>
                    <a:pt x="6346" y="19632"/>
                    <a:pt x="6415" y="19547"/>
                    <a:pt x="6466" y="19463"/>
                  </a:cubicBezTo>
                  <a:cubicBezTo>
                    <a:pt x="6571" y="19294"/>
                    <a:pt x="6615" y="19135"/>
                    <a:pt x="6640" y="19003"/>
                  </a:cubicBezTo>
                  <a:cubicBezTo>
                    <a:pt x="6645" y="18970"/>
                    <a:pt x="6650" y="18939"/>
                    <a:pt x="6654" y="18904"/>
                  </a:cubicBezTo>
                  <a:cubicBezTo>
                    <a:pt x="6658" y="18868"/>
                    <a:pt x="6661" y="18831"/>
                    <a:pt x="6663" y="18795"/>
                  </a:cubicBezTo>
                  <a:cubicBezTo>
                    <a:pt x="6665" y="18743"/>
                    <a:pt x="6665" y="18743"/>
                    <a:pt x="6665" y="18743"/>
                  </a:cubicBezTo>
                  <a:cubicBezTo>
                    <a:pt x="6665" y="18673"/>
                    <a:pt x="6665" y="18673"/>
                    <a:pt x="6665" y="18673"/>
                  </a:cubicBezTo>
                  <a:cubicBezTo>
                    <a:pt x="6665" y="18484"/>
                    <a:pt x="6665" y="18484"/>
                    <a:pt x="6665" y="18484"/>
                  </a:cubicBezTo>
                  <a:cubicBezTo>
                    <a:pt x="6665" y="18359"/>
                    <a:pt x="6665" y="18234"/>
                    <a:pt x="6665" y="18108"/>
                  </a:cubicBezTo>
                  <a:cubicBezTo>
                    <a:pt x="6665" y="17608"/>
                    <a:pt x="6665" y="17109"/>
                    <a:pt x="6665" y="16612"/>
                  </a:cubicBezTo>
                  <a:cubicBezTo>
                    <a:pt x="6665" y="15618"/>
                    <a:pt x="6665" y="14633"/>
                    <a:pt x="6665" y="13657"/>
                  </a:cubicBezTo>
                  <a:cubicBezTo>
                    <a:pt x="6666" y="13538"/>
                    <a:pt x="6666" y="13418"/>
                    <a:pt x="6666" y="13299"/>
                  </a:cubicBezTo>
                  <a:cubicBezTo>
                    <a:pt x="6667" y="13203"/>
                    <a:pt x="6672" y="13110"/>
                    <a:pt x="6683" y="13020"/>
                  </a:cubicBezTo>
                  <a:cubicBezTo>
                    <a:pt x="6703" y="12838"/>
                    <a:pt x="6744" y="12671"/>
                    <a:pt x="6804" y="12516"/>
                  </a:cubicBezTo>
                  <a:cubicBezTo>
                    <a:pt x="6833" y="12439"/>
                    <a:pt x="6869" y="12366"/>
                    <a:pt x="6908" y="12295"/>
                  </a:cubicBezTo>
                  <a:cubicBezTo>
                    <a:pt x="6950" y="12225"/>
                    <a:pt x="6993" y="12157"/>
                    <a:pt x="7044" y="12093"/>
                  </a:cubicBezTo>
                  <a:cubicBezTo>
                    <a:pt x="7057" y="12075"/>
                    <a:pt x="7066" y="12065"/>
                    <a:pt x="7077" y="12052"/>
                  </a:cubicBezTo>
                  <a:cubicBezTo>
                    <a:pt x="7092" y="12034"/>
                    <a:pt x="7092" y="12034"/>
                    <a:pt x="7092" y="12034"/>
                  </a:cubicBezTo>
                  <a:cubicBezTo>
                    <a:pt x="7095" y="12028"/>
                    <a:pt x="7102" y="12021"/>
                    <a:pt x="7114" y="12008"/>
                  </a:cubicBezTo>
                  <a:cubicBezTo>
                    <a:pt x="7175" y="11942"/>
                    <a:pt x="7175" y="11942"/>
                    <a:pt x="7175" y="11942"/>
                  </a:cubicBezTo>
                  <a:cubicBezTo>
                    <a:pt x="7189" y="11927"/>
                    <a:pt x="7169" y="11948"/>
                    <a:pt x="7188" y="11930"/>
                  </a:cubicBezTo>
                  <a:cubicBezTo>
                    <a:pt x="7210" y="11908"/>
                    <a:pt x="7210" y="11908"/>
                    <a:pt x="7210" y="11908"/>
                  </a:cubicBezTo>
                  <a:cubicBezTo>
                    <a:pt x="7270" y="11849"/>
                    <a:pt x="7332" y="11797"/>
                    <a:pt x="7397" y="11750"/>
                  </a:cubicBezTo>
                  <a:cubicBezTo>
                    <a:pt x="7525" y="11655"/>
                    <a:pt x="7665" y="11584"/>
                    <a:pt x="7816" y="11531"/>
                  </a:cubicBezTo>
                  <a:cubicBezTo>
                    <a:pt x="7893" y="11507"/>
                    <a:pt x="7970" y="11483"/>
                    <a:pt x="8053" y="11468"/>
                  </a:cubicBezTo>
                  <a:cubicBezTo>
                    <a:pt x="8093" y="11458"/>
                    <a:pt x="8137" y="11455"/>
                    <a:pt x="8178" y="11447"/>
                  </a:cubicBezTo>
                  <a:cubicBezTo>
                    <a:pt x="8243" y="11440"/>
                    <a:pt x="8243" y="11440"/>
                    <a:pt x="8243" y="11440"/>
                  </a:cubicBezTo>
                  <a:cubicBezTo>
                    <a:pt x="8265" y="11437"/>
                    <a:pt x="8286" y="11435"/>
                    <a:pt x="8303" y="11435"/>
                  </a:cubicBezTo>
                  <a:cubicBezTo>
                    <a:pt x="8359" y="11431"/>
                    <a:pt x="8359" y="11431"/>
                    <a:pt x="8359" y="11431"/>
                  </a:cubicBezTo>
                  <a:cubicBezTo>
                    <a:pt x="8365" y="11430"/>
                    <a:pt x="8385" y="11430"/>
                    <a:pt x="8398" y="11429"/>
                  </a:cubicBezTo>
                  <a:cubicBezTo>
                    <a:pt x="8443" y="11428"/>
                    <a:pt x="8443" y="11428"/>
                    <a:pt x="8443" y="11428"/>
                  </a:cubicBezTo>
                  <a:cubicBezTo>
                    <a:pt x="8487" y="11427"/>
                    <a:pt x="8487" y="11427"/>
                    <a:pt x="8487" y="11427"/>
                  </a:cubicBezTo>
                  <a:cubicBezTo>
                    <a:pt x="8518" y="11427"/>
                    <a:pt x="8495" y="11427"/>
                    <a:pt x="8510" y="11427"/>
                  </a:cubicBezTo>
                  <a:cubicBezTo>
                    <a:pt x="8580" y="11428"/>
                    <a:pt x="8580" y="11428"/>
                    <a:pt x="8580" y="11428"/>
                  </a:cubicBezTo>
                  <a:cubicBezTo>
                    <a:pt x="8674" y="11431"/>
                    <a:pt x="8767" y="11438"/>
                    <a:pt x="8859" y="11449"/>
                  </a:cubicBezTo>
                  <a:cubicBezTo>
                    <a:pt x="9045" y="11471"/>
                    <a:pt x="9228" y="11510"/>
                    <a:pt x="9408" y="11564"/>
                  </a:cubicBezTo>
                  <a:cubicBezTo>
                    <a:pt x="9498" y="11592"/>
                    <a:pt x="9587" y="11623"/>
                    <a:pt x="9675" y="11658"/>
                  </a:cubicBezTo>
                  <a:cubicBezTo>
                    <a:pt x="9718" y="11676"/>
                    <a:pt x="9747" y="11686"/>
                    <a:pt x="9807" y="11713"/>
                  </a:cubicBezTo>
                  <a:cubicBezTo>
                    <a:pt x="9875" y="11743"/>
                    <a:pt x="9875" y="11743"/>
                    <a:pt x="9875" y="11743"/>
                  </a:cubicBezTo>
                  <a:cubicBezTo>
                    <a:pt x="9946" y="11776"/>
                    <a:pt x="9946" y="11776"/>
                    <a:pt x="9946" y="11776"/>
                  </a:cubicBezTo>
                  <a:cubicBezTo>
                    <a:pt x="10134" y="11866"/>
                    <a:pt x="10318" y="11963"/>
                    <a:pt x="10498" y="12068"/>
                  </a:cubicBezTo>
                  <a:cubicBezTo>
                    <a:pt x="10678" y="12173"/>
                    <a:pt x="10853" y="12286"/>
                    <a:pt x="11023" y="12405"/>
                  </a:cubicBezTo>
                  <a:cubicBezTo>
                    <a:pt x="11148" y="12494"/>
                    <a:pt x="11148" y="12494"/>
                    <a:pt x="11148" y="12494"/>
                  </a:cubicBezTo>
                  <a:cubicBezTo>
                    <a:pt x="11279" y="12591"/>
                    <a:pt x="11279" y="12591"/>
                    <a:pt x="11279" y="12591"/>
                  </a:cubicBezTo>
                  <a:cubicBezTo>
                    <a:pt x="11404" y="12687"/>
                    <a:pt x="11404" y="12687"/>
                    <a:pt x="11404" y="12687"/>
                  </a:cubicBezTo>
                  <a:cubicBezTo>
                    <a:pt x="11531" y="12788"/>
                    <a:pt x="11531" y="12788"/>
                    <a:pt x="11531" y="12788"/>
                  </a:cubicBezTo>
                  <a:cubicBezTo>
                    <a:pt x="11869" y="13056"/>
                    <a:pt x="12193" y="13339"/>
                    <a:pt x="12502" y="13631"/>
                  </a:cubicBezTo>
                  <a:cubicBezTo>
                    <a:pt x="12663" y="13786"/>
                    <a:pt x="12824" y="13941"/>
                    <a:pt x="12984" y="14095"/>
                  </a:cubicBezTo>
                  <a:cubicBezTo>
                    <a:pt x="13148" y="14252"/>
                    <a:pt x="13314" y="14407"/>
                    <a:pt x="13481" y="14560"/>
                  </a:cubicBezTo>
                  <a:cubicBezTo>
                    <a:pt x="13564" y="14637"/>
                    <a:pt x="13648" y="14713"/>
                    <a:pt x="13732" y="14789"/>
                  </a:cubicBezTo>
                  <a:cubicBezTo>
                    <a:pt x="13813" y="14861"/>
                    <a:pt x="13894" y="14934"/>
                    <a:pt x="13975" y="15006"/>
                  </a:cubicBezTo>
                  <a:cubicBezTo>
                    <a:pt x="14137" y="15154"/>
                    <a:pt x="14299" y="15301"/>
                    <a:pt x="14460" y="15447"/>
                  </a:cubicBezTo>
                  <a:cubicBezTo>
                    <a:pt x="14781" y="15740"/>
                    <a:pt x="15100" y="16030"/>
                    <a:pt x="15416" y="16318"/>
                  </a:cubicBezTo>
                  <a:cubicBezTo>
                    <a:pt x="15744" y="16619"/>
                    <a:pt x="16078" y="16908"/>
                    <a:pt x="16421" y="17184"/>
                  </a:cubicBezTo>
                  <a:cubicBezTo>
                    <a:pt x="16507" y="17253"/>
                    <a:pt x="16592" y="17320"/>
                    <a:pt x="16681" y="17389"/>
                  </a:cubicBezTo>
                  <a:cubicBezTo>
                    <a:pt x="16809" y="17487"/>
                    <a:pt x="16809" y="17487"/>
                    <a:pt x="16809" y="17487"/>
                  </a:cubicBezTo>
                  <a:cubicBezTo>
                    <a:pt x="16947" y="17590"/>
                    <a:pt x="16947" y="17590"/>
                    <a:pt x="16947" y="17590"/>
                  </a:cubicBezTo>
                  <a:cubicBezTo>
                    <a:pt x="17131" y="17726"/>
                    <a:pt x="17322" y="17855"/>
                    <a:pt x="17518" y="17976"/>
                  </a:cubicBezTo>
                  <a:cubicBezTo>
                    <a:pt x="17715" y="18097"/>
                    <a:pt x="17918" y="18209"/>
                    <a:pt x="18126" y="18311"/>
                  </a:cubicBezTo>
                  <a:cubicBezTo>
                    <a:pt x="18209" y="18351"/>
                    <a:pt x="18209" y="18351"/>
                    <a:pt x="18209" y="18351"/>
                  </a:cubicBezTo>
                  <a:cubicBezTo>
                    <a:pt x="18284" y="18386"/>
                    <a:pt x="18284" y="18386"/>
                    <a:pt x="18284" y="18386"/>
                  </a:cubicBezTo>
                  <a:cubicBezTo>
                    <a:pt x="18365" y="18422"/>
                    <a:pt x="18365" y="18422"/>
                    <a:pt x="18365" y="18422"/>
                  </a:cubicBezTo>
                  <a:cubicBezTo>
                    <a:pt x="18451" y="18459"/>
                    <a:pt x="18451" y="18459"/>
                    <a:pt x="18451" y="18459"/>
                  </a:cubicBezTo>
                  <a:cubicBezTo>
                    <a:pt x="18566" y="18507"/>
                    <a:pt x="18684" y="18549"/>
                    <a:pt x="18803" y="18587"/>
                  </a:cubicBezTo>
                  <a:cubicBezTo>
                    <a:pt x="19041" y="18663"/>
                    <a:pt x="19286" y="18716"/>
                    <a:pt x="19531" y="18749"/>
                  </a:cubicBezTo>
                  <a:cubicBezTo>
                    <a:pt x="19654" y="18765"/>
                    <a:pt x="19774" y="18776"/>
                    <a:pt x="19899" y="18782"/>
                  </a:cubicBezTo>
                  <a:cubicBezTo>
                    <a:pt x="19998" y="18785"/>
                    <a:pt x="19998" y="18785"/>
                    <a:pt x="19998" y="18785"/>
                  </a:cubicBezTo>
                  <a:cubicBezTo>
                    <a:pt x="20075" y="18786"/>
                    <a:pt x="20075" y="18786"/>
                    <a:pt x="20075" y="18786"/>
                  </a:cubicBezTo>
                  <a:cubicBezTo>
                    <a:pt x="20125" y="18787"/>
                    <a:pt x="20125" y="18787"/>
                    <a:pt x="20125" y="18787"/>
                  </a:cubicBezTo>
                  <a:cubicBezTo>
                    <a:pt x="20171" y="18786"/>
                    <a:pt x="20171" y="18786"/>
                    <a:pt x="20171" y="18786"/>
                  </a:cubicBezTo>
                  <a:cubicBezTo>
                    <a:pt x="20201" y="18786"/>
                    <a:pt x="20231" y="18785"/>
                    <a:pt x="20261" y="18784"/>
                  </a:cubicBezTo>
                  <a:cubicBezTo>
                    <a:pt x="20746" y="18768"/>
                    <a:pt x="21231" y="18669"/>
                    <a:pt x="21677" y="18495"/>
                  </a:cubicBezTo>
                  <a:cubicBezTo>
                    <a:pt x="21768" y="18459"/>
                    <a:pt x="21768" y="18459"/>
                    <a:pt x="21768" y="18459"/>
                  </a:cubicBezTo>
                  <a:cubicBezTo>
                    <a:pt x="21840" y="18428"/>
                    <a:pt x="21840" y="18428"/>
                    <a:pt x="21840" y="18428"/>
                  </a:cubicBezTo>
                  <a:cubicBezTo>
                    <a:pt x="21882" y="18410"/>
                    <a:pt x="21882" y="18410"/>
                    <a:pt x="21882" y="18410"/>
                  </a:cubicBezTo>
                  <a:cubicBezTo>
                    <a:pt x="21920" y="18392"/>
                    <a:pt x="21920" y="18392"/>
                    <a:pt x="21920" y="18392"/>
                  </a:cubicBezTo>
                  <a:cubicBezTo>
                    <a:pt x="21995" y="18358"/>
                    <a:pt x="21995" y="18358"/>
                    <a:pt x="21995" y="18358"/>
                  </a:cubicBezTo>
                  <a:cubicBezTo>
                    <a:pt x="22095" y="18311"/>
                    <a:pt x="22192" y="18262"/>
                    <a:pt x="22288" y="18211"/>
                  </a:cubicBezTo>
                  <a:cubicBezTo>
                    <a:pt x="22480" y="18110"/>
                    <a:pt x="22664" y="18001"/>
                    <a:pt x="22842" y="17886"/>
                  </a:cubicBezTo>
                  <a:cubicBezTo>
                    <a:pt x="23019" y="17772"/>
                    <a:pt x="23190" y="17653"/>
                    <a:pt x="23356" y="17528"/>
                  </a:cubicBezTo>
                  <a:cubicBezTo>
                    <a:pt x="23516" y="17407"/>
                    <a:pt x="23668" y="17288"/>
                    <a:pt x="23819" y="17166"/>
                  </a:cubicBezTo>
                  <a:cubicBezTo>
                    <a:pt x="24121" y="16922"/>
                    <a:pt x="24410" y="16674"/>
                    <a:pt x="24689" y="16421"/>
                  </a:cubicBezTo>
                  <a:cubicBezTo>
                    <a:pt x="25223" y="15935"/>
                    <a:pt x="25742" y="15462"/>
                    <a:pt x="26247" y="15003"/>
                  </a:cubicBezTo>
                  <a:cubicBezTo>
                    <a:pt x="26512" y="14769"/>
                    <a:pt x="26767" y="14535"/>
                    <a:pt x="27015" y="14302"/>
                  </a:cubicBezTo>
                  <a:cubicBezTo>
                    <a:pt x="27138" y="14185"/>
                    <a:pt x="27260" y="14069"/>
                    <a:pt x="27381" y="13954"/>
                  </a:cubicBezTo>
                  <a:cubicBezTo>
                    <a:pt x="27498" y="13842"/>
                    <a:pt x="27613" y="13730"/>
                    <a:pt x="27727" y="13620"/>
                  </a:cubicBezTo>
                  <a:cubicBezTo>
                    <a:pt x="27950" y="13410"/>
                    <a:pt x="28176" y="13209"/>
                    <a:pt x="28403" y="13019"/>
                  </a:cubicBezTo>
                  <a:cubicBezTo>
                    <a:pt x="28517" y="12924"/>
                    <a:pt x="28631" y="12832"/>
                    <a:pt x="28745" y="12742"/>
                  </a:cubicBezTo>
                  <a:cubicBezTo>
                    <a:pt x="28803" y="12697"/>
                    <a:pt x="28861" y="12652"/>
                    <a:pt x="28919" y="12607"/>
                  </a:cubicBezTo>
                  <a:cubicBezTo>
                    <a:pt x="28972" y="12567"/>
                    <a:pt x="29029" y="12524"/>
                    <a:pt x="29084" y="12484"/>
                  </a:cubicBezTo>
                  <a:cubicBezTo>
                    <a:pt x="29306" y="12323"/>
                    <a:pt x="29531" y="12177"/>
                    <a:pt x="29758" y="12046"/>
                  </a:cubicBezTo>
                  <a:cubicBezTo>
                    <a:pt x="29871" y="11981"/>
                    <a:pt x="29985" y="11919"/>
                    <a:pt x="30099" y="11861"/>
                  </a:cubicBezTo>
                  <a:cubicBezTo>
                    <a:pt x="30185" y="11819"/>
                    <a:pt x="30185" y="11819"/>
                    <a:pt x="30185" y="11819"/>
                  </a:cubicBezTo>
                  <a:cubicBezTo>
                    <a:pt x="30266" y="11780"/>
                    <a:pt x="30266" y="11780"/>
                    <a:pt x="30266" y="11780"/>
                  </a:cubicBezTo>
                  <a:cubicBezTo>
                    <a:pt x="30361" y="11735"/>
                    <a:pt x="30361" y="11735"/>
                    <a:pt x="30361" y="11735"/>
                  </a:cubicBezTo>
                  <a:cubicBezTo>
                    <a:pt x="30437" y="11701"/>
                    <a:pt x="30437" y="11701"/>
                    <a:pt x="30437" y="11701"/>
                  </a:cubicBezTo>
                  <a:cubicBezTo>
                    <a:pt x="30859" y="11519"/>
                    <a:pt x="31278" y="11432"/>
                    <a:pt x="31688" y="11428"/>
                  </a:cubicBezTo>
                  <a:cubicBezTo>
                    <a:pt x="32087" y="11423"/>
                    <a:pt x="32417" y="11504"/>
                    <a:pt x="32680" y="11658"/>
                  </a:cubicBezTo>
                  <a:cubicBezTo>
                    <a:pt x="32746" y="11696"/>
                    <a:pt x="32809" y="11738"/>
                    <a:pt x="32869" y="11786"/>
                  </a:cubicBezTo>
                  <a:cubicBezTo>
                    <a:pt x="32913" y="11821"/>
                    <a:pt x="32913" y="11821"/>
                    <a:pt x="32913" y="11821"/>
                  </a:cubicBezTo>
                  <a:cubicBezTo>
                    <a:pt x="32946" y="11850"/>
                    <a:pt x="32946" y="11850"/>
                    <a:pt x="32946" y="11850"/>
                  </a:cubicBezTo>
                  <a:cubicBezTo>
                    <a:pt x="32964" y="11865"/>
                    <a:pt x="32964" y="11865"/>
                    <a:pt x="32964" y="11865"/>
                  </a:cubicBezTo>
                  <a:cubicBezTo>
                    <a:pt x="32993" y="11894"/>
                    <a:pt x="32993" y="11894"/>
                    <a:pt x="32993" y="11894"/>
                  </a:cubicBezTo>
                  <a:cubicBezTo>
                    <a:pt x="33046" y="11945"/>
                    <a:pt x="33046" y="11945"/>
                    <a:pt x="33046" y="11945"/>
                  </a:cubicBezTo>
                  <a:cubicBezTo>
                    <a:pt x="33044" y="11943"/>
                    <a:pt x="33043" y="11942"/>
                    <a:pt x="33049" y="11949"/>
                  </a:cubicBezTo>
                  <a:cubicBezTo>
                    <a:pt x="33059" y="11959"/>
                    <a:pt x="33059" y="11959"/>
                    <a:pt x="33059" y="11959"/>
                  </a:cubicBezTo>
                  <a:cubicBezTo>
                    <a:pt x="33078" y="11980"/>
                    <a:pt x="33078" y="11980"/>
                    <a:pt x="33078" y="11980"/>
                  </a:cubicBezTo>
                  <a:cubicBezTo>
                    <a:pt x="33091" y="11994"/>
                    <a:pt x="33105" y="12007"/>
                    <a:pt x="33116" y="12022"/>
                  </a:cubicBezTo>
                  <a:cubicBezTo>
                    <a:pt x="33140" y="12050"/>
                    <a:pt x="33165" y="12078"/>
                    <a:pt x="33185" y="12107"/>
                  </a:cubicBezTo>
                  <a:cubicBezTo>
                    <a:pt x="33230" y="12164"/>
                    <a:pt x="33267" y="12224"/>
                    <a:pt x="33303" y="12284"/>
                  </a:cubicBezTo>
                  <a:cubicBezTo>
                    <a:pt x="33442" y="12524"/>
                    <a:pt x="33513" y="12788"/>
                    <a:pt x="33540" y="13059"/>
                  </a:cubicBezTo>
                  <a:cubicBezTo>
                    <a:pt x="33544" y="13094"/>
                    <a:pt x="33545" y="13123"/>
                    <a:pt x="33547" y="13152"/>
                  </a:cubicBezTo>
                  <a:cubicBezTo>
                    <a:pt x="33550" y="13195"/>
                    <a:pt x="33550" y="13195"/>
                    <a:pt x="33550" y="13195"/>
                  </a:cubicBezTo>
                  <a:cubicBezTo>
                    <a:pt x="33551" y="13217"/>
                    <a:pt x="33551" y="13238"/>
                    <a:pt x="33552" y="13260"/>
                  </a:cubicBezTo>
                  <a:cubicBezTo>
                    <a:pt x="33552" y="13282"/>
                    <a:pt x="33552" y="13303"/>
                    <a:pt x="33553" y="13325"/>
                  </a:cubicBezTo>
                  <a:cubicBezTo>
                    <a:pt x="33553" y="13333"/>
                    <a:pt x="33553" y="13333"/>
                    <a:pt x="33553" y="13333"/>
                  </a:cubicBezTo>
                  <a:cubicBezTo>
                    <a:pt x="33553" y="13337"/>
                    <a:pt x="33553" y="13341"/>
                    <a:pt x="33553" y="13341"/>
                  </a:cubicBezTo>
                  <a:cubicBezTo>
                    <a:pt x="33553" y="13373"/>
                    <a:pt x="33553" y="13373"/>
                    <a:pt x="33553" y="13373"/>
                  </a:cubicBezTo>
                  <a:cubicBezTo>
                    <a:pt x="33553" y="13415"/>
                    <a:pt x="33553" y="13457"/>
                    <a:pt x="33553" y="13499"/>
                  </a:cubicBezTo>
                  <a:cubicBezTo>
                    <a:pt x="33553" y="13665"/>
                    <a:pt x="33553" y="13825"/>
                    <a:pt x="33553" y="13978"/>
                  </a:cubicBezTo>
                  <a:cubicBezTo>
                    <a:pt x="33553" y="14283"/>
                    <a:pt x="33553" y="14560"/>
                    <a:pt x="33553" y="14809"/>
                  </a:cubicBezTo>
                  <a:cubicBezTo>
                    <a:pt x="33553" y="15802"/>
                    <a:pt x="33553" y="16360"/>
                    <a:pt x="33553" y="16360"/>
                  </a:cubicBezTo>
                  <a:cubicBezTo>
                    <a:pt x="33553" y="16360"/>
                    <a:pt x="33553" y="16360"/>
                    <a:pt x="33553" y="16360"/>
                  </a:cubicBezTo>
                  <a:cubicBezTo>
                    <a:pt x="33553" y="16370"/>
                    <a:pt x="33554" y="16408"/>
                    <a:pt x="33555" y="16472"/>
                  </a:cubicBezTo>
                  <a:cubicBezTo>
                    <a:pt x="33556" y="16549"/>
                    <a:pt x="33560" y="16664"/>
                    <a:pt x="33574" y="16819"/>
                  </a:cubicBezTo>
                  <a:cubicBezTo>
                    <a:pt x="33587" y="16972"/>
                    <a:pt x="33613" y="17167"/>
                    <a:pt x="33667" y="17399"/>
                  </a:cubicBezTo>
                  <a:cubicBezTo>
                    <a:pt x="33722" y="17630"/>
                    <a:pt x="33803" y="17903"/>
                    <a:pt x="33953" y="18197"/>
                  </a:cubicBezTo>
                  <a:cubicBezTo>
                    <a:pt x="34025" y="18344"/>
                    <a:pt x="34119" y="18494"/>
                    <a:pt x="34227" y="18645"/>
                  </a:cubicBezTo>
                  <a:cubicBezTo>
                    <a:pt x="34255" y="18682"/>
                    <a:pt x="34284" y="18720"/>
                    <a:pt x="34313" y="18758"/>
                  </a:cubicBezTo>
                  <a:cubicBezTo>
                    <a:pt x="34347" y="18799"/>
                    <a:pt x="34382" y="18840"/>
                    <a:pt x="34418" y="18882"/>
                  </a:cubicBezTo>
                  <a:cubicBezTo>
                    <a:pt x="34444" y="18911"/>
                    <a:pt x="34444" y="18911"/>
                    <a:pt x="34444" y="18911"/>
                  </a:cubicBezTo>
                  <a:cubicBezTo>
                    <a:pt x="34462" y="18931"/>
                    <a:pt x="34462" y="18931"/>
                    <a:pt x="34462" y="18931"/>
                  </a:cubicBezTo>
                  <a:cubicBezTo>
                    <a:pt x="34501" y="18971"/>
                    <a:pt x="34501" y="18971"/>
                    <a:pt x="34501" y="18971"/>
                  </a:cubicBezTo>
                  <a:cubicBezTo>
                    <a:pt x="34520" y="18991"/>
                    <a:pt x="34520" y="18991"/>
                    <a:pt x="34520" y="18991"/>
                  </a:cubicBezTo>
                  <a:cubicBezTo>
                    <a:pt x="34530" y="19002"/>
                    <a:pt x="34530" y="19002"/>
                    <a:pt x="34530" y="19002"/>
                  </a:cubicBezTo>
                  <a:cubicBezTo>
                    <a:pt x="34564" y="19037"/>
                    <a:pt x="34547" y="19019"/>
                    <a:pt x="34558" y="19030"/>
                  </a:cubicBezTo>
                  <a:cubicBezTo>
                    <a:pt x="34576" y="19048"/>
                    <a:pt x="34595" y="19065"/>
                    <a:pt x="34613" y="19083"/>
                  </a:cubicBezTo>
                  <a:cubicBezTo>
                    <a:pt x="34908" y="19363"/>
                    <a:pt x="35296" y="19614"/>
                    <a:pt x="35736" y="19772"/>
                  </a:cubicBezTo>
                  <a:cubicBezTo>
                    <a:pt x="36174" y="19933"/>
                    <a:pt x="36660" y="20007"/>
                    <a:pt x="37137" y="20012"/>
                  </a:cubicBezTo>
                  <a:cubicBezTo>
                    <a:pt x="37554" y="20013"/>
                    <a:pt x="37998" y="20013"/>
                    <a:pt x="38467" y="20013"/>
                  </a:cubicBezTo>
                  <a:cubicBezTo>
                    <a:pt x="38583" y="20013"/>
                    <a:pt x="38700" y="20013"/>
                    <a:pt x="38819" y="20013"/>
                  </a:cubicBezTo>
                  <a:cubicBezTo>
                    <a:pt x="38909" y="20013"/>
                    <a:pt x="38909" y="20013"/>
                    <a:pt x="38909" y="20013"/>
                  </a:cubicBezTo>
                  <a:cubicBezTo>
                    <a:pt x="38954" y="20013"/>
                    <a:pt x="38954" y="20013"/>
                    <a:pt x="38954" y="20013"/>
                  </a:cubicBezTo>
                  <a:cubicBezTo>
                    <a:pt x="38976" y="20013"/>
                    <a:pt x="38976" y="20013"/>
                    <a:pt x="38976" y="20013"/>
                  </a:cubicBezTo>
                  <a:cubicBezTo>
                    <a:pt x="39024" y="20012"/>
                    <a:pt x="39024" y="20012"/>
                    <a:pt x="39024" y="20012"/>
                  </a:cubicBezTo>
                  <a:cubicBezTo>
                    <a:pt x="39153" y="20008"/>
                    <a:pt x="39310" y="19989"/>
                    <a:pt x="39489" y="19915"/>
                  </a:cubicBezTo>
                  <a:cubicBezTo>
                    <a:pt x="39577" y="19878"/>
                    <a:pt x="39669" y="19827"/>
                    <a:pt x="39752" y="19761"/>
                  </a:cubicBezTo>
                  <a:cubicBezTo>
                    <a:pt x="39795" y="19728"/>
                    <a:pt x="39834" y="19692"/>
                    <a:pt x="39871" y="19654"/>
                  </a:cubicBezTo>
                  <a:cubicBezTo>
                    <a:pt x="39909" y="19615"/>
                    <a:pt x="39941" y="19575"/>
                    <a:pt x="39971" y="19534"/>
                  </a:cubicBezTo>
                  <a:cubicBezTo>
                    <a:pt x="40092" y="19368"/>
                    <a:pt x="40149" y="19202"/>
                    <a:pt x="40179" y="19065"/>
                  </a:cubicBezTo>
                  <a:cubicBezTo>
                    <a:pt x="40195" y="18992"/>
                    <a:pt x="40204" y="18939"/>
                    <a:pt x="40211" y="18862"/>
                  </a:cubicBezTo>
                  <a:cubicBezTo>
                    <a:pt x="40215" y="18807"/>
                    <a:pt x="40215" y="18807"/>
                    <a:pt x="40215" y="18807"/>
                  </a:cubicBezTo>
                  <a:cubicBezTo>
                    <a:pt x="40216" y="18785"/>
                    <a:pt x="40216" y="18779"/>
                    <a:pt x="40216" y="18771"/>
                  </a:cubicBezTo>
                  <a:cubicBezTo>
                    <a:pt x="40218" y="18701"/>
                    <a:pt x="40218" y="18701"/>
                    <a:pt x="40218" y="18701"/>
                  </a:cubicBezTo>
                  <a:cubicBezTo>
                    <a:pt x="40218" y="18638"/>
                    <a:pt x="40218" y="18574"/>
                    <a:pt x="40218" y="18510"/>
                  </a:cubicBezTo>
                  <a:cubicBezTo>
                    <a:pt x="40218" y="17998"/>
                    <a:pt x="40218" y="17462"/>
                    <a:pt x="40218" y="16903"/>
                  </a:cubicBezTo>
                  <a:cubicBezTo>
                    <a:pt x="40218" y="15785"/>
                    <a:pt x="40218" y="14576"/>
                    <a:pt x="40218" y="13284"/>
                  </a:cubicBezTo>
                  <a:cubicBezTo>
                    <a:pt x="40218" y="10701"/>
                    <a:pt x="40218" y="7787"/>
                    <a:pt x="40218" y="4607"/>
                  </a:cubicBezTo>
                  <a:cubicBezTo>
                    <a:pt x="40218" y="4408"/>
                    <a:pt x="40218" y="4209"/>
                    <a:pt x="40218" y="4008"/>
                  </a:cubicBezTo>
                  <a:cubicBezTo>
                    <a:pt x="40218" y="3907"/>
                    <a:pt x="40218" y="3807"/>
                    <a:pt x="40218" y="3706"/>
                  </a:cubicBezTo>
                  <a:cubicBezTo>
                    <a:pt x="40218" y="3660"/>
                    <a:pt x="40217" y="3594"/>
                    <a:pt x="40216" y="3536"/>
                  </a:cubicBezTo>
                  <a:close/>
                  <a:moveTo>
                    <a:pt x="33929" y="1616"/>
                  </a:moveTo>
                  <a:cubicBezTo>
                    <a:pt x="33935" y="1613"/>
                    <a:pt x="33941" y="1610"/>
                    <a:pt x="33931" y="1615"/>
                  </a:cubicBezTo>
                  <a:cubicBezTo>
                    <a:pt x="33930" y="1616"/>
                    <a:pt x="33929" y="1616"/>
                    <a:pt x="33929" y="1616"/>
                  </a:cubicBezTo>
                  <a:close/>
                  <a:moveTo>
                    <a:pt x="1615" y="1278"/>
                  </a:moveTo>
                  <a:cubicBezTo>
                    <a:pt x="1615" y="1282"/>
                    <a:pt x="1614" y="1289"/>
                    <a:pt x="1614" y="1292"/>
                  </a:cubicBezTo>
                  <a:cubicBezTo>
                    <a:pt x="1614" y="1292"/>
                    <a:pt x="1614" y="1292"/>
                    <a:pt x="1614" y="1292"/>
                  </a:cubicBezTo>
                  <a:cubicBezTo>
                    <a:pt x="1614" y="1279"/>
                    <a:pt x="1614" y="1268"/>
                    <a:pt x="1615" y="1278"/>
                  </a:cubicBezTo>
                  <a:close/>
                  <a:moveTo>
                    <a:pt x="5416" y="18401"/>
                  </a:moveTo>
                  <a:cubicBezTo>
                    <a:pt x="5416" y="18401"/>
                    <a:pt x="5418" y="18401"/>
                    <a:pt x="5419" y="18401"/>
                  </a:cubicBezTo>
                  <a:cubicBezTo>
                    <a:pt x="5416" y="18400"/>
                    <a:pt x="5436" y="18401"/>
                    <a:pt x="5416" y="18401"/>
                  </a:cubicBezTo>
                  <a:close/>
                  <a:moveTo>
                    <a:pt x="37166" y="18400"/>
                  </a:moveTo>
                  <a:cubicBezTo>
                    <a:pt x="36817" y="18396"/>
                    <a:pt x="36528" y="18345"/>
                    <a:pt x="36289" y="18258"/>
                  </a:cubicBezTo>
                  <a:cubicBezTo>
                    <a:pt x="36050" y="18171"/>
                    <a:pt x="35868" y="18050"/>
                    <a:pt x="35720" y="17910"/>
                  </a:cubicBezTo>
                  <a:cubicBezTo>
                    <a:pt x="35693" y="17884"/>
                    <a:pt x="35693" y="17884"/>
                    <a:pt x="35693" y="17884"/>
                  </a:cubicBezTo>
                  <a:cubicBezTo>
                    <a:pt x="35694" y="17886"/>
                    <a:pt x="35692" y="17884"/>
                    <a:pt x="35690" y="17882"/>
                  </a:cubicBezTo>
                  <a:cubicBezTo>
                    <a:pt x="35672" y="17863"/>
                    <a:pt x="35672" y="17863"/>
                    <a:pt x="35672" y="17863"/>
                  </a:cubicBezTo>
                  <a:cubicBezTo>
                    <a:pt x="35634" y="17822"/>
                    <a:pt x="35634" y="17822"/>
                    <a:pt x="35634" y="17822"/>
                  </a:cubicBezTo>
                  <a:cubicBezTo>
                    <a:pt x="35615" y="17802"/>
                    <a:pt x="35615" y="17802"/>
                    <a:pt x="35615" y="17802"/>
                  </a:cubicBezTo>
                  <a:cubicBezTo>
                    <a:pt x="35608" y="17795"/>
                    <a:pt x="35608" y="17794"/>
                    <a:pt x="35604" y="17790"/>
                  </a:cubicBezTo>
                  <a:cubicBezTo>
                    <a:pt x="35593" y="17776"/>
                    <a:pt x="35582" y="17762"/>
                    <a:pt x="35570" y="17749"/>
                  </a:cubicBezTo>
                  <a:cubicBezTo>
                    <a:pt x="35556" y="17730"/>
                    <a:pt x="35542" y="17712"/>
                    <a:pt x="35529" y="17694"/>
                  </a:cubicBezTo>
                  <a:cubicBezTo>
                    <a:pt x="35476" y="17619"/>
                    <a:pt x="35429" y="17546"/>
                    <a:pt x="35392" y="17470"/>
                  </a:cubicBezTo>
                  <a:cubicBezTo>
                    <a:pt x="35315" y="17321"/>
                    <a:pt x="35269" y="17169"/>
                    <a:pt x="35237" y="17033"/>
                  </a:cubicBezTo>
                  <a:cubicBezTo>
                    <a:pt x="35206" y="16896"/>
                    <a:pt x="35188" y="16773"/>
                    <a:pt x="35180" y="16671"/>
                  </a:cubicBezTo>
                  <a:cubicBezTo>
                    <a:pt x="35171" y="16570"/>
                    <a:pt x="35167" y="16491"/>
                    <a:pt x="35167" y="16437"/>
                  </a:cubicBezTo>
                  <a:cubicBezTo>
                    <a:pt x="35166" y="16384"/>
                    <a:pt x="35165" y="16356"/>
                    <a:pt x="35165" y="16356"/>
                  </a:cubicBezTo>
                  <a:cubicBezTo>
                    <a:pt x="35165" y="16321"/>
                    <a:pt x="35165" y="15770"/>
                    <a:pt x="35165" y="14809"/>
                  </a:cubicBezTo>
                  <a:cubicBezTo>
                    <a:pt x="35165" y="14560"/>
                    <a:pt x="35165" y="14283"/>
                    <a:pt x="35165" y="13978"/>
                  </a:cubicBezTo>
                  <a:cubicBezTo>
                    <a:pt x="35165" y="13825"/>
                    <a:pt x="35165" y="13665"/>
                    <a:pt x="35165" y="13499"/>
                  </a:cubicBezTo>
                  <a:cubicBezTo>
                    <a:pt x="35165" y="13457"/>
                    <a:pt x="35165" y="13415"/>
                    <a:pt x="35165" y="13373"/>
                  </a:cubicBezTo>
                  <a:cubicBezTo>
                    <a:pt x="35165" y="13346"/>
                    <a:pt x="35165" y="13319"/>
                    <a:pt x="35165" y="13293"/>
                  </a:cubicBezTo>
                  <a:cubicBezTo>
                    <a:pt x="35164" y="13271"/>
                    <a:pt x="35164" y="13250"/>
                    <a:pt x="35163" y="13228"/>
                  </a:cubicBezTo>
                  <a:cubicBezTo>
                    <a:pt x="35163" y="13206"/>
                    <a:pt x="35163" y="13184"/>
                    <a:pt x="35162" y="13163"/>
                  </a:cubicBezTo>
                  <a:cubicBezTo>
                    <a:pt x="35161" y="13133"/>
                    <a:pt x="35159" y="13104"/>
                    <a:pt x="35157" y="13074"/>
                  </a:cubicBezTo>
                  <a:cubicBezTo>
                    <a:pt x="35154" y="13014"/>
                    <a:pt x="35150" y="12954"/>
                    <a:pt x="35144" y="12900"/>
                  </a:cubicBezTo>
                  <a:cubicBezTo>
                    <a:pt x="35101" y="12457"/>
                    <a:pt x="34975" y="11953"/>
                    <a:pt x="34699" y="11477"/>
                  </a:cubicBezTo>
                  <a:cubicBezTo>
                    <a:pt x="34630" y="11359"/>
                    <a:pt x="34554" y="11241"/>
                    <a:pt x="34468" y="11131"/>
                  </a:cubicBezTo>
                  <a:cubicBezTo>
                    <a:pt x="34426" y="11074"/>
                    <a:pt x="34381" y="11021"/>
                    <a:pt x="34335" y="10966"/>
                  </a:cubicBezTo>
                  <a:cubicBezTo>
                    <a:pt x="34312" y="10939"/>
                    <a:pt x="34288" y="10913"/>
                    <a:pt x="34264" y="10887"/>
                  </a:cubicBezTo>
                  <a:cubicBezTo>
                    <a:pt x="34227" y="10848"/>
                    <a:pt x="34227" y="10848"/>
                    <a:pt x="34227" y="10848"/>
                  </a:cubicBezTo>
                  <a:cubicBezTo>
                    <a:pt x="34209" y="10829"/>
                    <a:pt x="34209" y="10829"/>
                    <a:pt x="34209" y="10829"/>
                  </a:cubicBezTo>
                  <a:cubicBezTo>
                    <a:pt x="34216" y="10835"/>
                    <a:pt x="34179" y="10797"/>
                    <a:pt x="34178" y="10796"/>
                  </a:cubicBezTo>
                  <a:cubicBezTo>
                    <a:pt x="34119" y="10739"/>
                    <a:pt x="34119" y="10739"/>
                    <a:pt x="34119" y="10739"/>
                  </a:cubicBezTo>
                  <a:cubicBezTo>
                    <a:pt x="34089" y="10710"/>
                    <a:pt x="34089" y="10710"/>
                    <a:pt x="34089" y="10710"/>
                  </a:cubicBezTo>
                  <a:cubicBezTo>
                    <a:pt x="34044" y="10669"/>
                    <a:pt x="34044" y="10669"/>
                    <a:pt x="34044" y="10669"/>
                  </a:cubicBezTo>
                  <a:cubicBezTo>
                    <a:pt x="34013" y="10642"/>
                    <a:pt x="33983" y="10615"/>
                    <a:pt x="33952" y="10588"/>
                  </a:cubicBezTo>
                  <a:cubicBezTo>
                    <a:pt x="33923" y="10565"/>
                    <a:pt x="33894" y="10541"/>
                    <a:pt x="33864" y="10518"/>
                  </a:cubicBezTo>
                  <a:cubicBezTo>
                    <a:pt x="33747" y="10425"/>
                    <a:pt x="33620" y="10339"/>
                    <a:pt x="33486" y="10261"/>
                  </a:cubicBezTo>
                  <a:cubicBezTo>
                    <a:pt x="33352" y="10182"/>
                    <a:pt x="33209" y="10117"/>
                    <a:pt x="33062" y="10057"/>
                  </a:cubicBezTo>
                  <a:cubicBezTo>
                    <a:pt x="32914" y="9999"/>
                    <a:pt x="32762" y="9951"/>
                    <a:pt x="32607" y="9914"/>
                  </a:cubicBezTo>
                  <a:cubicBezTo>
                    <a:pt x="32298" y="9842"/>
                    <a:pt x="31979" y="9810"/>
                    <a:pt x="31666" y="9816"/>
                  </a:cubicBezTo>
                  <a:cubicBezTo>
                    <a:pt x="31051" y="9820"/>
                    <a:pt x="30401" y="9959"/>
                    <a:pt x="29797" y="10222"/>
                  </a:cubicBezTo>
                  <a:cubicBezTo>
                    <a:pt x="29682" y="10273"/>
                    <a:pt x="29682" y="10273"/>
                    <a:pt x="29682" y="10273"/>
                  </a:cubicBezTo>
                  <a:cubicBezTo>
                    <a:pt x="29586" y="10318"/>
                    <a:pt x="29586" y="10318"/>
                    <a:pt x="29586" y="10318"/>
                  </a:cubicBezTo>
                  <a:cubicBezTo>
                    <a:pt x="29475" y="10371"/>
                    <a:pt x="29475" y="10371"/>
                    <a:pt x="29475" y="10371"/>
                  </a:cubicBezTo>
                  <a:cubicBezTo>
                    <a:pt x="29370" y="10423"/>
                    <a:pt x="29370" y="10423"/>
                    <a:pt x="29370" y="10423"/>
                  </a:cubicBezTo>
                  <a:cubicBezTo>
                    <a:pt x="29230" y="10495"/>
                    <a:pt x="29091" y="10570"/>
                    <a:pt x="28952" y="10650"/>
                  </a:cubicBezTo>
                  <a:cubicBezTo>
                    <a:pt x="28676" y="10809"/>
                    <a:pt x="28403" y="10986"/>
                    <a:pt x="28137" y="11180"/>
                  </a:cubicBezTo>
                  <a:cubicBezTo>
                    <a:pt x="28070" y="11228"/>
                    <a:pt x="28005" y="11277"/>
                    <a:pt x="27937" y="11328"/>
                  </a:cubicBezTo>
                  <a:cubicBezTo>
                    <a:pt x="27874" y="11377"/>
                    <a:pt x="27811" y="11426"/>
                    <a:pt x="27748" y="11475"/>
                  </a:cubicBezTo>
                  <a:cubicBezTo>
                    <a:pt x="27621" y="11575"/>
                    <a:pt x="27495" y="11677"/>
                    <a:pt x="27369" y="11783"/>
                  </a:cubicBezTo>
                  <a:cubicBezTo>
                    <a:pt x="27117" y="11993"/>
                    <a:pt x="26867" y="12215"/>
                    <a:pt x="26620" y="12448"/>
                  </a:cubicBezTo>
                  <a:cubicBezTo>
                    <a:pt x="26559" y="12507"/>
                    <a:pt x="26498" y="12565"/>
                    <a:pt x="26437" y="12624"/>
                  </a:cubicBezTo>
                  <a:cubicBezTo>
                    <a:pt x="26379" y="12680"/>
                    <a:pt x="26321" y="12736"/>
                    <a:pt x="26263" y="12792"/>
                  </a:cubicBezTo>
                  <a:cubicBezTo>
                    <a:pt x="26147" y="12903"/>
                    <a:pt x="26029" y="13015"/>
                    <a:pt x="25911" y="13127"/>
                  </a:cubicBezTo>
                  <a:cubicBezTo>
                    <a:pt x="25673" y="13350"/>
                    <a:pt x="25430" y="13573"/>
                    <a:pt x="25180" y="13794"/>
                  </a:cubicBezTo>
                  <a:cubicBezTo>
                    <a:pt x="24670" y="14258"/>
                    <a:pt x="24145" y="14736"/>
                    <a:pt x="23607" y="15226"/>
                  </a:cubicBezTo>
                  <a:cubicBezTo>
                    <a:pt x="23350" y="15459"/>
                    <a:pt x="23082" y="15689"/>
                    <a:pt x="22806" y="15912"/>
                  </a:cubicBezTo>
                  <a:cubicBezTo>
                    <a:pt x="22668" y="16023"/>
                    <a:pt x="22526" y="16135"/>
                    <a:pt x="22386" y="16240"/>
                  </a:cubicBezTo>
                  <a:cubicBezTo>
                    <a:pt x="22251" y="16342"/>
                    <a:pt x="22111" y="16439"/>
                    <a:pt x="21969" y="16531"/>
                  </a:cubicBezTo>
                  <a:cubicBezTo>
                    <a:pt x="21827" y="16622"/>
                    <a:pt x="21682" y="16708"/>
                    <a:pt x="21533" y="16786"/>
                  </a:cubicBezTo>
                  <a:cubicBezTo>
                    <a:pt x="21459" y="16825"/>
                    <a:pt x="21385" y="16863"/>
                    <a:pt x="21309" y="16899"/>
                  </a:cubicBezTo>
                  <a:cubicBezTo>
                    <a:pt x="21252" y="16925"/>
                    <a:pt x="21252" y="16925"/>
                    <a:pt x="21252" y="16925"/>
                  </a:cubicBezTo>
                  <a:cubicBezTo>
                    <a:pt x="21224" y="16938"/>
                    <a:pt x="21224" y="16938"/>
                    <a:pt x="21224" y="16938"/>
                  </a:cubicBezTo>
                  <a:cubicBezTo>
                    <a:pt x="21231" y="16935"/>
                    <a:pt x="21207" y="16945"/>
                    <a:pt x="21200" y="16948"/>
                  </a:cubicBezTo>
                  <a:cubicBezTo>
                    <a:pt x="21166" y="16963"/>
                    <a:pt x="21166" y="16963"/>
                    <a:pt x="21166" y="16963"/>
                  </a:cubicBezTo>
                  <a:cubicBezTo>
                    <a:pt x="21155" y="16968"/>
                    <a:pt x="21143" y="16973"/>
                    <a:pt x="21137" y="16975"/>
                  </a:cubicBezTo>
                  <a:cubicBezTo>
                    <a:pt x="21093" y="16993"/>
                    <a:pt x="21093" y="16993"/>
                    <a:pt x="21093" y="16993"/>
                  </a:cubicBezTo>
                  <a:cubicBezTo>
                    <a:pt x="20814" y="17101"/>
                    <a:pt x="20517" y="17162"/>
                    <a:pt x="20207" y="17173"/>
                  </a:cubicBezTo>
                  <a:cubicBezTo>
                    <a:pt x="20188" y="17174"/>
                    <a:pt x="20168" y="17174"/>
                    <a:pt x="20149" y="17174"/>
                  </a:cubicBezTo>
                  <a:cubicBezTo>
                    <a:pt x="20119" y="17174"/>
                    <a:pt x="20119" y="17174"/>
                    <a:pt x="20119" y="17174"/>
                  </a:cubicBezTo>
                  <a:cubicBezTo>
                    <a:pt x="20109" y="17175"/>
                    <a:pt x="20117" y="17174"/>
                    <a:pt x="20095" y="17174"/>
                  </a:cubicBezTo>
                  <a:cubicBezTo>
                    <a:pt x="20022" y="17173"/>
                    <a:pt x="20022" y="17173"/>
                    <a:pt x="20022" y="17173"/>
                  </a:cubicBezTo>
                  <a:cubicBezTo>
                    <a:pt x="19972" y="17171"/>
                    <a:pt x="19972" y="17171"/>
                    <a:pt x="19972" y="17171"/>
                  </a:cubicBezTo>
                  <a:cubicBezTo>
                    <a:pt x="19897" y="17167"/>
                    <a:pt x="19818" y="17160"/>
                    <a:pt x="19742" y="17151"/>
                  </a:cubicBezTo>
                  <a:cubicBezTo>
                    <a:pt x="19588" y="17130"/>
                    <a:pt x="19437" y="17097"/>
                    <a:pt x="19289" y="17050"/>
                  </a:cubicBezTo>
                  <a:cubicBezTo>
                    <a:pt x="19215" y="17026"/>
                    <a:pt x="19141" y="17000"/>
                    <a:pt x="19068" y="16969"/>
                  </a:cubicBezTo>
                  <a:cubicBezTo>
                    <a:pt x="19014" y="16946"/>
                    <a:pt x="19014" y="16946"/>
                    <a:pt x="19014" y="16946"/>
                  </a:cubicBezTo>
                  <a:cubicBezTo>
                    <a:pt x="18954" y="16919"/>
                    <a:pt x="18954" y="16919"/>
                    <a:pt x="18954" y="16919"/>
                  </a:cubicBezTo>
                  <a:cubicBezTo>
                    <a:pt x="18891" y="16890"/>
                    <a:pt x="18891" y="16890"/>
                    <a:pt x="18891" y="16890"/>
                  </a:cubicBezTo>
                  <a:cubicBezTo>
                    <a:pt x="18835" y="16863"/>
                    <a:pt x="18835" y="16863"/>
                    <a:pt x="18835" y="16863"/>
                  </a:cubicBezTo>
                  <a:cubicBezTo>
                    <a:pt x="18676" y="16785"/>
                    <a:pt x="18518" y="16698"/>
                    <a:pt x="18362" y="16602"/>
                  </a:cubicBezTo>
                  <a:cubicBezTo>
                    <a:pt x="18206" y="16506"/>
                    <a:pt x="18052" y="16402"/>
                    <a:pt x="17901" y="16291"/>
                  </a:cubicBezTo>
                  <a:cubicBezTo>
                    <a:pt x="17787" y="16206"/>
                    <a:pt x="17787" y="16206"/>
                    <a:pt x="17787" y="16206"/>
                  </a:cubicBezTo>
                  <a:cubicBezTo>
                    <a:pt x="17667" y="16113"/>
                    <a:pt x="17667" y="16113"/>
                    <a:pt x="17667" y="16113"/>
                  </a:cubicBezTo>
                  <a:cubicBezTo>
                    <a:pt x="17590" y="16054"/>
                    <a:pt x="17510" y="15990"/>
                    <a:pt x="17432" y="15928"/>
                  </a:cubicBezTo>
                  <a:cubicBezTo>
                    <a:pt x="17119" y="15675"/>
                    <a:pt x="16810" y="15409"/>
                    <a:pt x="16506" y="15130"/>
                  </a:cubicBezTo>
                  <a:cubicBezTo>
                    <a:pt x="16188" y="14841"/>
                    <a:pt x="15868" y="14549"/>
                    <a:pt x="15545" y="14255"/>
                  </a:cubicBezTo>
                  <a:cubicBezTo>
                    <a:pt x="15384" y="14108"/>
                    <a:pt x="15222" y="13961"/>
                    <a:pt x="15060" y="13813"/>
                  </a:cubicBezTo>
                  <a:cubicBezTo>
                    <a:pt x="14977" y="13740"/>
                    <a:pt x="14894" y="13665"/>
                    <a:pt x="14811" y="13591"/>
                  </a:cubicBezTo>
                  <a:cubicBezTo>
                    <a:pt x="14732" y="13519"/>
                    <a:pt x="14652" y="13446"/>
                    <a:pt x="14572" y="13374"/>
                  </a:cubicBezTo>
                  <a:cubicBezTo>
                    <a:pt x="14413" y="13228"/>
                    <a:pt x="14255" y="13079"/>
                    <a:pt x="14097" y="12928"/>
                  </a:cubicBezTo>
                  <a:cubicBezTo>
                    <a:pt x="13936" y="12773"/>
                    <a:pt x="13774" y="12617"/>
                    <a:pt x="13611" y="12461"/>
                  </a:cubicBezTo>
                  <a:cubicBezTo>
                    <a:pt x="13268" y="12136"/>
                    <a:pt x="12910" y="11824"/>
                    <a:pt x="12535" y="11526"/>
                  </a:cubicBezTo>
                  <a:cubicBezTo>
                    <a:pt x="12393" y="11415"/>
                    <a:pt x="12393" y="11415"/>
                    <a:pt x="12393" y="11415"/>
                  </a:cubicBezTo>
                  <a:cubicBezTo>
                    <a:pt x="12247" y="11302"/>
                    <a:pt x="12247" y="11302"/>
                    <a:pt x="12247" y="11302"/>
                  </a:cubicBezTo>
                  <a:cubicBezTo>
                    <a:pt x="12102" y="11194"/>
                    <a:pt x="12102" y="11194"/>
                    <a:pt x="12102" y="11194"/>
                  </a:cubicBezTo>
                  <a:cubicBezTo>
                    <a:pt x="11948" y="11084"/>
                    <a:pt x="11948" y="11084"/>
                    <a:pt x="11948" y="11084"/>
                  </a:cubicBezTo>
                  <a:cubicBezTo>
                    <a:pt x="11742" y="10940"/>
                    <a:pt x="11530" y="10804"/>
                    <a:pt x="11312" y="10676"/>
                  </a:cubicBezTo>
                  <a:cubicBezTo>
                    <a:pt x="11093" y="10548"/>
                    <a:pt x="10868" y="10429"/>
                    <a:pt x="10636" y="10320"/>
                  </a:cubicBezTo>
                  <a:cubicBezTo>
                    <a:pt x="10549" y="10279"/>
                    <a:pt x="10549" y="10279"/>
                    <a:pt x="10549" y="10279"/>
                  </a:cubicBezTo>
                  <a:cubicBezTo>
                    <a:pt x="10458" y="10238"/>
                    <a:pt x="10458" y="10238"/>
                    <a:pt x="10458" y="10238"/>
                  </a:cubicBezTo>
                  <a:cubicBezTo>
                    <a:pt x="10412" y="10217"/>
                    <a:pt x="10333" y="10184"/>
                    <a:pt x="10268" y="10158"/>
                  </a:cubicBezTo>
                  <a:cubicBezTo>
                    <a:pt x="10140" y="10108"/>
                    <a:pt x="10009" y="10062"/>
                    <a:pt x="9875" y="10021"/>
                  </a:cubicBezTo>
                  <a:cubicBezTo>
                    <a:pt x="9608" y="9941"/>
                    <a:pt x="9331" y="9881"/>
                    <a:pt x="9050" y="9848"/>
                  </a:cubicBezTo>
                  <a:cubicBezTo>
                    <a:pt x="8909" y="9831"/>
                    <a:pt x="8767" y="9821"/>
                    <a:pt x="8625" y="9817"/>
                  </a:cubicBezTo>
                  <a:cubicBezTo>
                    <a:pt x="8519" y="9815"/>
                    <a:pt x="8519" y="9815"/>
                    <a:pt x="8519" y="9815"/>
                  </a:cubicBezTo>
                  <a:cubicBezTo>
                    <a:pt x="8504" y="9815"/>
                    <a:pt x="8452" y="9815"/>
                    <a:pt x="8453" y="9815"/>
                  </a:cubicBezTo>
                  <a:cubicBezTo>
                    <a:pt x="8409" y="9816"/>
                    <a:pt x="8409" y="9816"/>
                    <a:pt x="8409" y="9816"/>
                  </a:cubicBezTo>
                  <a:cubicBezTo>
                    <a:pt x="8365" y="9817"/>
                    <a:pt x="8365" y="9817"/>
                    <a:pt x="8365" y="9817"/>
                  </a:cubicBezTo>
                  <a:cubicBezTo>
                    <a:pt x="8348" y="9818"/>
                    <a:pt x="8339" y="9817"/>
                    <a:pt x="8316" y="9819"/>
                  </a:cubicBezTo>
                  <a:cubicBezTo>
                    <a:pt x="8194" y="9826"/>
                    <a:pt x="8194" y="9826"/>
                    <a:pt x="8194" y="9826"/>
                  </a:cubicBezTo>
                  <a:cubicBezTo>
                    <a:pt x="8153" y="9828"/>
                    <a:pt x="8115" y="9832"/>
                    <a:pt x="8078" y="9836"/>
                  </a:cubicBezTo>
                  <a:cubicBezTo>
                    <a:pt x="7966" y="9849"/>
                    <a:pt x="7966" y="9849"/>
                    <a:pt x="7966" y="9849"/>
                  </a:cubicBezTo>
                  <a:cubicBezTo>
                    <a:pt x="7891" y="9861"/>
                    <a:pt x="7817" y="9870"/>
                    <a:pt x="7741" y="9886"/>
                  </a:cubicBezTo>
                  <a:cubicBezTo>
                    <a:pt x="7591" y="9914"/>
                    <a:pt x="7440" y="9957"/>
                    <a:pt x="7291" y="10007"/>
                  </a:cubicBezTo>
                  <a:cubicBezTo>
                    <a:pt x="6993" y="10110"/>
                    <a:pt x="6704" y="10258"/>
                    <a:pt x="6447" y="10447"/>
                  </a:cubicBezTo>
                  <a:cubicBezTo>
                    <a:pt x="6319" y="10541"/>
                    <a:pt x="6197" y="10643"/>
                    <a:pt x="6086" y="10752"/>
                  </a:cubicBezTo>
                  <a:cubicBezTo>
                    <a:pt x="6044" y="10793"/>
                    <a:pt x="6044" y="10793"/>
                    <a:pt x="6044" y="10793"/>
                  </a:cubicBezTo>
                  <a:cubicBezTo>
                    <a:pt x="6041" y="10795"/>
                    <a:pt x="6000" y="10838"/>
                    <a:pt x="5994" y="10845"/>
                  </a:cubicBezTo>
                  <a:cubicBezTo>
                    <a:pt x="5933" y="10911"/>
                    <a:pt x="5933" y="10911"/>
                    <a:pt x="5933" y="10911"/>
                  </a:cubicBezTo>
                  <a:cubicBezTo>
                    <a:pt x="5924" y="10920"/>
                    <a:pt x="5911" y="10935"/>
                    <a:pt x="5895" y="10953"/>
                  </a:cubicBezTo>
                  <a:cubicBezTo>
                    <a:pt x="5853" y="11003"/>
                    <a:pt x="5853" y="11003"/>
                    <a:pt x="5853" y="11003"/>
                  </a:cubicBezTo>
                  <a:cubicBezTo>
                    <a:pt x="5825" y="11036"/>
                    <a:pt x="5794" y="11072"/>
                    <a:pt x="5772" y="11102"/>
                  </a:cubicBezTo>
                  <a:cubicBezTo>
                    <a:pt x="5674" y="11227"/>
                    <a:pt x="5586" y="11361"/>
                    <a:pt x="5506" y="11499"/>
                  </a:cubicBezTo>
                  <a:cubicBezTo>
                    <a:pt x="5428" y="11639"/>
                    <a:pt x="5358" y="11783"/>
                    <a:pt x="5301" y="11931"/>
                  </a:cubicBezTo>
                  <a:cubicBezTo>
                    <a:pt x="5186" y="12227"/>
                    <a:pt x="5115" y="12535"/>
                    <a:pt x="5081" y="12836"/>
                  </a:cubicBezTo>
                  <a:cubicBezTo>
                    <a:pt x="5064" y="12987"/>
                    <a:pt x="5055" y="13136"/>
                    <a:pt x="5054" y="13284"/>
                  </a:cubicBezTo>
                  <a:cubicBezTo>
                    <a:pt x="5054" y="13408"/>
                    <a:pt x="5053" y="13533"/>
                    <a:pt x="5053" y="13657"/>
                  </a:cubicBezTo>
                  <a:cubicBezTo>
                    <a:pt x="5053" y="14633"/>
                    <a:pt x="5053" y="15618"/>
                    <a:pt x="5053" y="16612"/>
                  </a:cubicBezTo>
                  <a:cubicBezTo>
                    <a:pt x="5053" y="17109"/>
                    <a:pt x="5053" y="17608"/>
                    <a:pt x="5053" y="18108"/>
                  </a:cubicBezTo>
                  <a:cubicBezTo>
                    <a:pt x="5053" y="18206"/>
                    <a:pt x="5053" y="18304"/>
                    <a:pt x="5053" y="18401"/>
                  </a:cubicBezTo>
                  <a:cubicBezTo>
                    <a:pt x="4621" y="18401"/>
                    <a:pt x="4188" y="18401"/>
                    <a:pt x="3753" y="18401"/>
                  </a:cubicBezTo>
                  <a:cubicBezTo>
                    <a:pt x="3658" y="18401"/>
                    <a:pt x="3658" y="18401"/>
                    <a:pt x="3658" y="18401"/>
                  </a:cubicBezTo>
                  <a:cubicBezTo>
                    <a:pt x="3577" y="18400"/>
                    <a:pt x="3577" y="18400"/>
                    <a:pt x="3577" y="18400"/>
                  </a:cubicBezTo>
                  <a:cubicBezTo>
                    <a:pt x="3530" y="18399"/>
                    <a:pt x="3530" y="18399"/>
                    <a:pt x="3530" y="18399"/>
                  </a:cubicBezTo>
                  <a:cubicBezTo>
                    <a:pt x="3512" y="18399"/>
                    <a:pt x="3500" y="18398"/>
                    <a:pt x="3489" y="18397"/>
                  </a:cubicBezTo>
                  <a:cubicBezTo>
                    <a:pt x="3421" y="18393"/>
                    <a:pt x="3421" y="18393"/>
                    <a:pt x="3421" y="18393"/>
                  </a:cubicBezTo>
                  <a:cubicBezTo>
                    <a:pt x="3377" y="18391"/>
                    <a:pt x="3323" y="18384"/>
                    <a:pt x="3274" y="18380"/>
                  </a:cubicBezTo>
                  <a:cubicBezTo>
                    <a:pt x="3225" y="18373"/>
                    <a:pt x="3175" y="18368"/>
                    <a:pt x="3128" y="18359"/>
                  </a:cubicBezTo>
                  <a:cubicBezTo>
                    <a:pt x="2936" y="18326"/>
                    <a:pt x="2758" y="18275"/>
                    <a:pt x="2600" y="18201"/>
                  </a:cubicBezTo>
                  <a:cubicBezTo>
                    <a:pt x="2520" y="18165"/>
                    <a:pt x="2445" y="18123"/>
                    <a:pt x="2375" y="18075"/>
                  </a:cubicBezTo>
                  <a:cubicBezTo>
                    <a:pt x="2304" y="18029"/>
                    <a:pt x="2238" y="17976"/>
                    <a:pt x="2176" y="17918"/>
                  </a:cubicBezTo>
                  <a:cubicBezTo>
                    <a:pt x="2153" y="17896"/>
                    <a:pt x="2153" y="17896"/>
                    <a:pt x="2153" y="17896"/>
                  </a:cubicBezTo>
                  <a:cubicBezTo>
                    <a:pt x="2151" y="17895"/>
                    <a:pt x="2142" y="17886"/>
                    <a:pt x="2138" y="17882"/>
                  </a:cubicBezTo>
                  <a:cubicBezTo>
                    <a:pt x="2076" y="17817"/>
                    <a:pt x="2076" y="17817"/>
                    <a:pt x="2076" y="17817"/>
                  </a:cubicBezTo>
                  <a:cubicBezTo>
                    <a:pt x="2064" y="17804"/>
                    <a:pt x="2054" y="17794"/>
                    <a:pt x="2052" y="17790"/>
                  </a:cubicBezTo>
                  <a:cubicBezTo>
                    <a:pt x="2037" y="17771"/>
                    <a:pt x="2037" y="17771"/>
                    <a:pt x="2037" y="17771"/>
                  </a:cubicBezTo>
                  <a:cubicBezTo>
                    <a:pt x="2027" y="17758"/>
                    <a:pt x="2017" y="17749"/>
                    <a:pt x="2003" y="17730"/>
                  </a:cubicBezTo>
                  <a:cubicBezTo>
                    <a:pt x="1950" y="17664"/>
                    <a:pt x="1906" y="17591"/>
                    <a:pt x="1864" y="17516"/>
                  </a:cubicBezTo>
                  <a:cubicBezTo>
                    <a:pt x="1697" y="17215"/>
                    <a:pt x="1618" y="16827"/>
                    <a:pt x="1614" y="16400"/>
                  </a:cubicBezTo>
                  <a:cubicBezTo>
                    <a:pt x="1613" y="15370"/>
                    <a:pt x="1613" y="14334"/>
                    <a:pt x="1613" y="13294"/>
                  </a:cubicBezTo>
                  <a:cubicBezTo>
                    <a:pt x="1613" y="11207"/>
                    <a:pt x="1613" y="9104"/>
                    <a:pt x="1613" y="6993"/>
                  </a:cubicBezTo>
                  <a:cubicBezTo>
                    <a:pt x="1613" y="5937"/>
                    <a:pt x="1613" y="4879"/>
                    <a:pt x="1613" y="3820"/>
                  </a:cubicBezTo>
                  <a:cubicBezTo>
                    <a:pt x="1613" y="3291"/>
                    <a:pt x="1613" y="2761"/>
                    <a:pt x="1613" y="2232"/>
                  </a:cubicBezTo>
                  <a:cubicBezTo>
                    <a:pt x="1613" y="1610"/>
                    <a:pt x="1613" y="1610"/>
                    <a:pt x="1613" y="1610"/>
                  </a:cubicBezTo>
                  <a:cubicBezTo>
                    <a:pt x="2518" y="1611"/>
                    <a:pt x="3423" y="1611"/>
                    <a:pt x="4327" y="1612"/>
                  </a:cubicBezTo>
                  <a:cubicBezTo>
                    <a:pt x="4724" y="1612"/>
                    <a:pt x="4724" y="1612"/>
                    <a:pt x="4724" y="1612"/>
                  </a:cubicBezTo>
                  <a:cubicBezTo>
                    <a:pt x="4906" y="1615"/>
                    <a:pt x="4906" y="1615"/>
                    <a:pt x="4906" y="1615"/>
                  </a:cubicBezTo>
                  <a:cubicBezTo>
                    <a:pt x="4978" y="1616"/>
                    <a:pt x="5026" y="1620"/>
                    <a:pt x="5079" y="1624"/>
                  </a:cubicBezTo>
                  <a:cubicBezTo>
                    <a:pt x="5182" y="1628"/>
                    <a:pt x="5300" y="1642"/>
                    <a:pt x="5410" y="1655"/>
                  </a:cubicBezTo>
                  <a:cubicBezTo>
                    <a:pt x="5576" y="1679"/>
                    <a:pt x="5576" y="1679"/>
                    <a:pt x="5576" y="1679"/>
                  </a:cubicBezTo>
                  <a:cubicBezTo>
                    <a:pt x="5738" y="1711"/>
                    <a:pt x="5738" y="1711"/>
                    <a:pt x="5738" y="1711"/>
                  </a:cubicBezTo>
                  <a:cubicBezTo>
                    <a:pt x="6167" y="1803"/>
                    <a:pt x="6562" y="1963"/>
                    <a:pt x="6904" y="2197"/>
                  </a:cubicBezTo>
                  <a:cubicBezTo>
                    <a:pt x="7076" y="2313"/>
                    <a:pt x="7235" y="2449"/>
                    <a:pt x="7380" y="2601"/>
                  </a:cubicBezTo>
                  <a:cubicBezTo>
                    <a:pt x="7447" y="2667"/>
                    <a:pt x="7447" y="2667"/>
                    <a:pt x="7447" y="2667"/>
                  </a:cubicBezTo>
                  <a:cubicBezTo>
                    <a:pt x="7483" y="2700"/>
                    <a:pt x="7483" y="2700"/>
                    <a:pt x="7483" y="2700"/>
                  </a:cubicBezTo>
                  <a:cubicBezTo>
                    <a:pt x="7555" y="2768"/>
                    <a:pt x="7555" y="2768"/>
                    <a:pt x="7555" y="2768"/>
                  </a:cubicBezTo>
                  <a:cubicBezTo>
                    <a:pt x="7700" y="2903"/>
                    <a:pt x="7700" y="2903"/>
                    <a:pt x="7700" y="2903"/>
                  </a:cubicBezTo>
                  <a:cubicBezTo>
                    <a:pt x="7988" y="3172"/>
                    <a:pt x="7988" y="3172"/>
                    <a:pt x="7988" y="3172"/>
                  </a:cubicBezTo>
                  <a:cubicBezTo>
                    <a:pt x="8374" y="3531"/>
                    <a:pt x="8758" y="3890"/>
                    <a:pt x="9142" y="4248"/>
                  </a:cubicBezTo>
                  <a:cubicBezTo>
                    <a:pt x="9911" y="4965"/>
                    <a:pt x="10677" y="5679"/>
                    <a:pt x="11439" y="6391"/>
                  </a:cubicBezTo>
                  <a:cubicBezTo>
                    <a:pt x="11725" y="6658"/>
                    <a:pt x="11725" y="6658"/>
                    <a:pt x="11725" y="6658"/>
                  </a:cubicBezTo>
                  <a:cubicBezTo>
                    <a:pt x="11835" y="6757"/>
                    <a:pt x="11915" y="6833"/>
                    <a:pt x="12027" y="6931"/>
                  </a:cubicBezTo>
                  <a:cubicBezTo>
                    <a:pt x="12133" y="7026"/>
                    <a:pt x="12238" y="7115"/>
                    <a:pt x="12343" y="7203"/>
                  </a:cubicBezTo>
                  <a:cubicBezTo>
                    <a:pt x="12449" y="7291"/>
                    <a:pt x="12554" y="7379"/>
                    <a:pt x="12662" y="7463"/>
                  </a:cubicBezTo>
                  <a:cubicBezTo>
                    <a:pt x="13093" y="7805"/>
                    <a:pt x="13543" y="8121"/>
                    <a:pt x="14009" y="8410"/>
                  </a:cubicBezTo>
                  <a:cubicBezTo>
                    <a:pt x="14242" y="8555"/>
                    <a:pt x="14480" y="8691"/>
                    <a:pt x="14721" y="8822"/>
                  </a:cubicBezTo>
                  <a:cubicBezTo>
                    <a:pt x="14841" y="8887"/>
                    <a:pt x="14962" y="8950"/>
                    <a:pt x="15085" y="9011"/>
                  </a:cubicBezTo>
                  <a:cubicBezTo>
                    <a:pt x="15145" y="9043"/>
                    <a:pt x="15207" y="9072"/>
                    <a:pt x="15269" y="9102"/>
                  </a:cubicBezTo>
                  <a:cubicBezTo>
                    <a:pt x="15361" y="9147"/>
                    <a:pt x="15361" y="9147"/>
                    <a:pt x="15361" y="9147"/>
                  </a:cubicBezTo>
                  <a:cubicBezTo>
                    <a:pt x="15418" y="9174"/>
                    <a:pt x="15418" y="9174"/>
                    <a:pt x="15418" y="9174"/>
                  </a:cubicBezTo>
                  <a:cubicBezTo>
                    <a:pt x="15462" y="9193"/>
                    <a:pt x="15462" y="9193"/>
                    <a:pt x="15462" y="9193"/>
                  </a:cubicBezTo>
                  <a:cubicBezTo>
                    <a:pt x="15637" y="9273"/>
                    <a:pt x="15637" y="9273"/>
                    <a:pt x="15637" y="9273"/>
                  </a:cubicBezTo>
                  <a:cubicBezTo>
                    <a:pt x="15839" y="9357"/>
                    <a:pt x="15839" y="9357"/>
                    <a:pt x="15839" y="9357"/>
                  </a:cubicBezTo>
                  <a:cubicBezTo>
                    <a:pt x="15908" y="9387"/>
                    <a:pt x="15974" y="9412"/>
                    <a:pt x="16039" y="9436"/>
                  </a:cubicBezTo>
                  <a:cubicBezTo>
                    <a:pt x="16105" y="9461"/>
                    <a:pt x="16170" y="9487"/>
                    <a:pt x="16237" y="9509"/>
                  </a:cubicBezTo>
                  <a:cubicBezTo>
                    <a:pt x="16501" y="9604"/>
                    <a:pt x="16768" y="9684"/>
                    <a:pt x="17036" y="9756"/>
                  </a:cubicBezTo>
                  <a:cubicBezTo>
                    <a:pt x="17574" y="9894"/>
                    <a:pt x="18116" y="9993"/>
                    <a:pt x="18657" y="10050"/>
                  </a:cubicBezTo>
                  <a:cubicBezTo>
                    <a:pt x="19197" y="10109"/>
                    <a:pt x="19735" y="10131"/>
                    <a:pt x="20269" y="10125"/>
                  </a:cubicBezTo>
                  <a:cubicBezTo>
                    <a:pt x="20333" y="10124"/>
                    <a:pt x="20392" y="10124"/>
                    <a:pt x="20461" y="10122"/>
                  </a:cubicBezTo>
                  <a:cubicBezTo>
                    <a:pt x="20667" y="10115"/>
                    <a:pt x="20667" y="10115"/>
                    <a:pt x="20667" y="10115"/>
                  </a:cubicBezTo>
                  <a:cubicBezTo>
                    <a:pt x="20805" y="10111"/>
                    <a:pt x="20936" y="10101"/>
                    <a:pt x="21070" y="10094"/>
                  </a:cubicBezTo>
                  <a:cubicBezTo>
                    <a:pt x="21338" y="10073"/>
                    <a:pt x="21605" y="10050"/>
                    <a:pt x="21871" y="10012"/>
                  </a:cubicBezTo>
                  <a:cubicBezTo>
                    <a:pt x="22404" y="9942"/>
                    <a:pt x="22933" y="9831"/>
                    <a:pt x="23452" y="9681"/>
                  </a:cubicBezTo>
                  <a:cubicBezTo>
                    <a:pt x="23711" y="9603"/>
                    <a:pt x="23969" y="9520"/>
                    <a:pt x="24221" y="9420"/>
                  </a:cubicBezTo>
                  <a:cubicBezTo>
                    <a:pt x="24348" y="9372"/>
                    <a:pt x="24473" y="9319"/>
                    <a:pt x="24597" y="9266"/>
                  </a:cubicBezTo>
                  <a:cubicBezTo>
                    <a:pt x="24782" y="9182"/>
                    <a:pt x="24782" y="9182"/>
                    <a:pt x="24782" y="9182"/>
                  </a:cubicBezTo>
                  <a:cubicBezTo>
                    <a:pt x="24834" y="9158"/>
                    <a:pt x="24834" y="9158"/>
                    <a:pt x="24834" y="9158"/>
                  </a:cubicBezTo>
                  <a:cubicBezTo>
                    <a:pt x="24876" y="9138"/>
                    <a:pt x="24876" y="9138"/>
                    <a:pt x="24876" y="9138"/>
                  </a:cubicBezTo>
                  <a:cubicBezTo>
                    <a:pt x="24959" y="9097"/>
                    <a:pt x="24959" y="9097"/>
                    <a:pt x="24959" y="9097"/>
                  </a:cubicBezTo>
                  <a:cubicBezTo>
                    <a:pt x="25432" y="8869"/>
                    <a:pt x="25886" y="8614"/>
                    <a:pt x="26324" y="8338"/>
                  </a:cubicBezTo>
                  <a:cubicBezTo>
                    <a:pt x="26761" y="8061"/>
                    <a:pt x="27181" y="7762"/>
                    <a:pt x="27581" y="7444"/>
                  </a:cubicBezTo>
                  <a:cubicBezTo>
                    <a:pt x="27780" y="7284"/>
                    <a:pt x="27976" y="7122"/>
                    <a:pt x="28166" y="6953"/>
                  </a:cubicBezTo>
                  <a:cubicBezTo>
                    <a:pt x="28262" y="6870"/>
                    <a:pt x="28355" y="6784"/>
                    <a:pt x="28448" y="6699"/>
                  </a:cubicBezTo>
                  <a:cubicBezTo>
                    <a:pt x="28536" y="6617"/>
                    <a:pt x="28625" y="6535"/>
                    <a:pt x="28713" y="6453"/>
                  </a:cubicBezTo>
                  <a:cubicBezTo>
                    <a:pt x="30113" y="5151"/>
                    <a:pt x="31484" y="3876"/>
                    <a:pt x="32817" y="2636"/>
                  </a:cubicBezTo>
                  <a:cubicBezTo>
                    <a:pt x="32984" y="2481"/>
                    <a:pt x="33150" y="2326"/>
                    <a:pt x="33316" y="2172"/>
                  </a:cubicBezTo>
                  <a:cubicBezTo>
                    <a:pt x="33399" y="2095"/>
                    <a:pt x="33481" y="2018"/>
                    <a:pt x="33564" y="1942"/>
                  </a:cubicBezTo>
                  <a:cubicBezTo>
                    <a:pt x="33626" y="1884"/>
                    <a:pt x="33626" y="1884"/>
                    <a:pt x="33626" y="1884"/>
                  </a:cubicBezTo>
                  <a:cubicBezTo>
                    <a:pt x="33675" y="1837"/>
                    <a:pt x="33675" y="1837"/>
                    <a:pt x="33675" y="1837"/>
                  </a:cubicBezTo>
                  <a:cubicBezTo>
                    <a:pt x="33703" y="1809"/>
                    <a:pt x="33703" y="1809"/>
                    <a:pt x="33703" y="1809"/>
                  </a:cubicBezTo>
                  <a:cubicBezTo>
                    <a:pt x="33732" y="1781"/>
                    <a:pt x="33768" y="1747"/>
                    <a:pt x="33798" y="1721"/>
                  </a:cubicBezTo>
                  <a:cubicBezTo>
                    <a:pt x="33828" y="1693"/>
                    <a:pt x="33858" y="1668"/>
                    <a:pt x="33883" y="1649"/>
                  </a:cubicBezTo>
                  <a:cubicBezTo>
                    <a:pt x="33904" y="1632"/>
                    <a:pt x="33923" y="1619"/>
                    <a:pt x="33928" y="1617"/>
                  </a:cubicBezTo>
                  <a:cubicBezTo>
                    <a:pt x="33929" y="1616"/>
                    <a:pt x="33929" y="1616"/>
                    <a:pt x="33929" y="1616"/>
                  </a:cubicBezTo>
                  <a:cubicBezTo>
                    <a:pt x="33930" y="1616"/>
                    <a:pt x="33930" y="1616"/>
                    <a:pt x="33930" y="1616"/>
                  </a:cubicBezTo>
                  <a:cubicBezTo>
                    <a:pt x="33933" y="1615"/>
                    <a:pt x="33936" y="1614"/>
                    <a:pt x="33943" y="1613"/>
                  </a:cubicBezTo>
                  <a:cubicBezTo>
                    <a:pt x="33947" y="1613"/>
                    <a:pt x="33951" y="1612"/>
                    <a:pt x="33956" y="1612"/>
                  </a:cubicBezTo>
                  <a:cubicBezTo>
                    <a:pt x="34011" y="1612"/>
                    <a:pt x="34011" y="1612"/>
                    <a:pt x="34011" y="1612"/>
                  </a:cubicBezTo>
                  <a:cubicBezTo>
                    <a:pt x="34178" y="1612"/>
                    <a:pt x="34178" y="1612"/>
                    <a:pt x="34178" y="1612"/>
                  </a:cubicBezTo>
                  <a:cubicBezTo>
                    <a:pt x="34289" y="1612"/>
                    <a:pt x="34400" y="1612"/>
                    <a:pt x="34510" y="1612"/>
                  </a:cubicBezTo>
                  <a:cubicBezTo>
                    <a:pt x="34953" y="1612"/>
                    <a:pt x="35392" y="1612"/>
                    <a:pt x="35827" y="1612"/>
                  </a:cubicBezTo>
                  <a:cubicBezTo>
                    <a:pt x="36045" y="1612"/>
                    <a:pt x="36262" y="1612"/>
                    <a:pt x="36478" y="1612"/>
                  </a:cubicBezTo>
                  <a:cubicBezTo>
                    <a:pt x="36559" y="1612"/>
                    <a:pt x="36559" y="1612"/>
                    <a:pt x="36559" y="1612"/>
                  </a:cubicBezTo>
                  <a:cubicBezTo>
                    <a:pt x="36625" y="1613"/>
                    <a:pt x="36625" y="1613"/>
                    <a:pt x="36625" y="1613"/>
                  </a:cubicBezTo>
                  <a:cubicBezTo>
                    <a:pt x="36706" y="1615"/>
                    <a:pt x="36706" y="1615"/>
                    <a:pt x="36706" y="1615"/>
                  </a:cubicBezTo>
                  <a:cubicBezTo>
                    <a:pt x="36765" y="1618"/>
                    <a:pt x="36765" y="1618"/>
                    <a:pt x="36765" y="1618"/>
                  </a:cubicBezTo>
                  <a:cubicBezTo>
                    <a:pt x="36823" y="1622"/>
                    <a:pt x="36823" y="1622"/>
                    <a:pt x="36823" y="1622"/>
                  </a:cubicBezTo>
                  <a:cubicBezTo>
                    <a:pt x="36886" y="1628"/>
                    <a:pt x="36886" y="1628"/>
                    <a:pt x="36886" y="1628"/>
                  </a:cubicBezTo>
                  <a:cubicBezTo>
                    <a:pt x="36928" y="1631"/>
                    <a:pt x="36970" y="1636"/>
                    <a:pt x="37011" y="1642"/>
                  </a:cubicBezTo>
                  <a:cubicBezTo>
                    <a:pt x="37175" y="1665"/>
                    <a:pt x="37330" y="1701"/>
                    <a:pt x="37471" y="1752"/>
                  </a:cubicBezTo>
                  <a:cubicBezTo>
                    <a:pt x="37612" y="1802"/>
                    <a:pt x="37739" y="1867"/>
                    <a:pt x="37855" y="1945"/>
                  </a:cubicBezTo>
                  <a:cubicBezTo>
                    <a:pt x="37913" y="1983"/>
                    <a:pt x="37966" y="2028"/>
                    <a:pt x="38019" y="2073"/>
                  </a:cubicBezTo>
                  <a:cubicBezTo>
                    <a:pt x="38084" y="2135"/>
                    <a:pt x="38084" y="2135"/>
                    <a:pt x="38084" y="2135"/>
                  </a:cubicBezTo>
                  <a:cubicBezTo>
                    <a:pt x="38138" y="2192"/>
                    <a:pt x="38138" y="2192"/>
                    <a:pt x="38138" y="2192"/>
                  </a:cubicBezTo>
                  <a:cubicBezTo>
                    <a:pt x="38146" y="2200"/>
                    <a:pt x="38159" y="2213"/>
                    <a:pt x="38162" y="2218"/>
                  </a:cubicBezTo>
                  <a:cubicBezTo>
                    <a:pt x="38174" y="2233"/>
                    <a:pt x="38174" y="2233"/>
                    <a:pt x="38174" y="2233"/>
                  </a:cubicBezTo>
                  <a:cubicBezTo>
                    <a:pt x="38182" y="2243"/>
                    <a:pt x="38190" y="2253"/>
                    <a:pt x="38199" y="2262"/>
                  </a:cubicBezTo>
                  <a:cubicBezTo>
                    <a:pt x="38208" y="2273"/>
                    <a:pt x="38219" y="2289"/>
                    <a:pt x="38229" y="2302"/>
                  </a:cubicBezTo>
                  <a:cubicBezTo>
                    <a:pt x="38251" y="2329"/>
                    <a:pt x="38269" y="2358"/>
                    <a:pt x="38288" y="2387"/>
                  </a:cubicBezTo>
                  <a:cubicBezTo>
                    <a:pt x="38327" y="2444"/>
                    <a:pt x="38360" y="2505"/>
                    <a:pt x="38391" y="2567"/>
                  </a:cubicBezTo>
                  <a:cubicBezTo>
                    <a:pt x="38513" y="2820"/>
                    <a:pt x="38581" y="3123"/>
                    <a:pt x="38599" y="3449"/>
                  </a:cubicBezTo>
                  <a:cubicBezTo>
                    <a:pt x="38601" y="3490"/>
                    <a:pt x="38604" y="3531"/>
                    <a:pt x="38604" y="3573"/>
                  </a:cubicBezTo>
                  <a:cubicBezTo>
                    <a:pt x="38605" y="3615"/>
                    <a:pt x="38606" y="3651"/>
                    <a:pt x="38606" y="3706"/>
                  </a:cubicBezTo>
                  <a:cubicBezTo>
                    <a:pt x="38606" y="3807"/>
                    <a:pt x="38606" y="3907"/>
                    <a:pt x="38606" y="4008"/>
                  </a:cubicBezTo>
                  <a:cubicBezTo>
                    <a:pt x="38606" y="4209"/>
                    <a:pt x="38606" y="4408"/>
                    <a:pt x="38606" y="4607"/>
                  </a:cubicBezTo>
                  <a:cubicBezTo>
                    <a:pt x="38606" y="7787"/>
                    <a:pt x="38606" y="10701"/>
                    <a:pt x="38606" y="13284"/>
                  </a:cubicBezTo>
                  <a:cubicBezTo>
                    <a:pt x="38606" y="14576"/>
                    <a:pt x="38606" y="15785"/>
                    <a:pt x="38606" y="16903"/>
                  </a:cubicBezTo>
                  <a:cubicBezTo>
                    <a:pt x="38606" y="17422"/>
                    <a:pt x="38606" y="17922"/>
                    <a:pt x="38606" y="18401"/>
                  </a:cubicBezTo>
                  <a:cubicBezTo>
                    <a:pt x="38559" y="18401"/>
                    <a:pt x="38512" y="18401"/>
                    <a:pt x="38467" y="18401"/>
                  </a:cubicBezTo>
                  <a:cubicBezTo>
                    <a:pt x="38008" y="18401"/>
                    <a:pt x="37574" y="18401"/>
                    <a:pt x="37166" y="18400"/>
                  </a:cubicBezTo>
                  <a:close/>
                  <a:moveTo>
                    <a:pt x="38604" y="18737"/>
                  </a:moveTo>
                  <a:cubicBezTo>
                    <a:pt x="38604" y="18734"/>
                    <a:pt x="38604" y="18732"/>
                    <a:pt x="38604" y="18730"/>
                  </a:cubicBezTo>
                  <a:cubicBezTo>
                    <a:pt x="38605" y="18723"/>
                    <a:pt x="38605" y="18722"/>
                    <a:pt x="38605" y="18721"/>
                  </a:cubicBezTo>
                  <a:cubicBezTo>
                    <a:pt x="38605" y="18725"/>
                    <a:pt x="38605" y="18725"/>
                    <a:pt x="38605" y="18725"/>
                  </a:cubicBezTo>
                  <a:cubicBezTo>
                    <a:pt x="38604" y="18734"/>
                    <a:pt x="38604" y="18743"/>
                    <a:pt x="38604" y="18737"/>
                  </a:cubicBezTo>
                  <a:close/>
                  <a:moveTo>
                    <a:pt x="38969" y="18401"/>
                  </a:moveTo>
                  <a:cubicBezTo>
                    <a:pt x="38971" y="18401"/>
                    <a:pt x="38973" y="18401"/>
                    <a:pt x="38974" y="18401"/>
                  </a:cubicBezTo>
                  <a:cubicBezTo>
                    <a:pt x="38974" y="18401"/>
                    <a:pt x="38979" y="18401"/>
                    <a:pt x="38976" y="18401"/>
                  </a:cubicBezTo>
                  <a:lnTo>
                    <a:pt x="38969" y="184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88FCC129-67D8-4375-9BFC-27645C9206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" y="3944"/>
              <a:ext cx="2" cy="2"/>
            </a:xfrm>
            <a:custGeom>
              <a:avLst/>
              <a:gdLst>
                <a:gd name="T0" fmla="*/ 43 w 43"/>
                <a:gd name="T1" fmla="*/ 35 h 35"/>
                <a:gd name="T2" fmla="*/ 0 w 43"/>
                <a:gd name="T3" fmla="*/ 0 h 35"/>
                <a:gd name="T4" fmla="*/ 43 w 43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5">
                  <a:moveTo>
                    <a:pt x="43" y="35"/>
                  </a:moveTo>
                  <a:cubicBezTo>
                    <a:pt x="29" y="24"/>
                    <a:pt x="15" y="12"/>
                    <a:pt x="0" y="0"/>
                  </a:cubicBezTo>
                  <a:cubicBezTo>
                    <a:pt x="15" y="12"/>
                    <a:pt x="29" y="24"/>
                    <a:pt x="43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59D99023-1707-46E2-ADCD-07F11DC197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6" y="3946"/>
              <a:ext cx="2" cy="2"/>
            </a:xfrm>
            <a:custGeom>
              <a:avLst/>
              <a:gdLst>
                <a:gd name="T0" fmla="*/ 61 w 61"/>
                <a:gd name="T1" fmla="*/ 49 h 49"/>
                <a:gd name="T2" fmla="*/ 0 w 61"/>
                <a:gd name="T3" fmla="*/ 0 h 49"/>
                <a:gd name="T4" fmla="*/ 61 w 61"/>
                <a:gd name="T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49">
                  <a:moveTo>
                    <a:pt x="61" y="49"/>
                  </a:moveTo>
                  <a:cubicBezTo>
                    <a:pt x="41" y="33"/>
                    <a:pt x="21" y="17"/>
                    <a:pt x="0" y="0"/>
                  </a:cubicBezTo>
                  <a:cubicBezTo>
                    <a:pt x="21" y="17"/>
                    <a:pt x="41" y="33"/>
                    <a:pt x="61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38030047-F241-4CD6-BF12-438628384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" y="3940"/>
              <a:ext cx="2" cy="1"/>
            </a:xfrm>
            <a:custGeom>
              <a:avLst/>
              <a:gdLst>
                <a:gd name="T0" fmla="*/ 31 w 31"/>
                <a:gd name="T1" fmla="*/ 26 h 26"/>
                <a:gd name="T2" fmla="*/ 0 w 31"/>
                <a:gd name="T3" fmla="*/ 0 h 26"/>
                <a:gd name="T4" fmla="*/ 31 w 31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6">
                  <a:moveTo>
                    <a:pt x="31" y="26"/>
                  </a:moveTo>
                  <a:cubicBezTo>
                    <a:pt x="21" y="17"/>
                    <a:pt x="10" y="9"/>
                    <a:pt x="0" y="0"/>
                  </a:cubicBezTo>
                  <a:cubicBezTo>
                    <a:pt x="10" y="9"/>
                    <a:pt x="21" y="17"/>
                    <a:pt x="31" y="2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FE4434C9-0B53-439C-8CAF-506D8E2CC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" y="3922"/>
              <a:ext cx="3" cy="3"/>
            </a:xfrm>
            <a:custGeom>
              <a:avLst/>
              <a:gdLst>
                <a:gd name="T0" fmla="*/ 12 w 75"/>
                <a:gd name="T1" fmla="*/ 10 h 67"/>
                <a:gd name="T2" fmla="*/ 75 w 75"/>
                <a:gd name="T3" fmla="*/ 67 h 67"/>
                <a:gd name="T4" fmla="*/ 0 w 75"/>
                <a:gd name="T5" fmla="*/ 0 h 67"/>
                <a:gd name="T6" fmla="*/ 12 w 75"/>
                <a:gd name="T7" fmla="*/ 1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7">
                  <a:moveTo>
                    <a:pt x="12" y="10"/>
                  </a:moveTo>
                  <a:cubicBezTo>
                    <a:pt x="33" y="29"/>
                    <a:pt x="54" y="48"/>
                    <a:pt x="75" y="67"/>
                  </a:cubicBezTo>
                  <a:cubicBezTo>
                    <a:pt x="50" y="45"/>
                    <a:pt x="25" y="23"/>
                    <a:pt x="0" y="0"/>
                  </a:cubicBezTo>
                  <a:cubicBezTo>
                    <a:pt x="4" y="3"/>
                    <a:pt x="8" y="7"/>
                    <a:pt x="12" y="1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4D8F7692-47C2-4B12-BC76-5C3B95E47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1" y="3941"/>
              <a:ext cx="3" cy="3"/>
            </a:xfrm>
            <a:custGeom>
              <a:avLst/>
              <a:gdLst>
                <a:gd name="T0" fmla="*/ 87 w 87"/>
                <a:gd name="T1" fmla="*/ 72 h 72"/>
                <a:gd name="T2" fmla="*/ 0 w 87"/>
                <a:gd name="T3" fmla="*/ 0 h 72"/>
                <a:gd name="T4" fmla="*/ 87 w 87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87" y="72"/>
                  </a:moveTo>
                  <a:cubicBezTo>
                    <a:pt x="59" y="48"/>
                    <a:pt x="29" y="24"/>
                    <a:pt x="0" y="0"/>
                  </a:cubicBezTo>
                  <a:cubicBezTo>
                    <a:pt x="30" y="24"/>
                    <a:pt x="59" y="49"/>
                    <a:pt x="87" y="7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22309D2F-D43B-4587-838D-B7B5E3582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0" cy="0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1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E437C71E-89B4-4074-989E-D7C60F3C58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0" cy="0"/>
            </a:xfrm>
            <a:custGeom>
              <a:avLst/>
              <a:gdLst>
                <a:gd name="T0" fmla="*/ 6 w 11"/>
                <a:gd name="T1" fmla="*/ 5 h 9"/>
                <a:gd name="T2" fmla="*/ 11 w 11"/>
                <a:gd name="T3" fmla="*/ 9 h 9"/>
                <a:gd name="T4" fmla="*/ 0 w 11"/>
                <a:gd name="T5" fmla="*/ 0 h 9"/>
                <a:gd name="T6" fmla="*/ 6 w 11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8" y="6"/>
                    <a:pt x="9" y="8"/>
                    <a:pt x="11" y="9"/>
                  </a:cubicBezTo>
                  <a:cubicBezTo>
                    <a:pt x="8" y="6"/>
                    <a:pt x="4" y="3"/>
                    <a:pt x="0" y="0"/>
                  </a:cubicBezTo>
                  <a:cubicBezTo>
                    <a:pt x="2" y="2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31E36A6E-1EA4-4385-BACF-A9311E8D6F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7" cy="6"/>
            </a:xfrm>
            <a:custGeom>
              <a:avLst/>
              <a:gdLst>
                <a:gd name="T0" fmla="*/ 184 w 184"/>
                <a:gd name="T1" fmla="*/ 145 h 145"/>
                <a:gd name="T2" fmla="*/ 0 w 184"/>
                <a:gd name="T3" fmla="*/ 0 h 145"/>
                <a:gd name="T4" fmla="*/ 184 w 184"/>
                <a:gd name="T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4" h="145">
                  <a:moveTo>
                    <a:pt x="184" y="145"/>
                  </a:moveTo>
                  <a:cubicBezTo>
                    <a:pt x="127" y="100"/>
                    <a:pt x="66" y="52"/>
                    <a:pt x="0" y="0"/>
                  </a:cubicBezTo>
                  <a:cubicBezTo>
                    <a:pt x="65" y="52"/>
                    <a:pt x="126" y="101"/>
                    <a:pt x="184" y="14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BCDDDA01-F54D-4AE1-981B-322EEE4ACA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8" y="3948"/>
              <a:ext cx="3" cy="2"/>
            </a:xfrm>
            <a:custGeom>
              <a:avLst/>
              <a:gdLst>
                <a:gd name="T0" fmla="*/ 64 w 64"/>
                <a:gd name="T1" fmla="*/ 52 h 52"/>
                <a:gd name="T2" fmla="*/ 0 w 64"/>
                <a:gd name="T3" fmla="*/ 0 h 52"/>
                <a:gd name="T4" fmla="*/ 64 w 6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2">
                  <a:moveTo>
                    <a:pt x="64" y="52"/>
                  </a:moveTo>
                  <a:cubicBezTo>
                    <a:pt x="43" y="36"/>
                    <a:pt x="21" y="18"/>
                    <a:pt x="0" y="0"/>
                  </a:cubicBezTo>
                  <a:cubicBezTo>
                    <a:pt x="21" y="18"/>
                    <a:pt x="43" y="35"/>
                    <a:pt x="64" y="5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517B8BE4-09EB-49F5-ACA3-480BFBC03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7" y="3930"/>
              <a:ext cx="2" cy="1"/>
            </a:xfrm>
            <a:custGeom>
              <a:avLst/>
              <a:gdLst>
                <a:gd name="T0" fmla="*/ 41 w 41"/>
                <a:gd name="T1" fmla="*/ 36 h 36"/>
                <a:gd name="T2" fmla="*/ 0 w 41"/>
                <a:gd name="T3" fmla="*/ 0 h 36"/>
                <a:gd name="T4" fmla="*/ 41 w 41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36">
                  <a:moveTo>
                    <a:pt x="41" y="36"/>
                  </a:moveTo>
                  <a:cubicBezTo>
                    <a:pt x="28" y="24"/>
                    <a:pt x="14" y="12"/>
                    <a:pt x="0" y="0"/>
                  </a:cubicBezTo>
                  <a:cubicBezTo>
                    <a:pt x="14" y="12"/>
                    <a:pt x="28" y="24"/>
                    <a:pt x="41" y="3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2FD48544-006A-48B1-B3F2-66078E976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3" y="3927"/>
              <a:ext cx="4" cy="3"/>
            </a:xfrm>
            <a:custGeom>
              <a:avLst/>
              <a:gdLst>
                <a:gd name="T0" fmla="*/ 92 w 92"/>
                <a:gd name="T1" fmla="*/ 81 h 81"/>
                <a:gd name="T2" fmla="*/ 0 w 92"/>
                <a:gd name="T3" fmla="*/ 0 h 81"/>
                <a:gd name="T4" fmla="*/ 92 w 92"/>
                <a:gd name="T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81">
                  <a:moveTo>
                    <a:pt x="92" y="81"/>
                  </a:moveTo>
                  <a:cubicBezTo>
                    <a:pt x="62" y="54"/>
                    <a:pt x="31" y="27"/>
                    <a:pt x="0" y="0"/>
                  </a:cubicBezTo>
                  <a:cubicBezTo>
                    <a:pt x="31" y="27"/>
                    <a:pt x="61" y="54"/>
                    <a:pt x="92" y="8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C2EC9920-C4BC-46A0-BFD4-E7C685006C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1" y="3925"/>
              <a:ext cx="2" cy="2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7"/>
                    <a:pt x="15" y="13"/>
                    <a:pt x="0" y="0"/>
                  </a:cubicBezTo>
                  <a:cubicBezTo>
                    <a:pt x="15" y="13"/>
                    <a:pt x="31" y="27"/>
                    <a:pt x="46" y="4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BCB32154-012A-40F5-B87D-68628268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1" y="3934"/>
              <a:ext cx="3" cy="2"/>
            </a:xfrm>
            <a:custGeom>
              <a:avLst/>
              <a:gdLst>
                <a:gd name="T0" fmla="*/ 41 w 67"/>
                <a:gd name="T1" fmla="*/ 35 h 57"/>
                <a:gd name="T2" fmla="*/ 67 w 67"/>
                <a:gd name="T3" fmla="*/ 57 h 57"/>
                <a:gd name="T4" fmla="*/ 0 w 67"/>
                <a:gd name="T5" fmla="*/ 0 h 57"/>
                <a:gd name="T6" fmla="*/ 41 w 67"/>
                <a:gd name="T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57">
                  <a:moveTo>
                    <a:pt x="41" y="35"/>
                  </a:moveTo>
                  <a:cubicBezTo>
                    <a:pt x="50" y="43"/>
                    <a:pt x="58" y="50"/>
                    <a:pt x="67" y="57"/>
                  </a:cubicBezTo>
                  <a:cubicBezTo>
                    <a:pt x="45" y="38"/>
                    <a:pt x="22" y="19"/>
                    <a:pt x="0" y="0"/>
                  </a:cubicBezTo>
                  <a:cubicBezTo>
                    <a:pt x="14" y="11"/>
                    <a:pt x="28" y="24"/>
                    <a:pt x="41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CA9B8EAF-EFF5-40EF-9AD2-B2D484C89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9" y="3931"/>
              <a:ext cx="2" cy="3"/>
            </a:xfrm>
            <a:custGeom>
              <a:avLst/>
              <a:gdLst>
                <a:gd name="T0" fmla="*/ 72 w 72"/>
                <a:gd name="T1" fmla="*/ 62 h 62"/>
                <a:gd name="T2" fmla="*/ 0 w 72"/>
                <a:gd name="T3" fmla="*/ 0 h 62"/>
                <a:gd name="T4" fmla="*/ 72 w 72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2">
                  <a:moveTo>
                    <a:pt x="72" y="62"/>
                  </a:moveTo>
                  <a:cubicBezTo>
                    <a:pt x="48" y="41"/>
                    <a:pt x="25" y="21"/>
                    <a:pt x="0" y="0"/>
                  </a:cubicBezTo>
                  <a:cubicBezTo>
                    <a:pt x="24" y="21"/>
                    <a:pt x="48" y="41"/>
                    <a:pt x="72" y="6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F1801F93-763F-4D33-B6FA-4304418B6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" y="3936"/>
              <a:ext cx="2" cy="1"/>
            </a:xfrm>
            <a:custGeom>
              <a:avLst/>
              <a:gdLst>
                <a:gd name="T0" fmla="*/ 44 w 44"/>
                <a:gd name="T1" fmla="*/ 38 h 38"/>
                <a:gd name="T2" fmla="*/ 0 w 44"/>
                <a:gd name="T3" fmla="*/ 0 h 38"/>
                <a:gd name="T4" fmla="*/ 44 w 44"/>
                <a:gd name="T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38">
                  <a:moveTo>
                    <a:pt x="44" y="38"/>
                  </a:moveTo>
                  <a:cubicBezTo>
                    <a:pt x="30" y="25"/>
                    <a:pt x="15" y="13"/>
                    <a:pt x="0" y="0"/>
                  </a:cubicBezTo>
                  <a:cubicBezTo>
                    <a:pt x="15" y="13"/>
                    <a:pt x="30" y="25"/>
                    <a:pt x="44" y="3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CB1631D0-6415-4C2C-A5D3-71B69CA5C4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6" y="3937"/>
              <a:ext cx="3" cy="3"/>
            </a:xfrm>
            <a:custGeom>
              <a:avLst/>
              <a:gdLst>
                <a:gd name="T0" fmla="*/ 91 w 91"/>
                <a:gd name="T1" fmla="*/ 76 h 76"/>
                <a:gd name="T2" fmla="*/ 0 w 91"/>
                <a:gd name="T3" fmla="*/ 0 h 76"/>
                <a:gd name="T4" fmla="*/ 91 w 91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76">
                  <a:moveTo>
                    <a:pt x="91" y="76"/>
                  </a:moveTo>
                  <a:cubicBezTo>
                    <a:pt x="61" y="51"/>
                    <a:pt x="31" y="25"/>
                    <a:pt x="0" y="0"/>
                  </a:cubicBezTo>
                  <a:cubicBezTo>
                    <a:pt x="31" y="26"/>
                    <a:pt x="61" y="51"/>
                    <a:pt x="91" y="7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A75EB989-13F0-42C1-9541-779981EBDE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" y="3512"/>
              <a:ext cx="7" cy="6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196CCE5C-4FBC-48D1-930F-7892C0574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768"/>
              <a:ext cx="0" cy="6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8232CE98-DFA4-41FD-AA92-936822CA7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" y="3564"/>
              <a:ext cx="564" cy="108"/>
            </a:xfrm>
            <a:custGeom>
              <a:avLst/>
              <a:gdLst>
                <a:gd name="T0" fmla="*/ 638 w 14292"/>
                <a:gd name="T1" fmla="*/ 1123 h 2756"/>
                <a:gd name="T2" fmla="*/ 1444 w 14292"/>
                <a:gd name="T3" fmla="*/ 1538 h 2756"/>
                <a:gd name="T4" fmla="*/ 2254 w 14292"/>
                <a:gd name="T5" fmla="*/ 1920 h 2756"/>
                <a:gd name="T6" fmla="*/ 5331 w 14292"/>
                <a:gd name="T7" fmla="*/ 2721 h 2756"/>
                <a:gd name="T8" fmla="*/ 6949 w 14292"/>
                <a:gd name="T9" fmla="*/ 2728 h 2756"/>
                <a:gd name="T10" fmla="*/ 7201 w 14292"/>
                <a:gd name="T11" fmla="*/ 2708 h 2756"/>
                <a:gd name="T12" fmla="*/ 7944 w 14292"/>
                <a:gd name="T13" fmla="*/ 2639 h 2756"/>
                <a:gd name="T14" fmla="*/ 10525 w 14292"/>
                <a:gd name="T15" fmla="*/ 2169 h 2756"/>
                <a:gd name="T16" fmla="*/ 11601 w 14292"/>
                <a:gd name="T17" fmla="*/ 1796 h 2756"/>
                <a:gd name="T18" fmla="*/ 11727 w 14292"/>
                <a:gd name="T19" fmla="*/ 1744 h 2756"/>
                <a:gd name="T20" fmla="*/ 11737 w 14292"/>
                <a:gd name="T21" fmla="*/ 1740 h 2756"/>
                <a:gd name="T22" fmla="*/ 11734 w 14292"/>
                <a:gd name="T23" fmla="*/ 1742 h 2756"/>
                <a:gd name="T24" fmla="*/ 11749 w 14292"/>
                <a:gd name="T25" fmla="*/ 1735 h 2756"/>
                <a:gd name="T26" fmla="*/ 12011 w 14292"/>
                <a:gd name="T27" fmla="*/ 1619 h 2756"/>
                <a:gd name="T28" fmla="*/ 13606 w 14292"/>
                <a:gd name="T29" fmla="*/ 832 h 2756"/>
                <a:gd name="T30" fmla="*/ 13934 w 14292"/>
                <a:gd name="T31" fmla="*/ 653 h 2756"/>
                <a:gd name="T32" fmla="*/ 14260 w 14292"/>
                <a:gd name="T33" fmla="*/ 39 h 2756"/>
                <a:gd name="T34" fmla="*/ 13246 w 14292"/>
                <a:gd name="T35" fmla="*/ 665 h 2756"/>
                <a:gd name="T36" fmla="*/ 11884 w 14292"/>
                <a:gd name="T37" fmla="*/ 1417 h 2756"/>
                <a:gd name="T38" fmla="*/ 11666 w 14292"/>
                <a:gd name="T39" fmla="*/ 1523 h 2756"/>
                <a:gd name="T40" fmla="*/ 11527 w 14292"/>
                <a:gd name="T41" fmla="*/ 1587 h 2756"/>
                <a:gd name="T42" fmla="*/ 9930 w 14292"/>
                <a:gd name="T43" fmla="*/ 2108 h 2756"/>
                <a:gd name="T44" fmla="*/ 8230 w 14292"/>
                <a:gd name="T45" fmla="*/ 2327 h 2756"/>
                <a:gd name="T46" fmla="*/ 7892 w 14292"/>
                <a:gd name="T47" fmla="*/ 2339 h 2756"/>
                <a:gd name="T48" fmla="*/ 7653 w 14292"/>
                <a:gd name="T49" fmla="*/ 2426 h 2756"/>
                <a:gd name="T50" fmla="*/ 7614 w 14292"/>
                <a:gd name="T51" fmla="*/ 2440 h 2756"/>
                <a:gd name="T52" fmla="*/ 7612 w 14292"/>
                <a:gd name="T53" fmla="*/ 2440 h 2756"/>
                <a:gd name="T54" fmla="*/ 7620 w 14292"/>
                <a:gd name="T55" fmla="*/ 2440 h 2756"/>
                <a:gd name="T56" fmla="*/ 7614 w 14292"/>
                <a:gd name="T57" fmla="*/ 2442 h 2756"/>
                <a:gd name="T58" fmla="*/ 7531 w 14292"/>
                <a:gd name="T59" fmla="*/ 2466 h 2756"/>
                <a:gd name="T60" fmla="*/ 6509 w 14292"/>
                <a:gd name="T61" fmla="*/ 2599 h 2756"/>
                <a:gd name="T62" fmla="*/ 6259 w 14292"/>
                <a:gd name="T63" fmla="*/ 2604 h 2756"/>
                <a:gd name="T64" fmla="*/ 4662 w 14292"/>
                <a:gd name="T65" fmla="*/ 2490 h 2756"/>
                <a:gd name="T66" fmla="*/ 1666 w 14292"/>
                <a:gd name="T67" fmla="*/ 1482 h 2756"/>
                <a:gd name="T68" fmla="*/ 822 w 14292"/>
                <a:gd name="T69" fmla="*/ 1024 h 2756"/>
                <a:gd name="T70" fmla="*/ 97 w 14292"/>
                <a:gd name="T71" fmla="*/ 577 h 2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92" h="2756">
                  <a:moveTo>
                    <a:pt x="314" y="803"/>
                  </a:moveTo>
                  <a:cubicBezTo>
                    <a:pt x="473" y="966"/>
                    <a:pt x="638" y="1123"/>
                    <a:pt x="638" y="1123"/>
                  </a:cubicBezTo>
                  <a:cubicBezTo>
                    <a:pt x="843" y="1226"/>
                    <a:pt x="1091" y="1354"/>
                    <a:pt x="1382" y="1506"/>
                  </a:cubicBezTo>
                  <a:cubicBezTo>
                    <a:pt x="1382" y="1506"/>
                    <a:pt x="1404" y="1517"/>
                    <a:pt x="1444" y="1538"/>
                  </a:cubicBezTo>
                  <a:cubicBezTo>
                    <a:pt x="1485" y="1559"/>
                    <a:pt x="1544" y="1590"/>
                    <a:pt x="1620" y="1626"/>
                  </a:cubicBezTo>
                  <a:cubicBezTo>
                    <a:pt x="1771" y="1702"/>
                    <a:pt x="1990" y="1805"/>
                    <a:pt x="2254" y="1920"/>
                  </a:cubicBezTo>
                  <a:cubicBezTo>
                    <a:pt x="2784" y="2145"/>
                    <a:pt x="3504" y="2421"/>
                    <a:pt x="4243" y="2567"/>
                  </a:cubicBezTo>
                  <a:cubicBezTo>
                    <a:pt x="4612" y="2643"/>
                    <a:pt x="4984" y="2692"/>
                    <a:pt x="5331" y="2721"/>
                  </a:cubicBezTo>
                  <a:cubicBezTo>
                    <a:pt x="5679" y="2750"/>
                    <a:pt x="6004" y="2756"/>
                    <a:pt x="6281" y="2753"/>
                  </a:cubicBezTo>
                  <a:cubicBezTo>
                    <a:pt x="6558" y="2752"/>
                    <a:pt x="6788" y="2738"/>
                    <a:pt x="6949" y="2728"/>
                  </a:cubicBezTo>
                  <a:cubicBezTo>
                    <a:pt x="7029" y="2724"/>
                    <a:pt x="7092" y="2717"/>
                    <a:pt x="7135" y="2714"/>
                  </a:cubicBezTo>
                  <a:cubicBezTo>
                    <a:pt x="7178" y="2710"/>
                    <a:pt x="7201" y="2708"/>
                    <a:pt x="7201" y="2708"/>
                  </a:cubicBezTo>
                  <a:cubicBezTo>
                    <a:pt x="7320" y="2697"/>
                    <a:pt x="7439" y="2687"/>
                    <a:pt x="7558" y="2676"/>
                  </a:cubicBezTo>
                  <a:cubicBezTo>
                    <a:pt x="7687" y="2664"/>
                    <a:pt x="7815" y="2651"/>
                    <a:pt x="7944" y="2639"/>
                  </a:cubicBezTo>
                  <a:cubicBezTo>
                    <a:pt x="8198" y="2611"/>
                    <a:pt x="8474" y="2579"/>
                    <a:pt x="8757" y="2538"/>
                  </a:cubicBezTo>
                  <a:cubicBezTo>
                    <a:pt x="9323" y="2455"/>
                    <a:pt x="9925" y="2343"/>
                    <a:pt x="10525" y="2169"/>
                  </a:cubicBezTo>
                  <a:cubicBezTo>
                    <a:pt x="10826" y="2083"/>
                    <a:pt x="11116" y="1985"/>
                    <a:pt x="11395" y="1878"/>
                  </a:cubicBezTo>
                  <a:cubicBezTo>
                    <a:pt x="11464" y="1852"/>
                    <a:pt x="11533" y="1825"/>
                    <a:pt x="11601" y="1796"/>
                  </a:cubicBezTo>
                  <a:cubicBezTo>
                    <a:pt x="11702" y="1754"/>
                    <a:pt x="11702" y="1754"/>
                    <a:pt x="11702" y="1754"/>
                  </a:cubicBezTo>
                  <a:cubicBezTo>
                    <a:pt x="11727" y="1744"/>
                    <a:pt x="11727" y="1744"/>
                    <a:pt x="11727" y="1744"/>
                  </a:cubicBezTo>
                  <a:cubicBezTo>
                    <a:pt x="11734" y="1741"/>
                    <a:pt x="11734" y="1741"/>
                    <a:pt x="11734" y="1741"/>
                  </a:cubicBezTo>
                  <a:cubicBezTo>
                    <a:pt x="11737" y="1740"/>
                    <a:pt x="11737" y="1740"/>
                    <a:pt x="11737" y="1740"/>
                  </a:cubicBezTo>
                  <a:cubicBezTo>
                    <a:pt x="11738" y="1740"/>
                    <a:pt x="11738" y="1740"/>
                    <a:pt x="11738" y="1740"/>
                  </a:cubicBezTo>
                  <a:cubicBezTo>
                    <a:pt x="11728" y="1744"/>
                    <a:pt x="11736" y="1741"/>
                    <a:pt x="11734" y="1742"/>
                  </a:cubicBezTo>
                  <a:cubicBezTo>
                    <a:pt x="11735" y="1741"/>
                    <a:pt x="11735" y="1741"/>
                    <a:pt x="11735" y="1741"/>
                  </a:cubicBezTo>
                  <a:cubicBezTo>
                    <a:pt x="11749" y="1735"/>
                    <a:pt x="11749" y="1735"/>
                    <a:pt x="11749" y="1735"/>
                  </a:cubicBezTo>
                  <a:cubicBezTo>
                    <a:pt x="11802" y="1711"/>
                    <a:pt x="11802" y="1711"/>
                    <a:pt x="11802" y="1711"/>
                  </a:cubicBezTo>
                  <a:cubicBezTo>
                    <a:pt x="11872" y="1681"/>
                    <a:pt x="11942" y="1650"/>
                    <a:pt x="12011" y="1619"/>
                  </a:cubicBezTo>
                  <a:cubicBezTo>
                    <a:pt x="12076" y="1590"/>
                    <a:pt x="12141" y="1561"/>
                    <a:pt x="12205" y="1532"/>
                  </a:cubicBezTo>
                  <a:cubicBezTo>
                    <a:pt x="12727" y="1291"/>
                    <a:pt x="13199" y="1047"/>
                    <a:pt x="13606" y="832"/>
                  </a:cubicBezTo>
                  <a:cubicBezTo>
                    <a:pt x="13606" y="832"/>
                    <a:pt x="13689" y="788"/>
                    <a:pt x="13771" y="744"/>
                  </a:cubicBezTo>
                  <a:cubicBezTo>
                    <a:pt x="13853" y="698"/>
                    <a:pt x="13934" y="653"/>
                    <a:pt x="13934" y="653"/>
                  </a:cubicBezTo>
                  <a:cubicBezTo>
                    <a:pt x="14077" y="494"/>
                    <a:pt x="14174" y="361"/>
                    <a:pt x="14228" y="256"/>
                  </a:cubicBezTo>
                  <a:cubicBezTo>
                    <a:pt x="14282" y="153"/>
                    <a:pt x="14292" y="79"/>
                    <a:pt x="14260" y="39"/>
                  </a:cubicBezTo>
                  <a:cubicBezTo>
                    <a:pt x="14236" y="9"/>
                    <a:pt x="14188" y="0"/>
                    <a:pt x="14118" y="8"/>
                  </a:cubicBezTo>
                  <a:cubicBezTo>
                    <a:pt x="13848" y="236"/>
                    <a:pt x="13556" y="458"/>
                    <a:pt x="13246" y="665"/>
                  </a:cubicBezTo>
                  <a:cubicBezTo>
                    <a:pt x="13020" y="815"/>
                    <a:pt x="12792" y="955"/>
                    <a:pt x="12562" y="1080"/>
                  </a:cubicBezTo>
                  <a:cubicBezTo>
                    <a:pt x="12334" y="1205"/>
                    <a:pt x="12100" y="1322"/>
                    <a:pt x="11884" y="1417"/>
                  </a:cubicBezTo>
                  <a:cubicBezTo>
                    <a:pt x="11884" y="1417"/>
                    <a:pt x="11821" y="1448"/>
                    <a:pt x="11711" y="1502"/>
                  </a:cubicBezTo>
                  <a:cubicBezTo>
                    <a:pt x="11697" y="1509"/>
                    <a:pt x="11682" y="1516"/>
                    <a:pt x="11666" y="1523"/>
                  </a:cubicBezTo>
                  <a:cubicBezTo>
                    <a:pt x="11654" y="1529"/>
                    <a:pt x="11640" y="1535"/>
                    <a:pt x="11626" y="1542"/>
                  </a:cubicBezTo>
                  <a:cubicBezTo>
                    <a:pt x="11596" y="1556"/>
                    <a:pt x="11563" y="1571"/>
                    <a:pt x="11527" y="1587"/>
                  </a:cubicBezTo>
                  <a:cubicBezTo>
                    <a:pt x="11457" y="1620"/>
                    <a:pt x="11375" y="1654"/>
                    <a:pt x="11286" y="1690"/>
                  </a:cubicBezTo>
                  <a:cubicBezTo>
                    <a:pt x="10932" y="1838"/>
                    <a:pt x="10440" y="1999"/>
                    <a:pt x="9930" y="2108"/>
                  </a:cubicBezTo>
                  <a:cubicBezTo>
                    <a:pt x="9422" y="2222"/>
                    <a:pt x="8897" y="2282"/>
                    <a:pt x="8501" y="2311"/>
                  </a:cubicBezTo>
                  <a:cubicBezTo>
                    <a:pt x="8402" y="2317"/>
                    <a:pt x="8311" y="2322"/>
                    <a:pt x="8230" y="2327"/>
                  </a:cubicBezTo>
                  <a:cubicBezTo>
                    <a:pt x="8150" y="2332"/>
                    <a:pt x="8082" y="2333"/>
                    <a:pt x="8026" y="2335"/>
                  </a:cubicBezTo>
                  <a:cubicBezTo>
                    <a:pt x="7968" y="2337"/>
                    <a:pt x="7928" y="2339"/>
                    <a:pt x="7892" y="2339"/>
                  </a:cubicBezTo>
                  <a:cubicBezTo>
                    <a:pt x="7859" y="2340"/>
                    <a:pt x="7841" y="2340"/>
                    <a:pt x="7841" y="2340"/>
                  </a:cubicBezTo>
                  <a:cubicBezTo>
                    <a:pt x="7797" y="2369"/>
                    <a:pt x="7734" y="2398"/>
                    <a:pt x="7653" y="2426"/>
                  </a:cubicBezTo>
                  <a:cubicBezTo>
                    <a:pt x="7622" y="2437"/>
                    <a:pt x="7622" y="2437"/>
                    <a:pt x="7622" y="2437"/>
                  </a:cubicBezTo>
                  <a:cubicBezTo>
                    <a:pt x="7614" y="2440"/>
                    <a:pt x="7614" y="2440"/>
                    <a:pt x="7614" y="2440"/>
                  </a:cubicBezTo>
                  <a:cubicBezTo>
                    <a:pt x="7613" y="2440"/>
                    <a:pt x="7613" y="2440"/>
                    <a:pt x="7613" y="2440"/>
                  </a:cubicBezTo>
                  <a:cubicBezTo>
                    <a:pt x="7612" y="2440"/>
                    <a:pt x="7612" y="2440"/>
                    <a:pt x="7612" y="2440"/>
                  </a:cubicBezTo>
                  <a:cubicBezTo>
                    <a:pt x="7628" y="2440"/>
                    <a:pt x="7616" y="2440"/>
                    <a:pt x="7620" y="2440"/>
                  </a:cubicBezTo>
                  <a:cubicBezTo>
                    <a:pt x="7620" y="2440"/>
                    <a:pt x="7620" y="2440"/>
                    <a:pt x="7620" y="2440"/>
                  </a:cubicBezTo>
                  <a:cubicBezTo>
                    <a:pt x="7618" y="2441"/>
                    <a:pt x="7618" y="2441"/>
                    <a:pt x="7618" y="2441"/>
                  </a:cubicBezTo>
                  <a:cubicBezTo>
                    <a:pt x="7614" y="2442"/>
                    <a:pt x="7614" y="2442"/>
                    <a:pt x="7614" y="2442"/>
                  </a:cubicBezTo>
                  <a:cubicBezTo>
                    <a:pt x="7598" y="2447"/>
                    <a:pt x="7598" y="2447"/>
                    <a:pt x="7598" y="2447"/>
                  </a:cubicBezTo>
                  <a:cubicBezTo>
                    <a:pt x="7531" y="2466"/>
                    <a:pt x="7531" y="2466"/>
                    <a:pt x="7531" y="2466"/>
                  </a:cubicBezTo>
                  <a:cubicBezTo>
                    <a:pt x="7483" y="2479"/>
                    <a:pt x="7432" y="2492"/>
                    <a:pt x="7376" y="2504"/>
                  </a:cubicBezTo>
                  <a:cubicBezTo>
                    <a:pt x="7153" y="2550"/>
                    <a:pt x="6862" y="2590"/>
                    <a:pt x="6509" y="2599"/>
                  </a:cubicBezTo>
                  <a:cubicBezTo>
                    <a:pt x="6509" y="2599"/>
                    <a:pt x="6487" y="2600"/>
                    <a:pt x="6444" y="2601"/>
                  </a:cubicBezTo>
                  <a:cubicBezTo>
                    <a:pt x="6401" y="2602"/>
                    <a:pt x="6339" y="2603"/>
                    <a:pt x="6259" y="2604"/>
                  </a:cubicBezTo>
                  <a:cubicBezTo>
                    <a:pt x="6099" y="2606"/>
                    <a:pt x="5871" y="2603"/>
                    <a:pt x="5597" y="2589"/>
                  </a:cubicBezTo>
                  <a:cubicBezTo>
                    <a:pt x="5323" y="2574"/>
                    <a:pt x="5003" y="2543"/>
                    <a:pt x="4662" y="2490"/>
                  </a:cubicBezTo>
                  <a:cubicBezTo>
                    <a:pt x="4321" y="2436"/>
                    <a:pt x="3956" y="2357"/>
                    <a:pt x="3601" y="2254"/>
                  </a:cubicBezTo>
                  <a:cubicBezTo>
                    <a:pt x="2880" y="2039"/>
                    <a:pt x="2179" y="1738"/>
                    <a:pt x="1666" y="1482"/>
                  </a:cubicBezTo>
                  <a:cubicBezTo>
                    <a:pt x="1409" y="1354"/>
                    <a:pt x="1197" y="1240"/>
                    <a:pt x="1051" y="1156"/>
                  </a:cubicBezTo>
                  <a:cubicBezTo>
                    <a:pt x="904" y="1074"/>
                    <a:pt x="822" y="1024"/>
                    <a:pt x="822" y="1024"/>
                  </a:cubicBezTo>
                  <a:cubicBezTo>
                    <a:pt x="562" y="872"/>
                    <a:pt x="285" y="688"/>
                    <a:pt x="0" y="474"/>
                  </a:cubicBezTo>
                  <a:cubicBezTo>
                    <a:pt x="0" y="474"/>
                    <a:pt x="39" y="515"/>
                    <a:pt x="97" y="577"/>
                  </a:cubicBezTo>
                  <a:cubicBezTo>
                    <a:pt x="155" y="640"/>
                    <a:pt x="234" y="722"/>
                    <a:pt x="314" y="80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13E43173-5204-4AE7-9286-42B266E172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" y="3647"/>
              <a:ext cx="62" cy="414"/>
            </a:xfrm>
            <a:custGeom>
              <a:avLst/>
              <a:gdLst>
                <a:gd name="T0" fmla="*/ 1387 w 1559"/>
                <a:gd name="T1" fmla="*/ 1291 h 10491"/>
                <a:gd name="T2" fmla="*/ 872 w 1559"/>
                <a:gd name="T3" fmla="*/ 5742 h 10491"/>
                <a:gd name="T4" fmla="*/ 564 w 1559"/>
                <a:gd name="T5" fmla="*/ 6847 h 10491"/>
                <a:gd name="T6" fmla="*/ 255 w 1559"/>
                <a:gd name="T7" fmla="*/ 5742 h 10491"/>
                <a:gd name="T8" fmla="*/ 20 w 1559"/>
                <a:gd name="T9" fmla="*/ 3712 h 10491"/>
                <a:gd name="T10" fmla="*/ 0 w 1559"/>
                <a:gd name="T11" fmla="*/ 4307 h 10491"/>
                <a:gd name="T12" fmla="*/ 121 w 1559"/>
                <a:gd name="T13" fmla="*/ 5356 h 10491"/>
                <a:gd name="T14" fmla="*/ 247 w 1559"/>
                <a:gd name="T15" fmla="*/ 6980 h 10491"/>
                <a:gd name="T16" fmla="*/ 280 w 1559"/>
                <a:gd name="T17" fmla="*/ 7913 h 10491"/>
                <a:gd name="T18" fmla="*/ 301 w 1559"/>
                <a:gd name="T19" fmla="*/ 8435 h 10491"/>
                <a:gd name="T20" fmla="*/ 385 w 1559"/>
                <a:gd name="T21" fmla="*/ 8990 h 10491"/>
                <a:gd name="T22" fmla="*/ 433 w 1559"/>
                <a:gd name="T23" fmla="*/ 9182 h 10491"/>
                <a:gd name="T24" fmla="*/ 490 w 1559"/>
                <a:gd name="T25" fmla="*/ 9371 h 10491"/>
                <a:gd name="T26" fmla="*/ 517 w 1559"/>
                <a:gd name="T27" fmla="*/ 9428 h 10491"/>
                <a:gd name="T28" fmla="*/ 593 w 1559"/>
                <a:gd name="T29" fmla="*/ 9576 h 10491"/>
                <a:gd name="T30" fmla="*/ 873 w 1559"/>
                <a:gd name="T31" fmla="*/ 9994 h 10491"/>
                <a:gd name="T32" fmla="*/ 1050 w 1559"/>
                <a:gd name="T33" fmla="*/ 10195 h 10491"/>
                <a:gd name="T34" fmla="*/ 1143 w 1559"/>
                <a:gd name="T35" fmla="*/ 10285 h 10491"/>
                <a:gd name="T36" fmla="*/ 1165 w 1559"/>
                <a:gd name="T37" fmla="*/ 10306 h 10491"/>
                <a:gd name="T38" fmla="*/ 1183 w 1559"/>
                <a:gd name="T39" fmla="*/ 10322 h 10491"/>
                <a:gd name="T40" fmla="*/ 1218 w 1559"/>
                <a:gd name="T41" fmla="*/ 10351 h 10491"/>
                <a:gd name="T42" fmla="*/ 1289 w 1559"/>
                <a:gd name="T43" fmla="*/ 10411 h 10491"/>
                <a:gd name="T44" fmla="*/ 1344 w 1559"/>
                <a:gd name="T45" fmla="*/ 10454 h 10491"/>
                <a:gd name="T46" fmla="*/ 1393 w 1559"/>
                <a:gd name="T47" fmla="*/ 10491 h 10491"/>
                <a:gd name="T48" fmla="*/ 1360 w 1559"/>
                <a:gd name="T49" fmla="*/ 10453 h 10491"/>
                <a:gd name="T50" fmla="*/ 1320 w 1559"/>
                <a:gd name="T51" fmla="*/ 10407 h 10491"/>
                <a:gd name="T52" fmla="*/ 1308 w 1559"/>
                <a:gd name="T53" fmla="*/ 10393 h 10491"/>
                <a:gd name="T54" fmla="*/ 1302 w 1559"/>
                <a:gd name="T55" fmla="*/ 10385 h 10491"/>
                <a:gd name="T56" fmla="*/ 1299 w 1559"/>
                <a:gd name="T57" fmla="*/ 10382 h 10491"/>
                <a:gd name="T58" fmla="*/ 1297 w 1559"/>
                <a:gd name="T59" fmla="*/ 10380 h 10491"/>
                <a:gd name="T60" fmla="*/ 1296 w 1559"/>
                <a:gd name="T61" fmla="*/ 10379 h 10491"/>
                <a:gd name="T62" fmla="*/ 1290 w 1559"/>
                <a:gd name="T63" fmla="*/ 10372 h 10491"/>
                <a:gd name="T64" fmla="*/ 1289 w 1559"/>
                <a:gd name="T65" fmla="*/ 10372 h 10491"/>
                <a:gd name="T66" fmla="*/ 1266 w 1559"/>
                <a:gd name="T67" fmla="*/ 10341 h 10491"/>
                <a:gd name="T68" fmla="*/ 1212 w 1559"/>
                <a:gd name="T69" fmla="*/ 10269 h 10491"/>
                <a:gd name="T70" fmla="*/ 1141 w 1559"/>
                <a:gd name="T71" fmla="*/ 10167 h 10491"/>
                <a:gd name="T72" fmla="*/ 997 w 1559"/>
                <a:gd name="T73" fmla="*/ 9922 h 10491"/>
                <a:gd name="T74" fmla="*/ 763 w 1559"/>
                <a:gd name="T75" fmla="*/ 9275 h 10491"/>
                <a:gd name="T76" fmla="*/ 685 w 1559"/>
                <a:gd name="T77" fmla="*/ 8519 h 10491"/>
                <a:gd name="T78" fmla="*/ 746 w 1559"/>
                <a:gd name="T79" fmla="*/ 7784 h 10491"/>
                <a:gd name="T80" fmla="*/ 819 w 1559"/>
                <a:gd name="T81" fmla="*/ 7151 h 10491"/>
                <a:gd name="T82" fmla="*/ 891 w 1559"/>
                <a:gd name="T83" fmla="*/ 6533 h 10491"/>
                <a:gd name="T84" fmla="*/ 1300 w 1559"/>
                <a:gd name="T85" fmla="*/ 5066 h 10491"/>
                <a:gd name="T86" fmla="*/ 1559 w 1559"/>
                <a:gd name="T87" fmla="*/ 5589 h 10491"/>
                <a:gd name="T88" fmla="*/ 1559 w 1559"/>
                <a:gd name="T89" fmla="*/ 638 h 10491"/>
                <a:gd name="T90" fmla="*/ 1485 w 1559"/>
                <a:gd name="T91" fmla="*/ 0 h 10491"/>
                <a:gd name="T92" fmla="*/ 1387 w 1559"/>
                <a:gd name="T93" fmla="*/ 1291 h 10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9" h="10491">
                  <a:moveTo>
                    <a:pt x="1387" y="1291"/>
                  </a:moveTo>
                  <a:cubicBezTo>
                    <a:pt x="872" y="5742"/>
                    <a:pt x="872" y="5742"/>
                    <a:pt x="872" y="5742"/>
                  </a:cubicBezTo>
                  <a:cubicBezTo>
                    <a:pt x="790" y="6455"/>
                    <a:pt x="680" y="6847"/>
                    <a:pt x="564" y="6847"/>
                  </a:cubicBezTo>
                  <a:cubicBezTo>
                    <a:pt x="447" y="6847"/>
                    <a:pt x="337" y="6455"/>
                    <a:pt x="255" y="5742"/>
                  </a:cubicBezTo>
                  <a:cubicBezTo>
                    <a:pt x="20" y="3712"/>
                    <a:pt x="20" y="3712"/>
                    <a:pt x="20" y="3712"/>
                  </a:cubicBezTo>
                  <a:cubicBezTo>
                    <a:pt x="11" y="3904"/>
                    <a:pt x="5" y="4103"/>
                    <a:pt x="0" y="4307"/>
                  </a:cubicBezTo>
                  <a:cubicBezTo>
                    <a:pt x="121" y="5356"/>
                    <a:pt x="121" y="5356"/>
                    <a:pt x="121" y="5356"/>
                  </a:cubicBezTo>
                  <a:cubicBezTo>
                    <a:pt x="176" y="5829"/>
                    <a:pt x="218" y="6380"/>
                    <a:pt x="247" y="6980"/>
                  </a:cubicBezTo>
                  <a:cubicBezTo>
                    <a:pt x="261" y="7280"/>
                    <a:pt x="272" y="7592"/>
                    <a:pt x="280" y="7913"/>
                  </a:cubicBezTo>
                  <a:cubicBezTo>
                    <a:pt x="283" y="8066"/>
                    <a:pt x="286" y="8254"/>
                    <a:pt x="301" y="8435"/>
                  </a:cubicBezTo>
                  <a:cubicBezTo>
                    <a:pt x="318" y="8617"/>
                    <a:pt x="345" y="8803"/>
                    <a:pt x="385" y="8990"/>
                  </a:cubicBezTo>
                  <a:cubicBezTo>
                    <a:pt x="400" y="9055"/>
                    <a:pt x="414" y="9118"/>
                    <a:pt x="433" y="9182"/>
                  </a:cubicBezTo>
                  <a:cubicBezTo>
                    <a:pt x="449" y="9245"/>
                    <a:pt x="469" y="9308"/>
                    <a:pt x="490" y="9371"/>
                  </a:cubicBezTo>
                  <a:cubicBezTo>
                    <a:pt x="490" y="9371"/>
                    <a:pt x="499" y="9392"/>
                    <a:pt x="517" y="9428"/>
                  </a:cubicBezTo>
                  <a:cubicBezTo>
                    <a:pt x="535" y="9464"/>
                    <a:pt x="560" y="9515"/>
                    <a:pt x="593" y="9576"/>
                  </a:cubicBezTo>
                  <a:cubicBezTo>
                    <a:pt x="659" y="9697"/>
                    <a:pt x="758" y="9852"/>
                    <a:pt x="873" y="9994"/>
                  </a:cubicBezTo>
                  <a:cubicBezTo>
                    <a:pt x="930" y="10066"/>
                    <a:pt x="991" y="10133"/>
                    <a:pt x="1050" y="10195"/>
                  </a:cubicBezTo>
                  <a:cubicBezTo>
                    <a:pt x="1082" y="10226"/>
                    <a:pt x="1113" y="10256"/>
                    <a:pt x="1143" y="10285"/>
                  </a:cubicBezTo>
                  <a:cubicBezTo>
                    <a:pt x="1150" y="10292"/>
                    <a:pt x="1157" y="10299"/>
                    <a:pt x="1165" y="10306"/>
                  </a:cubicBezTo>
                  <a:cubicBezTo>
                    <a:pt x="1171" y="10312"/>
                    <a:pt x="1177" y="10317"/>
                    <a:pt x="1183" y="10322"/>
                  </a:cubicBezTo>
                  <a:cubicBezTo>
                    <a:pt x="1195" y="10332"/>
                    <a:pt x="1207" y="10342"/>
                    <a:pt x="1218" y="10351"/>
                  </a:cubicBezTo>
                  <a:cubicBezTo>
                    <a:pt x="1244" y="10373"/>
                    <a:pt x="1268" y="10393"/>
                    <a:pt x="1289" y="10411"/>
                  </a:cubicBezTo>
                  <a:cubicBezTo>
                    <a:pt x="1310" y="10427"/>
                    <a:pt x="1329" y="10442"/>
                    <a:pt x="1344" y="10454"/>
                  </a:cubicBezTo>
                  <a:cubicBezTo>
                    <a:pt x="1375" y="10477"/>
                    <a:pt x="1393" y="10491"/>
                    <a:pt x="1393" y="10491"/>
                  </a:cubicBezTo>
                  <a:cubicBezTo>
                    <a:pt x="1393" y="10491"/>
                    <a:pt x="1381" y="10478"/>
                    <a:pt x="1360" y="10453"/>
                  </a:cubicBezTo>
                  <a:cubicBezTo>
                    <a:pt x="1349" y="10440"/>
                    <a:pt x="1336" y="10425"/>
                    <a:pt x="1320" y="10407"/>
                  </a:cubicBezTo>
                  <a:cubicBezTo>
                    <a:pt x="1316" y="10402"/>
                    <a:pt x="1312" y="10398"/>
                    <a:pt x="1308" y="10393"/>
                  </a:cubicBezTo>
                  <a:cubicBezTo>
                    <a:pt x="1302" y="10385"/>
                    <a:pt x="1302" y="10385"/>
                    <a:pt x="1302" y="10385"/>
                  </a:cubicBezTo>
                  <a:cubicBezTo>
                    <a:pt x="1299" y="10382"/>
                    <a:pt x="1299" y="10382"/>
                    <a:pt x="1299" y="10382"/>
                  </a:cubicBezTo>
                  <a:cubicBezTo>
                    <a:pt x="1297" y="10380"/>
                    <a:pt x="1297" y="10380"/>
                    <a:pt x="1297" y="10380"/>
                  </a:cubicBezTo>
                  <a:cubicBezTo>
                    <a:pt x="1296" y="10379"/>
                    <a:pt x="1296" y="10379"/>
                    <a:pt x="1296" y="10379"/>
                  </a:cubicBezTo>
                  <a:cubicBezTo>
                    <a:pt x="1290" y="10372"/>
                    <a:pt x="1290" y="10372"/>
                    <a:pt x="1290" y="10372"/>
                  </a:cubicBezTo>
                  <a:cubicBezTo>
                    <a:pt x="1289" y="10372"/>
                    <a:pt x="1289" y="10372"/>
                    <a:pt x="1289" y="10372"/>
                  </a:cubicBezTo>
                  <a:cubicBezTo>
                    <a:pt x="1282" y="10362"/>
                    <a:pt x="1274" y="10352"/>
                    <a:pt x="1266" y="10341"/>
                  </a:cubicBezTo>
                  <a:cubicBezTo>
                    <a:pt x="1250" y="10319"/>
                    <a:pt x="1232" y="10295"/>
                    <a:pt x="1212" y="10269"/>
                  </a:cubicBezTo>
                  <a:cubicBezTo>
                    <a:pt x="1190" y="10237"/>
                    <a:pt x="1167" y="10203"/>
                    <a:pt x="1141" y="10167"/>
                  </a:cubicBezTo>
                  <a:cubicBezTo>
                    <a:pt x="1092" y="10093"/>
                    <a:pt x="1045" y="10014"/>
                    <a:pt x="997" y="9922"/>
                  </a:cubicBezTo>
                  <a:cubicBezTo>
                    <a:pt x="902" y="9739"/>
                    <a:pt x="816" y="9517"/>
                    <a:pt x="763" y="9275"/>
                  </a:cubicBezTo>
                  <a:cubicBezTo>
                    <a:pt x="708" y="9033"/>
                    <a:pt x="682" y="8774"/>
                    <a:pt x="685" y="8519"/>
                  </a:cubicBezTo>
                  <a:cubicBezTo>
                    <a:pt x="686" y="8264"/>
                    <a:pt x="720" y="8015"/>
                    <a:pt x="746" y="7784"/>
                  </a:cubicBezTo>
                  <a:cubicBezTo>
                    <a:pt x="773" y="7553"/>
                    <a:pt x="798" y="7336"/>
                    <a:pt x="819" y="7151"/>
                  </a:cubicBezTo>
                  <a:cubicBezTo>
                    <a:pt x="862" y="6780"/>
                    <a:pt x="891" y="6533"/>
                    <a:pt x="891" y="6533"/>
                  </a:cubicBezTo>
                  <a:cubicBezTo>
                    <a:pt x="1000" y="5587"/>
                    <a:pt x="1146" y="5066"/>
                    <a:pt x="1300" y="5066"/>
                  </a:cubicBezTo>
                  <a:cubicBezTo>
                    <a:pt x="1392" y="5066"/>
                    <a:pt x="1479" y="5247"/>
                    <a:pt x="1559" y="5589"/>
                  </a:cubicBezTo>
                  <a:cubicBezTo>
                    <a:pt x="1559" y="638"/>
                    <a:pt x="1559" y="638"/>
                    <a:pt x="1559" y="638"/>
                  </a:cubicBezTo>
                  <a:cubicBezTo>
                    <a:pt x="1485" y="0"/>
                    <a:pt x="1485" y="0"/>
                    <a:pt x="1485" y="0"/>
                  </a:cubicBezTo>
                  <a:cubicBezTo>
                    <a:pt x="1463" y="478"/>
                    <a:pt x="1430" y="917"/>
                    <a:pt x="1387" y="129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78511501-1185-4A1E-8729-773B8ADDB4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0"/>
              <a:ext cx="130" cy="97"/>
            </a:xfrm>
            <a:custGeom>
              <a:avLst/>
              <a:gdLst>
                <a:gd name="T0" fmla="*/ 126 w 3289"/>
                <a:gd name="T1" fmla="*/ 1367 h 2452"/>
                <a:gd name="T2" fmla="*/ 129 w 3289"/>
                <a:gd name="T3" fmla="*/ 1336 h 2452"/>
                <a:gd name="T4" fmla="*/ 131 w 3289"/>
                <a:gd name="T5" fmla="*/ 1321 h 2452"/>
                <a:gd name="T6" fmla="*/ 132 w 3289"/>
                <a:gd name="T7" fmla="*/ 1313 h 2452"/>
                <a:gd name="T8" fmla="*/ 133 w 3289"/>
                <a:gd name="T9" fmla="*/ 1309 h 2452"/>
                <a:gd name="T10" fmla="*/ 133 w 3289"/>
                <a:gd name="T11" fmla="*/ 1308 h 2452"/>
                <a:gd name="T12" fmla="*/ 133 w 3289"/>
                <a:gd name="T13" fmla="*/ 1288 h 2452"/>
                <a:gd name="T14" fmla="*/ 133 w 3289"/>
                <a:gd name="T15" fmla="*/ 1286 h 2452"/>
                <a:gd name="T16" fmla="*/ 143 w 3289"/>
                <a:gd name="T17" fmla="*/ 1220 h 2452"/>
                <a:gd name="T18" fmla="*/ 161 w 3289"/>
                <a:gd name="T19" fmla="*/ 1093 h 2452"/>
                <a:gd name="T20" fmla="*/ 190 w 3289"/>
                <a:gd name="T21" fmla="*/ 975 h 2452"/>
                <a:gd name="T22" fmla="*/ 209 w 3289"/>
                <a:gd name="T23" fmla="*/ 913 h 2452"/>
                <a:gd name="T24" fmla="*/ 234 w 3289"/>
                <a:gd name="T25" fmla="*/ 847 h 2452"/>
                <a:gd name="T26" fmla="*/ 299 w 3289"/>
                <a:gd name="T27" fmla="*/ 712 h 2452"/>
                <a:gd name="T28" fmla="*/ 515 w 3289"/>
                <a:gd name="T29" fmla="*/ 447 h 2452"/>
                <a:gd name="T30" fmla="*/ 809 w 3289"/>
                <a:gd name="T31" fmla="*/ 275 h 2452"/>
                <a:gd name="T32" fmla="*/ 1081 w 3289"/>
                <a:gd name="T33" fmla="*/ 217 h 2452"/>
                <a:gd name="T34" fmla="*/ 1141 w 3289"/>
                <a:gd name="T35" fmla="*/ 214 h 2452"/>
                <a:gd name="T36" fmla="*/ 1195 w 3289"/>
                <a:gd name="T37" fmla="*/ 215 h 2452"/>
                <a:gd name="T38" fmla="*/ 1222 w 3289"/>
                <a:gd name="T39" fmla="*/ 215 h 2452"/>
                <a:gd name="T40" fmla="*/ 1245 w 3289"/>
                <a:gd name="T41" fmla="*/ 217 h 2452"/>
                <a:gd name="T42" fmla="*/ 1273 w 3289"/>
                <a:gd name="T43" fmla="*/ 220 h 2452"/>
                <a:gd name="T44" fmla="*/ 1383 w 3289"/>
                <a:gd name="T45" fmla="*/ 233 h 2452"/>
                <a:gd name="T46" fmla="*/ 1585 w 3289"/>
                <a:gd name="T47" fmla="*/ 256 h 2452"/>
                <a:gd name="T48" fmla="*/ 2002 w 3289"/>
                <a:gd name="T49" fmla="*/ 304 h 2452"/>
                <a:gd name="T50" fmla="*/ 2803 w 3289"/>
                <a:gd name="T51" fmla="*/ 441 h 2452"/>
                <a:gd name="T52" fmla="*/ 3289 w 3289"/>
                <a:gd name="T53" fmla="*/ 384 h 2452"/>
                <a:gd name="T54" fmla="*/ 2576 w 3289"/>
                <a:gd name="T55" fmla="*/ 302 h 2452"/>
                <a:gd name="T56" fmla="*/ 1675 w 3289"/>
                <a:gd name="T57" fmla="*/ 160 h 2452"/>
                <a:gd name="T58" fmla="*/ 1378 w 3289"/>
                <a:gd name="T59" fmla="*/ 80 h 2452"/>
                <a:gd name="T60" fmla="*/ 1269 w 3289"/>
                <a:gd name="T61" fmla="*/ 39 h 2452"/>
                <a:gd name="T62" fmla="*/ 1246 w 3289"/>
                <a:gd name="T63" fmla="*/ 28 h 2452"/>
                <a:gd name="T64" fmla="*/ 1241 w 3289"/>
                <a:gd name="T65" fmla="*/ 25 h 2452"/>
                <a:gd name="T66" fmla="*/ 1230 w 3289"/>
                <a:gd name="T67" fmla="*/ 23 h 2452"/>
                <a:gd name="T68" fmla="*/ 1208 w 3289"/>
                <a:gd name="T69" fmla="*/ 18 h 2452"/>
                <a:gd name="T70" fmla="*/ 1126 w 3289"/>
                <a:gd name="T71" fmla="*/ 0 h 2452"/>
                <a:gd name="T72" fmla="*/ 1076 w 3289"/>
                <a:gd name="T73" fmla="*/ 5 h 2452"/>
                <a:gd name="T74" fmla="*/ 1016 w 3289"/>
                <a:gd name="T75" fmla="*/ 13 h 2452"/>
                <a:gd name="T76" fmla="*/ 928 w 3289"/>
                <a:gd name="T77" fmla="*/ 31 h 2452"/>
                <a:gd name="T78" fmla="*/ 813 w 3289"/>
                <a:gd name="T79" fmla="*/ 63 h 2452"/>
                <a:gd name="T80" fmla="*/ 671 w 3289"/>
                <a:gd name="T81" fmla="*/ 121 h 2452"/>
                <a:gd name="T82" fmla="*/ 509 w 3289"/>
                <a:gd name="T83" fmla="*/ 217 h 2452"/>
                <a:gd name="T84" fmla="*/ 346 w 3289"/>
                <a:gd name="T85" fmla="*/ 358 h 2452"/>
                <a:gd name="T86" fmla="*/ 107 w 3289"/>
                <a:gd name="T87" fmla="*/ 725 h 2452"/>
                <a:gd name="T88" fmla="*/ 15 w 3289"/>
                <a:gd name="T89" fmla="*/ 1082 h 2452"/>
                <a:gd name="T90" fmla="*/ 6 w 3289"/>
                <a:gd name="T91" fmla="*/ 1175 h 2452"/>
                <a:gd name="T92" fmla="*/ 2 w 3289"/>
                <a:gd name="T93" fmla="*/ 1223 h 2452"/>
                <a:gd name="T94" fmla="*/ 2 w 3289"/>
                <a:gd name="T95" fmla="*/ 1244 h 2452"/>
                <a:gd name="T96" fmla="*/ 0 w 3289"/>
                <a:gd name="T97" fmla="*/ 1309 h 2452"/>
                <a:gd name="T98" fmla="*/ 0 w 3289"/>
                <a:gd name="T99" fmla="*/ 1352 h 2452"/>
                <a:gd name="T100" fmla="*/ 0 w 3289"/>
                <a:gd name="T101" fmla="*/ 1525 h 2452"/>
                <a:gd name="T102" fmla="*/ 0 w 3289"/>
                <a:gd name="T103" fmla="*/ 2452 h 2452"/>
                <a:gd name="T104" fmla="*/ 49 w 3289"/>
                <a:gd name="T105" fmla="*/ 2035 h 2452"/>
                <a:gd name="T106" fmla="*/ 98 w 3289"/>
                <a:gd name="T107" fmla="*/ 1608 h 2452"/>
                <a:gd name="T108" fmla="*/ 126 w 3289"/>
                <a:gd name="T109" fmla="*/ 1367 h 2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89" h="2452">
                  <a:moveTo>
                    <a:pt x="126" y="1367"/>
                  </a:moveTo>
                  <a:cubicBezTo>
                    <a:pt x="129" y="1336"/>
                    <a:pt x="129" y="1336"/>
                    <a:pt x="129" y="1336"/>
                  </a:cubicBezTo>
                  <a:cubicBezTo>
                    <a:pt x="131" y="1321"/>
                    <a:pt x="131" y="1321"/>
                    <a:pt x="131" y="1321"/>
                  </a:cubicBezTo>
                  <a:cubicBezTo>
                    <a:pt x="132" y="1313"/>
                    <a:pt x="132" y="1313"/>
                    <a:pt x="132" y="1313"/>
                  </a:cubicBezTo>
                  <a:cubicBezTo>
                    <a:pt x="133" y="1309"/>
                    <a:pt x="133" y="1309"/>
                    <a:pt x="133" y="1309"/>
                  </a:cubicBezTo>
                  <a:cubicBezTo>
                    <a:pt x="133" y="1308"/>
                    <a:pt x="133" y="1308"/>
                    <a:pt x="133" y="1308"/>
                  </a:cubicBezTo>
                  <a:cubicBezTo>
                    <a:pt x="133" y="1269"/>
                    <a:pt x="133" y="1297"/>
                    <a:pt x="133" y="1288"/>
                  </a:cubicBezTo>
                  <a:cubicBezTo>
                    <a:pt x="133" y="1286"/>
                    <a:pt x="133" y="1286"/>
                    <a:pt x="133" y="1286"/>
                  </a:cubicBezTo>
                  <a:cubicBezTo>
                    <a:pt x="143" y="1220"/>
                    <a:pt x="143" y="1220"/>
                    <a:pt x="143" y="1220"/>
                  </a:cubicBezTo>
                  <a:cubicBezTo>
                    <a:pt x="148" y="1178"/>
                    <a:pt x="153" y="1132"/>
                    <a:pt x="161" y="1093"/>
                  </a:cubicBezTo>
                  <a:cubicBezTo>
                    <a:pt x="170" y="1053"/>
                    <a:pt x="177" y="1018"/>
                    <a:pt x="190" y="975"/>
                  </a:cubicBezTo>
                  <a:cubicBezTo>
                    <a:pt x="209" y="913"/>
                    <a:pt x="209" y="913"/>
                    <a:pt x="209" y="913"/>
                  </a:cubicBezTo>
                  <a:cubicBezTo>
                    <a:pt x="217" y="892"/>
                    <a:pt x="225" y="869"/>
                    <a:pt x="234" y="847"/>
                  </a:cubicBezTo>
                  <a:cubicBezTo>
                    <a:pt x="250" y="805"/>
                    <a:pt x="275" y="756"/>
                    <a:pt x="299" y="712"/>
                  </a:cubicBezTo>
                  <a:cubicBezTo>
                    <a:pt x="353" y="619"/>
                    <a:pt x="424" y="526"/>
                    <a:pt x="515" y="447"/>
                  </a:cubicBezTo>
                  <a:cubicBezTo>
                    <a:pt x="606" y="369"/>
                    <a:pt x="711" y="309"/>
                    <a:pt x="809" y="275"/>
                  </a:cubicBezTo>
                  <a:cubicBezTo>
                    <a:pt x="908" y="239"/>
                    <a:pt x="1001" y="222"/>
                    <a:pt x="1081" y="217"/>
                  </a:cubicBezTo>
                  <a:cubicBezTo>
                    <a:pt x="1141" y="214"/>
                    <a:pt x="1141" y="214"/>
                    <a:pt x="1141" y="214"/>
                  </a:cubicBezTo>
                  <a:cubicBezTo>
                    <a:pt x="1195" y="215"/>
                    <a:pt x="1195" y="215"/>
                    <a:pt x="1195" y="215"/>
                  </a:cubicBezTo>
                  <a:cubicBezTo>
                    <a:pt x="1222" y="215"/>
                    <a:pt x="1222" y="215"/>
                    <a:pt x="1222" y="215"/>
                  </a:cubicBezTo>
                  <a:cubicBezTo>
                    <a:pt x="1230" y="216"/>
                    <a:pt x="1242" y="216"/>
                    <a:pt x="1245" y="217"/>
                  </a:cubicBezTo>
                  <a:cubicBezTo>
                    <a:pt x="1273" y="220"/>
                    <a:pt x="1273" y="220"/>
                    <a:pt x="1273" y="220"/>
                  </a:cubicBezTo>
                  <a:cubicBezTo>
                    <a:pt x="1311" y="224"/>
                    <a:pt x="1348" y="229"/>
                    <a:pt x="1383" y="233"/>
                  </a:cubicBezTo>
                  <a:cubicBezTo>
                    <a:pt x="1455" y="241"/>
                    <a:pt x="1523" y="249"/>
                    <a:pt x="1585" y="256"/>
                  </a:cubicBezTo>
                  <a:cubicBezTo>
                    <a:pt x="1835" y="285"/>
                    <a:pt x="2002" y="304"/>
                    <a:pt x="2002" y="304"/>
                  </a:cubicBezTo>
                  <a:cubicBezTo>
                    <a:pt x="2347" y="344"/>
                    <a:pt x="2616" y="390"/>
                    <a:pt x="2803" y="441"/>
                  </a:cubicBezTo>
                  <a:cubicBezTo>
                    <a:pt x="3289" y="384"/>
                    <a:pt x="3289" y="384"/>
                    <a:pt x="3289" y="384"/>
                  </a:cubicBezTo>
                  <a:cubicBezTo>
                    <a:pt x="2576" y="302"/>
                    <a:pt x="2576" y="302"/>
                    <a:pt x="2576" y="302"/>
                  </a:cubicBezTo>
                  <a:cubicBezTo>
                    <a:pt x="2210" y="260"/>
                    <a:pt x="1908" y="212"/>
                    <a:pt x="1675" y="160"/>
                  </a:cubicBezTo>
                  <a:cubicBezTo>
                    <a:pt x="1558" y="135"/>
                    <a:pt x="1459" y="108"/>
                    <a:pt x="1378" y="80"/>
                  </a:cubicBezTo>
                  <a:cubicBezTo>
                    <a:pt x="1337" y="67"/>
                    <a:pt x="1301" y="53"/>
                    <a:pt x="1269" y="39"/>
                  </a:cubicBezTo>
                  <a:cubicBezTo>
                    <a:pt x="1246" y="28"/>
                    <a:pt x="1246" y="28"/>
                    <a:pt x="1246" y="28"/>
                  </a:cubicBezTo>
                  <a:cubicBezTo>
                    <a:pt x="1241" y="25"/>
                    <a:pt x="1241" y="25"/>
                    <a:pt x="1241" y="25"/>
                  </a:cubicBezTo>
                  <a:cubicBezTo>
                    <a:pt x="1239" y="24"/>
                    <a:pt x="1234" y="24"/>
                    <a:pt x="1230" y="23"/>
                  </a:cubicBezTo>
                  <a:cubicBezTo>
                    <a:pt x="1208" y="18"/>
                    <a:pt x="1208" y="18"/>
                    <a:pt x="1208" y="18"/>
                  </a:cubicBezTo>
                  <a:cubicBezTo>
                    <a:pt x="1126" y="0"/>
                    <a:pt x="1126" y="0"/>
                    <a:pt x="1126" y="0"/>
                  </a:cubicBezTo>
                  <a:cubicBezTo>
                    <a:pt x="1126" y="0"/>
                    <a:pt x="1109" y="2"/>
                    <a:pt x="1076" y="5"/>
                  </a:cubicBezTo>
                  <a:cubicBezTo>
                    <a:pt x="1060" y="8"/>
                    <a:pt x="1040" y="10"/>
                    <a:pt x="1016" y="13"/>
                  </a:cubicBezTo>
                  <a:cubicBezTo>
                    <a:pt x="992" y="17"/>
                    <a:pt x="961" y="23"/>
                    <a:pt x="928" y="31"/>
                  </a:cubicBezTo>
                  <a:cubicBezTo>
                    <a:pt x="896" y="37"/>
                    <a:pt x="856" y="49"/>
                    <a:pt x="813" y="63"/>
                  </a:cubicBezTo>
                  <a:cubicBezTo>
                    <a:pt x="771" y="76"/>
                    <a:pt x="722" y="96"/>
                    <a:pt x="671" y="121"/>
                  </a:cubicBezTo>
                  <a:cubicBezTo>
                    <a:pt x="620" y="144"/>
                    <a:pt x="563" y="179"/>
                    <a:pt x="509" y="217"/>
                  </a:cubicBezTo>
                  <a:cubicBezTo>
                    <a:pt x="453" y="257"/>
                    <a:pt x="397" y="303"/>
                    <a:pt x="346" y="358"/>
                  </a:cubicBezTo>
                  <a:cubicBezTo>
                    <a:pt x="242" y="465"/>
                    <a:pt x="157" y="600"/>
                    <a:pt x="107" y="725"/>
                  </a:cubicBezTo>
                  <a:cubicBezTo>
                    <a:pt x="56" y="851"/>
                    <a:pt x="29" y="973"/>
                    <a:pt x="15" y="1082"/>
                  </a:cubicBezTo>
                  <a:cubicBezTo>
                    <a:pt x="11" y="1111"/>
                    <a:pt x="8" y="1144"/>
                    <a:pt x="6" y="1175"/>
                  </a:cubicBezTo>
                  <a:cubicBezTo>
                    <a:pt x="2" y="1223"/>
                    <a:pt x="2" y="1223"/>
                    <a:pt x="2" y="1223"/>
                  </a:cubicBezTo>
                  <a:cubicBezTo>
                    <a:pt x="2" y="1244"/>
                    <a:pt x="2" y="1244"/>
                    <a:pt x="2" y="1244"/>
                  </a:cubicBezTo>
                  <a:cubicBezTo>
                    <a:pt x="1" y="1266"/>
                    <a:pt x="1" y="1288"/>
                    <a:pt x="0" y="1309"/>
                  </a:cubicBezTo>
                  <a:cubicBezTo>
                    <a:pt x="0" y="1352"/>
                    <a:pt x="0" y="1352"/>
                    <a:pt x="0" y="1352"/>
                  </a:cubicBezTo>
                  <a:cubicBezTo>
                    <a:pt x="0" y="1409"/>
                    <a:pt x="0" y="1467"/>
                    <a:pt x="0" y="1525"/>
                  </a:cubicBezTo>
                  <a:cubicBezTo>
                    <a:pt x="0" y="1988"/>
                    <a:pt x="0" y="2452"/>
                    <a:pt x="0" y="2452"/>
                  </a:cubicBezTo>
                  <a:cubicBezTo>
                    <a:pt x="0" y="2452"/>
                    <a:pt x="20" y="2285"/>
                    <a:pt x="49" y="2035"/>
                  </a:cubicBezTo>
                  <a:cubicBezTo>
                    <a:pt x="63" y="1910"/>
                    <a:pt x="80" y="1764"/>
                    <a:pt x="98" y="1608"/>
                  </a:cubicBezTo>
                  <a:cubicBezTo>
                    <a:pt x="107" y="1530"/>
                    <a:pt x="116" y="1449"/>
                    <a:pt x="126" y="136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FD053C95-B75D-4187-A64F-46E6096C4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EF6D3A0-DB4B-4ECA-B68B-18235F9764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0" cy="0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0 h 6"/>
                <a:gd name="T4" fmla="*/ 6 w 12"/>
                <a:gd name="T5" fmla="*/ 3 h 6"/>
                <a:gd name="T6" fmla="*/ 10 w 12"/>
                <a:gd name="T7" fmla="*/ 1 h 6"/>
                <a:gd name="T8" fmla="*/ 11 w 12"/>
                <a:gd name="T9" fmla="*/ 1 h 6"/>
                <a:gd name="T10" fmla="*/ 12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6"/>
                    <a:pt x="6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630E9517-7B63-4E9B-800C-3B83A623E8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0" y="3368"/>
              <a:ext cx="347" cy="212"/>
            </a:xfrm>
            <a:custGeom>
              <a:avLst/>
              <a:gdLst>
                <a:gd name="T0" fmla="*/ 186 w 8793"/>
                <a:gd name="T1" fmla="*/ 5251 h 5367"/>
                <a:gd name="T2" fmla="*/ 670 w 8793"/>
                <a:gd name="T3" fmla="*/ 4930 h 5367"/>
                <a:gd name="T4" fmla="*/ 987 w 8793"/>
                <a:gd name="T5" fmla="*/ 4704 h 5367"/>
                <a:gd name="T6" fmla="*/ 1343 w 8793"/>
                <a:gd name="T7" fmla="*/ 4443 h 5367"/>
                <a:gd name="T8" fmla="*/ 2115 w 8793"/>
                <a:gd name="T9" fmla="*/ 3875 h 5367"/>
                <a:gd name="T10" fmla="*/ 4219 w 8793"/>
                <a:gd name="T11" fmla="*/ 2328 h 5367"/>
                <a:gd name="T12" fmla="*/ 5571 w 8793"/>
                <a:gd name="T13" fmla="*/ 1629 h 5367"/>
                <a:gd name="T14" fmla="*/ 5567 w 8793"/>
                <a:gd name="T15" fmla="*/ 1811 h 5367"/>
                <a:gd name="T16" fmla="*/ 6235 w 8793"/>
                <a:gd name="T17" fmla="*/ 1190 h 5367"/>
                <a:gd name="T18" fmla="*/ 6694 w 8793"/>
                <a:gd name="T19" fmla="*/ 763 h 5367"/>
                <a:gd name="T20" fmla="*/ 6780 w 8793"/>
                <a:gd name="T21" fmla="*/ 683 h 5367"/>
                <a:gd name="T22" fmla="*/ 6815 w 8793"/>
                <a:gd name="T23" fmla="*/ 650 h 5367"/>
                <a:gd name="T24" fmla="*/ 6863 w 8793"/>
                <a:gd name="T25" fmla="*/ 604 h 5367"/>
                <a:gd name="T26" fmla="*/ 6909 w 8793"/>
                <a:gd name="T27" fmla="*/ 559 h 5367"/>
                <a:gd name="T28" fmla="*/ 6963 w 8793"/>
                <a:gd name="T29" fmla="*/ 492 h 5367"/>
                <a:gd name="T30" fmla="*/ 7020 w 8793"/>
                <a:gd name="T31" fmla="*/ 423 h 5367"/>
                <a:gd name="T32" fmla="*/ 7075 w 8793"/>
                <a:gd name="T33" fmla="*/ 359 h 5367"/>
                <a:gd name="T34" fmla="*/ 7079 w 8793"/>
                <a:gd name="T35" fmla="*/ 343 h 5367"/>
                <a:gd name="T36" fmla="*/ 7079 w 8793"/>
                <a:gd name="T37" fmla="*/ 343 h 5367"/>
                <a:gd name="T38" fmla="*/ 7079 w 8793"/>
                <a:gd name="T39" fmla="*/ 343 h 5367"/>
                <a:gd name="T40" fmla="*/ 7067 w 8793"/>
                <a:gd name="T41" fmla="*/ 348 h 5367"/>
                <a:gd name="T42" fmla="*/ 7069 w 8793"/>
                <a:gd name="T43" fmla="*/ 348 h 5367"/>
                <a:gd name="T44" fmla="*/ 7074 w 8793"/>
                <a:gd name="T45" fmla="*/ 344 h 5367"/>
                <a:gd name="T46" fmla="*/ 7084 w 8793"/>
                <a:gd name="T47" fmla="*/ 338 h 5367"/>
                <a:gd name="T48" fmla="*/ 7088 w 8793"/>
                <a:gd name="T49" fmla="*/ 335 h 5367"/>
                <a:gd name="T50" fmla="*/ 7086 w 8793"/>
                <a:gd name="T51" fmla="*/ 335 h 5367"/>
                <a:gd name="T52" fmla="*/ 7082 w 8793"/>
                <a:gd name="T53" fmla="*/ 336 h 5367"/>
                <a:gd name="T54" fmla="*/ 7084 w 8793"/>
                <a:gd name="T55" fmla="*/ 329 h 5367"/>
                <a:gd name="T56" fmla="*/ 7114 w 8793"/>
                <a:gd name="T57" fmla="*/ 297 h 5367"/>
                <a:gd name="T58" fmla="*/ 7128 w 8793"/>
                <a:gd name="T59" fmla="*/ 289 h 5367"/>
                <a:gd name="T60" fmla="*/ 7137 w 8793"/>
                <a:gd name="T61" fmla="*/ 286 h 5367"/>
                <a:gd name="T62" fmla="*/ 7141 w 8793"/>
                <a:gd name="T63" fmla="*/ 284 h 5367"/>
                <a:gd name="T64" fmla="*/ 7156 w 8793"/>
                <a:gd name="T65" fmla="*/ 282 h 5367"/>
                <a:gd name="T66" fmla="*/ 7272 w 8793"/>
                <a:gd name="T67" fmla="*/ 269 h 5367"/>
                <a:gd name="T68" fmla="*/ 7511 w 8793"/>
                <a:gd name="T69" fmla="*/ 241 h 5367"/>
                <a:gd name="T70" fmla="*/ 8788 w 8793"/>
                <a:gd name="T71" fmla="*/ 94 h 5367"/>
                <a:gd name="T72" fmla="*/ 8793 w 8793"/>
                <a:gd name="T73" fmla="*/ 71 h 5367"/>
                <a:gd name="T74" fmla="*/ 8743 w 8793"/>
                <a:gd name="T75" fmla="*/ 0 h 5367"/>
                <a:gd name="T76" fmla="*/ 7920 w 8793"/>
                <a:gd name="T77" fmla="*/ 35 h 5367"/>
                <a:gd name="T78" fmla="*/ 7484 w 8793"/>
                <a:gd name="T79" fmla="*/ 44 h 5367"/>
                <a:gd name="T80" fmla="*/ 7261 w 8793"/>
                <a:gd name="T81" fmla="*/ 46 h 5367"/>
                <a:gd name="T82" fmla="*/ 7149 w 8793"/>
                <a:gd name="T83" fmla="*/ 46 h 5367"/>
                <a:gd name="T84" fmla="*/ 7086 w 8793"/>
                <a:gd name="T85" fmla="*/ 49 h 5367"/>
                <a:gd name="T86" fmla="*/ 6999 w 8793"/>
                <a:gd name="T87" fmla="*/ 68 h 5367"/>
                <a:gd name="T88" fmla="*/ 6965 w 8793"/>
                <a:gd name="T89" fmla="*/ 80 h 5367"/>
                <a:gd name="T90" fmla="*/ 6948 w 8793"/>
                <a:gd name="T91" fmla="*/ 88 h 5367"/>
                <a:gd name="T92" fmla="*/ 6947 w 8793"/>
                <a:gd name="T93" fmla="*/ 88 h 5367"/>
                <a:gd name="T94" fmla="*/ 6944 w 8793"/>
                <a:gd name="T95" fmla="*/ 90 h 5367"/>
                <a:gd name="T96" fmla="*/ 6925 w 8793"/>
                <a:gd name="T97" fmla="*/ 100 h 5367"/>
                <a:gd name="T98" fmla="*/ 6705 w 8793"/>
                <a:gd name="T99" fmla="*/ 269 h 5367"/>
                <a:gd name="T100" fmla="*/ 6177 w 8793"/>
                <a:gd name="T101" fmla="*/ 731 h 5367"/>
                <a:gd name="T102" fmla="*/ 5216 w 8793"/>
                <a:gd name="T103" fmla="*/ 1495 h 5367"/>
                <a:gd name="T104" fmla="*/ 1606 w 8793"/>
                <a:gd name="T105" fmla="*/ 4150 h 5367"/>
                <a:gd name="T106" fmla="*/ 675 w 8793"/>
                <a:gd name="T107" fmla="*/ 4689 h 5367"/>
                <a:gd name="T108" fmla="*/ 12 w 8793"/>
                <a:gd name="T109" fmla="*/ 5355 h 5367"/>
                <a:gd name="T110" fmla="*/ 0 w 8793"/>
                <a:gd name="T111" fmla="*/ 5367 h 5367"/>
                <a:gd name="T112" fmla="*/ 49 w 8793"/>
                <a:gd name="T113" fmla="*/ 5337 h 5367"/>
                <a:gd name="T114" fmla="*/ 186 w 8793"/>
                <a:gd name="T115" fmla="*/ 5251 h 5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93" h="5367">
                  <a:moveTo>
                    <a:pt x="186" y="5251"/>
                  </a:moveTo>
                  <a:cubicBezTo>
                    <a:pt x="304" y="5176"/>
                    <a:pt x="472" y="5068"/>
                    <a:pt x="670" y="4930"/>
                  </a:cubicBezTo>
                  <a:cubicBezTo>
                    <a:pt x="770" y="4862"/>
                    <a:pt x="874" y="4785"/>
                    <a:pt x="987" y="4704"/>
                  </a:cubicBezTo>
                  <a:cubicBezTo>
                    <a:pt x="1100" y="4621"/>
                    <a:pt x="1219" y="4533"/>
                    <a:pt x="1343" y="4443"/>
                  </a:cubicBezTo>
                  <a:cubicBezTo>
                    <a:pt x="1589" y="4261"/>
                    <a:pt x="1852" y="4068"/>
                    <a:pt x="2115" y="3875"/>
                  </a:cubicBezTo>
                  <a:cubicBezTo>
                    <a:pt x="3167" y="3101"/>
                    <a:pt x="4219" y="2328"/>
                    <a:pt x="4219" y="2328"/>
                  </a:cubicBezTo>
                  <a:cubicBezTo>
                    <a:pt x="4986" y="1764"/>
                    <a:pt x="5466" y="1516"/>
                    <a:pt x="5571" y="1629"/>
                  </a:cubicBezTo>
                  <a:cubicBezTo>
                    <a:pt x="5602" y="1662"/>
                    <a:pt x="5600" y="1723"/>
                    <a:pt x="5567" y="1811"/>
                  </a:cubicBezTo>
                  <a:cubicBezTo>
                    <a:pt x="5567" y="1811"/>
                    <a:pt x="5901" y="1501"/>
                    <a:pt x="6235" y="1190"/>
                  </a:cubicBezTo>
                  <a:cubicBezTo>
                    <a:pt x="6402" y="1035"/>
                    <a:pt x="6569" y="879"/>
                    <a:pt x="6694" y="763"/>
                  </a:cubicBezTo>
                  <a:cubicBezTo>
                    <a:pt x="6726" y="734"/>
                    <a:pt x="6754" y="707"/>
                    <a:pt x="6780" y="683"/>
                  </a:cubicBezTo>
                  <a:cubicBezTo>
                    <a:pt x="6792" y="672"/>
                    <a:pt x="6804" y="661"/>
                    <a:pt x="6815" y="650"/>
                  </a:cubicBezTo>
                  <a:cubicBezTo>
                    <a:pt x="6833" y="633"/>
                    <a:pt x="6849" y="618"/>
                    <a:pt x="6863" y="604"/>
                  </a:cubicBezTo>
                  <a:cubicBezTo>
                    <a:pt x="6892" y="576"/>
                    <a:pt x="6909" y="559"/>
                    <a:pt x="6909" y="559"/>
                  </a:cubicBezTo>
                  <a:cubicBezTo>
                    <a:pt x="6909" y="559"/>
                    <a:pt x="6929" y="535"/>
                    <a:pt x="6963" y="492"/>
                  </a:cubicBezTo>
                  <a:cubicBezTo>
                    <a:pt x="6979" y="473"/>
                    <a:pt x="6998" y="450"/>
                    <a:pt x="7020" y="423"/>
                  </a:cubicBezTo>
                  <a:cubicBezTo>
                    <a:pt x="7041" y="400"/>
                    <a:pt x="7063" y="375"/>
                    <a:pt x="7075" y="359"/>
                  </a:cubicBezTo>
                  <a:cubicBezTo>
                    <a:pt x="7081" y="350"/>
                    <a:pt x="7085" y="344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4" y="345"/>
                    <a:pt x="7090" y="337"/>
                    <a:pt x="7067" y="348"/>
                  </a:cubicBezTo>
                  <a:cubicBezTo>
                    <a:pt x="7069" y="348"/>
                    <a:pt x="7069" y="348"/>
                    <a:pt x="7069" y="348"/>
                  </a:cubicBezTo>
                  <a:cubicBezTo>
                    <a:pt x="7074" y="344"/>
                    <a:pt x="7074" y="344"/>
                    <a:pt x="7074" y="344"/>
                  </a:cubicBezTo>
                  <a:cubicBezTo>
                    <a:pt x="7084" y="338"/>
                    <a:pt x="7084" y="338"/>
                    <a:pt x="7084" y="338"/>
                  </a:cubicBezTo>
                  <a:cubicBezTo>
                    <a:pt x="7085" y="337"/>
                    <a:pt x="7089" y="335"/>
                    <a:pt x="7088" y="335"/>
                  </a:cubicBezTo>
                  <a:cubicBezTo>
                    <a:pt x="7086" y="335"/>
                    <a:pt x="7086" y="335"/>
                    <a:pt x="7086" y="335"/>
                  </a:cubicBezTo>
                  <a:cubicBezTo>
                    <a:pt x="7082" y="336"/>
                    <a:pt x="7082" y="336"/>
                    <a:pt x="7082" y="336"/>
                  </a:cubicBezTo>
                  <a:cubicBezTo>
                    <a:pt x="7079" y="335"/>
                    <a:pt x="7083" y="331"/>
                    <a:pt x="7084" y="329"/>
                  </a:cubicBezTo>
                  <a:cubicBezTo>
                    <a:pt x="7089" y="318"/>
                    <a:pt x="7098" y="307"/>
                    <a:pt x="7114" y="297"/>
                  </a:cubicBezTo>
                  <a:cubicBezTo>
                    <a:pt x="7119" y="294"/>
                    <a:pt x="7123" y="292"/>
                    <a:pt x="7128" y="289"/>
                  </a:cubicBezTo>
                  <a:cubicBezTo>
                    <a:pt x="7131" y="288"/>
                    <a:pt x="7134" y="287"/>
                    <a:pt x="7137" y="286"/>
                  </a:cubicBezTo>
                  <a:cubicBezTo>
                    <a:pt x="7141" y="284"/>
                    <a:pt x="7141" y="284"/>
                    <a:pt x="7141" y="284"/>
                  </a:cubicBezTo>
                  <a:cubicBezTo>
                    <a:pt x="7156" y="282"/>
                    <a:pt x="7156" y="282"/>
                    <a:pt x="7156" y="282"/>
                  </a:cubicBezTo>
                  <a:cubicBezTo>
                    <a:pt x="7194" y="278"/>
                    <a:pt x="7233" y="273"/>
                    <a:pt x="7272" y="269"/>
                  </a:cubicBezTo>
                  <a:cubicBezTo>
                    <a:pt x="7351" y="260"/>
                    <a:pt x="7431" y="251"/>
                    <a:pt x="7511" y="241"/>
                  </a:cubicBezTo>
                  <a:cubicBezTo>
                    <a:pt x="8149" y="167"/>
                    <a:pt x="8788" y="94"/>
                    <a:pt x="8788" y="94"/>
                  </a:cubicBezTo>
                  <a:cubicBezTo>
                    <a:pt x="8791" y="86"/>
                    <a:pt x="8793" y="78"/>
                    <a:pt x="8793" y="71"/>
                  </a:cubicBezTo>
                  <a:cubicBezTo>
                    <a:pt x="8793" y="46"/>
                    <a:pt x="8776" y="23"/>
                    <a:pt x="8743" y="0"/>
                  </a:cubicBezTo>
                  <a:cubicBezTo>
                    <a:pt x="8482" y="15"/>
                    <a:pt x="8206" y="27"/>
                    <a:pt x="7920" y="35"/>
                  </a:cubicBezTo>
                  <a:cubicBezTo>
                    <a:pt x="7775" y="38"/>
                    <a:pt x="7630" y="41"/>
                    <a:pt x="7484" y="44"/>
                  </a:cubicBezTo>
                  <a:cubicBezTo>
                    <a:pt x="7410" y="44"/>
                    <a:pt x="7336" y="45"/>
                    <a:pt x="7261" y="46"/>
                  </a:cubicBezTo>
                  <a:cubicBezTo>
                    <a:pt x="7149" y="46"/>
                    <a:pt x="7149" y="46"/>
                    <a:pt x="7149" y="46"/>
                  </a:cubicBezTo>
                  <a:cubicBezTo>
                    <a:pt x="7121" y="47"/>
                    <a:pt x="7107" y="47"/>
                    <a:pt x="7086" y="49"/>
                  </a:cubicBezTo>
                  <a:cubicBezTo>
                    <a:pt x="7055" y="53"/>
                    <a:pt x="7026" y="59"/>
                    <a:pt x="6999" y="68"/>
                  </a:cubicBezTo>
                  <a:cubicBezTo>
                    <a:pt x="6987" y="71"/>
                    <a:pt x="6969" y="79"/>
                    <a:pt x="6965" y="80"/>
                  </a:cubicBezTo>
                  <a:cubicBezTo>
                    <a:pt x="6948" y="88"/>
                    <a:pt x="6948" y="88"/>
                    <a:pt x="6948" y="88"/>
                  </a:cubicBezTo>
                  <a:cubicBezTo>
                    <a:pt x="6947" y="88"/>
                    <a:pt x="6947" y="88"/>
                    <a:pt x="6947" y="88"/>
                  </a:cubicBezTo>
                  <a:cubicBezTo>
                    <a:pt x="6944" y="90"/>
                    <a:pt x="6944" y="90"/>
                    <a:pt x="6944" y="90"/>
                  </a:cubicBezTo>
                  <a:cubicBezTo>
                    <a:pt x="6925" y="100"/>
                    <a:pt x="6925" y="100"/>
                    <a:pt x="6925" y="100"/>
                  </a:cubicBezTo>
                  <a:cubicBezTo>
                    <a:pt x="6867" y="134"/>
                    <a:pt x="6783" y="200"/>
                    <a:pt x="6705" y="269"/>
                  </a:cubicBezTo>
                  <a:cubicBezTo>
                    <a:pt x="6530" y="433"/>
                    <a:pt x="6348" y="585"/>
                    <a:pt x="6177" y="731"/>
                  </a:cubicBezTo>
                  <a:cubicBezTo>
                    <a:pt x="5831" y="1023"/>
                    <a:pt x="5505" y="1283"/>
                    <a:pt x="5216" y="1495"/>
                  </a:cubicBezTo>
                  <a:cubicBezTo>
                    <a:pt x="1606" y="4150"/>
                    <a:pt x="1606" y="4150"/>
                    <a:pt x="1606" y="4150"/>
                  </a:cubicBezTo>
                  <a:cubicBezTo>
                    <a:pt x="1148" y="4487"/>
                    <a:pt x="824" y="4676"/>
                    <a:pt x="675" y="4689"/>
                  </a:cubicBezTo>
                  <a:cubicBezTo>
                    <a:pt x="436" y="4933"/>
                    <a:pt x="211" y="5156"/>
                    <a:pt x="12" y="5355"/>
                  </a:cubicBezTo>
                  <a:cubicBezTo>
                    <a:pt x="0" y="5367"/>
                    <a:pt x="0" y="5367"/>
                    <a:pt x="0" y="5367"/>
                  </a:cubicBezTo>
                  <a:cubicBezTo>
                    <a:pt x="0" y="5367"/>
                    <a:pt x="17" y="5357"/>
                    <a:pt x="49" y="5337"/>
                  </a:cubicBezTo>
                  <a:cubicBezTo>
                    <a:pt x="81" y="5318"/>
                    <a:pt x="128" y="5289"/>
                    <a:pt x="186" y="525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1C36EAEF-5EAC-41D2-AD5F-208AD96558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5" y="3961"/>
              <a:ext cx="2" cy="2"/>
            </a:xfrm>
            <a:custGeom>
              <a:avLst/>
              <a:gdLst>
                <a:gd name="T0" fmla="*/ 18 w 50"/>
                <a:gd name="T1" fmla="*/ 13 h 37"/>
                <a:gd name="T2" fmla="*/ 50 w 50"/>
                <a:gd name="T3" fmla="*/ 37 h 37"/>
                <a:gd name="T4" fmla="*/ 0 w 50"/>
                <a:gd name="T5" fmla="*/ 0 h 37"/>
                <a:gd name="T6" fmla="*/ 18 w 50"/>
                <a:gd name="T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37">
                  <a:moveTo>
                    <a:pt x="18" y="13"/>
                  </a:moveTo>
                  <a:cubicBezTo>
                    <a:pt x="29" y="22"/>
                    <a:pt x="39" y="29"/>
                    <a:pt x="50" y="37"/>
                  </a:cubicBezTo>
                  <a:cubicBezTo>
                    <a:pt x="34" y="25"/>
                    <a:pt x="17" y="13"/>
                    <a:pt x="0" y="0"/>
                  </a:cubicBezTo>
                  <a:cubicBezTo>
                    <a:pt x="6" y="4"/>
                    <a:pt x="12" y="9"/>
                    <a:pt x="18" y="1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CEFF947D-8A00-4E3E-8030-058BF47992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4" y="3339"/>
              <a:ext cx="460" cy="268"/>
            </a:xfrm>
            <a:custGeom>
              <a:avLst/>
              <a:gdLst>
                <a:gd name="T0" fmla="*/ 110 w 11644"/>
                <a:gd name="T1" fmla="*/ 996 h 6808"/>
                <a:gd name="T2" fmla="*/ 94 w 11644"/>
                <a:gd name="T3" fmla="*/ 859 h 6808"/>
                <a:gd name="T4" fmla="*/ 92 w 11644"/>
                <a:gd name="T5" fmla="*/ 842 h 6808"/>
                <a:gd name="T6" fmla="*/ 92 w 11644"/>
                <a:gd name="T7" fmla="*/ 850 h 6808"/>
                <a:gd name="T8" fmla="*/ 89 w 11644"/>
                <a:gd name="T9" fmla="*/ 825 h 6808"/>
                <a:gd name="T10" fmla="*/ 83 w 11644"/>
                <a:gd name="T11" fmla="*/ 769 h 6808"/>
                <a:gd name="T12" fmla="*/ 78 w 11644"/>
                <a:gd name="T13" fmla="*/ 682 h 6808"/>
                <a:gd name="T14" fmla="*/ 82 w 11644"/>
                <a:gd name="T15" fmla="*/ 647 h 6808"/>
                <a:gd name="T16" fmla="*/ 154 w 11644"/>
                <a:gd name="T17" fmla="*/ 623 h 6808"/>
                <a:gd name="T18" fmla="*/ 256 w 11644"/>
                <a:gd name="T19" fmla="*/ 611 h 6808"/>
                <a:gd name="T20" fmla="*/ 1931 w 11644"/>
                <a:gd name="T21" fmla="*/ 479 h 6808"/>
                <a:gd name="T22" fmla="*/ 3351 w 11644"/>
                <a:gd name="T23" fmla="*/ 438 h 6808"/>
                <a:gd name="T24" fmla="*/ 3847 w 11644"/>
                <a:gd name="T25" fmla="*/ 439 h 6808"/>
                <a:gd name="T26" fmla="*/ 6323 w 11644"/>
                <a:gd name="T27" fmla="*/ 1344 h 6808"/>
                <a:gd name="T28" fmla="*/ 6585 w 11644"/>
                <a:gd name="T29" fmla="*/ 1612 h 6808"/>
                <a:gd name="T30" fmla="*/ 6824 w 11644"/>
                <a:gd name="T31" fmla="*/ 1899 h 6808"/>
                <a:gd name="T32" fmla="*/ 10569 w 11644"/>
                <a:gd name="T33" fmla="*/ 6126 h 6808"/>
                <a:gd name="T34" fmla="*/ 11095 w 11644"/>
                <a:gd name="T35" fmla="*/ 6599 h 6808"/>
                <a:gd name="T36" fmla="*/ 11343 w 11644"/>
                <a:gd name="T37" fmla="*/ 6808 h 6808"/>
                <a:gd name="T38" fmla="*/ 11644 w 11644"/>
                <a:gd name="T39" fmla="*/ 6650 h 6808"/>
                <a:gd name="T40" fmla="*/ 11156 w 11644"/>
                <a:gd name="T41" fmla="*/ 6131 h 6808"/>
                <a:gd name="T42" fmla="*/ 10842 w 11644"/>
                <a:gd name="T43" fmla="*/ 5770 h 6808"/>
                <a:gd name="T44" fmla="*/ 9447 w 11644"/>
                <a:gd name="T45" fmla="*/ 4480 h 6808"/>
                <a:gd name="T46" fmla="*/ 6844 w 11644"/>
                <a:gd name="T47" fmla="*/ 1789 h 6808"/>
                <a:gd name="T48" fmla="*/ 6696 w 11644"/>
                <a:gd name="T49" fmla="*/ 1608 h 6808"/>
                <a:gd name="T50" fmla="*/ 5963 w 11644"/>
                <a:gd name="T51" fmla="*/ 908 h 6808"/>
                <a:gd name="T52" fmla="*/ 4392 w 11644"/>
                <a:gd name="T53" fmla="*/ 213 h 6808"/>
                <a:gd name="T54" fmla="*/ 3991 w 11644"/>
                <a:gd name="T55" fmla="*/ 134 h 6808"/>
                <a:gd name="T56" fmla="*/ 3807 w 11644"/>
                <a:gd name="T57" fmla="*/ 106 h 6808"/>
                <a:gd name="T58" fmla="*/ 3680 w 11644"/>
                <a:gd name="T59" fmla="*/ 89 h 6808"/>
                <a:gd name="T60" fmla="*/ 3654 w 11644"/>
                <a:gd name="T61" fmla="*/ 85 h 6808"/>
                <a:gd name="T62" fmla="*/ 3647 w 11644"/>
                <a:gd name="T63" fmla="*/ 85 h 6808"/>
                <a:gd name="T64" fmla="*/ 3634 w 11644"/>
                <a:gd name="T65" fmla="*/ 83 h 6808"/>
                <a:gd name="T66" fmla="*/ 1935 w 11644"/>
                <a:gd name="T67" fmla="*/ 55 h 6808"/>
                <a:gd name="T68" fmla="*/ 912 w 11644"/>
                <a:gd name="T69" fmla="*/ 455 h 6808"/>
                <a:gd name="T70" fmla="*/ 176 w 11644"/>
                <a:gd name="T71" fmla="*/ 540 h 6808"/>
                <a:gd name="T72" fmla="*/ 112 w 11644"/>
                <a:gd name="T73" fmla="*/ 551 h 6808"/>
                <a:gd name="T74" fmla="*/ 24 w 11644"/>
                <a:gd name="T75" fmla="*/ 601 h 6808"/>
                <a:gd name="T76" fmla="*/ 3 w 11644"/>
                <a:gd name="T77" fmla="*/ 758 h 6808"/>
                <a:gd name="T78" fmla="*/ 350 w 11644"/>
                <a:gd name="T79" fmla="*/ 3768 h 6808"/>
                <a:gd name="T80" fmla="*/ 478 w 11644"/>
                <a:gd name="T81" fmla="*/ 6515 h 6808"/>
                <a:gd name="T82" fmla="*/ 522 w 11644"/>
                <a:gd name="T83" fmla="*/ 4558 h 6808"/>
                <a:gd name="T84" fmla="*/ 155 w 11644"/>
                <a:gd name="T85" fmla="*/ 1388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44" h="6808">
                  <a:moveTo>
                    <a:pt x="155" y="1388"/>
                  </a:moveTo>
                  <a:cubicBezTo>
                    <a:pt x="139" y="1252"/>
                    <a:pt x="124" y="1121"/>
                    <a:pt x="110" y="996"/>
                  </a:cubicBezTo>
                  <a:cubicBezTo>
                    <a:pt x="106" y="965"/>
                    <a:pt x="103" y="934"/>
                    <a:pt x="99" y="904"/>
                  </a:cubicBezTo>
                  <a:cubicBezTo>
                    <a:pt x="97" y="889"/>
                    <a:pt x="96" y="874"/>
                    <a:pt x="94" y="859"/>
                  </a:cubicBezTo>
                  <a:cubicBezTo>
                    <a:pt x="93" y="848"/>
                    <a:pt x="93" y="848"/>
                    <a:pt x="93" y="848"/>
                  </a:cubicBezTo>
                  <a:cubicBezTo>
                    <a:pt x="92" y="842"/>
                    <a:pt x="92" y="842"/>
                    <a:pt x="92" y="842"/>
                  </a:cubicBezTo>
                  <a:cubicBezTo>
                    <a:pt x="92" y="841"/>
                    <a:pt x="92" y="841"/>
                    <a:pt x="92" y="841"/>
                  </a:cubicBezTo>
                  <a:cubicBezTo>
                    <a:pt x="91" y="862"/>
                    <a:pt x="92" y="846"/>
                    <a:pt x="92" y="850"/>
                  </a:cubicBezTo>
                  <a:cubicBezTo>
                    <a:pt x="91" y="847"/>
                    <a:pt x="91" y="847"/>
                    <a:pt x="91" y="847"/>
                  </a:cubicBezTo>
                  <a:cubicBezTo>
                    <a:pt x="89" y="825"/>
                    <a:pt x="89" y="825"/>
                    <a:pt x="89" y="825"/>
                  </a:cubicBezTo>
                  <a:cubicBezTo>
                    <a:pt x="88" y="812"/>
                    <a:pt x="87" y="799"/>
                    <a:pt x="86" y="787"/>
                  </a:cubicBezTo>
                  <a:cubicBezTo>
                    <a:pt x="85" y="781"/>
                    <a:pt x="84" y="775"/>
                    <a:pt x="83" y="769"/>
                  </a:cubicBezTo>
                  <a:cubicBezTo>
                    <a:pt x="82" y="756"/>
                    <a:pt x="80" y="738"/>
                    <a:pt x="80" y="728"/>
                  </a:cubicBezTo>
                  <a:cubicBezTo>
                    <a:pt x="79" y="704"/>
                    <a:pt x="80" y="688"/>
                    <a:pt x="78" y="682"/>
                  </a:cubicBezTo>
                  <a:cubicBezTo>
                    <a:pt x="76" y="676"/>
                    <a:pt x="70" y="674"/>
                    <a:pt x="69" y="668"/>
                  </a:cubicBezTo>
                  <a:cubicBezTo>
                    <a:pt x="66" y="662"/>
                    <a:pt x="73" y="655"/>
                    <a:pt x="82" y="647"/>
                  </a:cubicBezTo>
                  <a:cubicBezTo>
                    <a:pt x="94" y="640"/>
                    <a:pt x="109" y="633"/>
                    <a:pt x="126" y="629"/>
                  </a:cubicBezTo>
                  <a:cubicBezTo>
                    <a:pt x="136" y="627"/>
                    <a:pt x="142" y="624"/>
                    <a:pt x="154" y="623"/>
                  </a:cubicBezTo>
                  <a:cubicBezTo>
                    <a:pt x="168" y="621"/>
                    <a:pt x="181" y="619"/>
                    <a:pt x="193" y="618"/>
                  </a:cubicBezTo>
                  <a:cubicBezTo>
                    <a:pt x="218" y="615"/>
                    <a:pt x="239" y="613"/>
                    <a:pt x="256" y="611"/>
                  </a:cubicBezTo>
                  <a:cubicBezTo>
                    <a:pt x="290" y="607"/>
                    <a:pt x="308" y="605"/>
                    <a:pt x="308" y="605"/>
                  </a:cubicBezTo>
                  <a:cubicBezTo>
                    <a:pt x="781" y="550"/>
                    <a:pt x="1332" y="508"/>
                    <a:pt x="1931" y="479"/>
                  </a:cubicBezTo>
                  <a:cubicBezTo>
                    <a:pt x="2231" y="464"/>
                    <a:pt x="2543" y="454"/>
                    <a:pt x="2864" y="446"/>
                  </a:cubicBezTo>
                  <a:cubicBezTo>
                    <a:pt x="3026" y="443"/>
                    <a:pt x="3188" y="441"/>
                    <a:pt x="3351" y="438"/>
                  </a:cubicBezTo>
                  <a:cubicBezTo>
                    <a:pt x="3434" y="437"/>
                    <a:pt x="3516" y="436"/>
                    <a:pt x="3599" y="436"/>
                  </a:cubicBezTo>
                  <a:cubicBezTo>
                    <a:pt x="3678" y="435"/>
                    <a:pt x="3764" y="438"/>
                    <a:pt x="3847" y="439"/>
                  </a:cubicBezTo>
                  <a:cubicBezTo>
                    <a:pt x="4502" y="458"/>
                    <a:pt x="5138" y="604"/>
                    <a:pt x="5649" y="875"/>
                  </a:cubicBezTo>
                  <a:cubicBezTo>
                    <a:pt x="5906" y="1009"/>
                    <a:pt x="6132" y="1170"/>
                    <a:pt x="6323" y="1344"/>
                  </a:cubicBezTo>
                  <a:cubicBezTo>
                    <a:pt x="6370" y="1389"/>
                    <a:pt x="6417" y="1432"/>
                    <a:pt x="6460" y="1477"/>
                  </a:cubicBezTo>
                  <a:cubicBezTo>
                    <a:pt x="6585" y="1612"/>
                    <a:pt x="6585" y="1612"/>
                    <a:pt x="6585" y="1612"/>
                  </a:cubicBezTo>
                  <a:cubicBezTo>
                    <a:pt x="6696" y="1751"/>
                    <a:pt x="6696" y="1751"/>
                    <a:pt x="6696" y="1751"/>
                  </a:cubicBezTo>
                  <a:cubicBezTo>
                    <a:pt x="6824" y="1899"/>
                    <a:pt x="6824" y="1899"/>
                    <a:pt x="6824" y="1899"/>
                  </a:cubicBezTo>
                  <a:cubicBezTo>
                    <a:pt x="9850" y="5455"/>
                    <a:pt x="9850" y="5455"/>
                    <a:pt x="9850" y="5455"/>
                  </a:cubicBezTo>
                  <a:cubicBezTo>
                    <a:pt x="9850" y="5455"/>
                    <a:pt x="10209" y="5790"/>
                    <a:pt x="10569" y="6126"/>
                  </a:cubicBezTo>
                  <a:cubicBezTo>
                    <a:pt x="10661" y="6211"/>
                    <a:pt x="10753" y="6295"/>
                    <a:pt x="10840" y="6375"/>
                  </a:cubicBezTo>
                  <a:cubicBezTo>
                    <a:pt x="10932" y="6457"/>
                    <a:pt x="11021" y="6536"/>
                    <a:pt x="11095" y="6599"/>
                  </a:cubicBezTo>
                  <a:cubicBezTo>
                    <a:pt x="11169" y="6662"/>
                    <a:pt x="11231" y="6715"/>
                    <a:pt x="11274" y="6752"/>
                  </a:cubicBezTo>
                  <a:cubicBezTo>
                    <a:pt x="11318" y="6788"/>
                    <a:pt x="11343" y="6808"/>
                    <a:pt x="11343" y="6808"/>
                  </a:cubicBezTo>
                  <a:cubicBezTo>
                    <a:pt x="11301" y="6720"/>
                    <a:pt x="11295" y="6656"/>
                    <a:pt x="11324" y="6622"/>
                  </a:cubicBezTo>
                  <a:cubicBezTo>
                    <a:pt x="11364" y="6574"/>
                    <a:pt x="11474" y="6586"/>
                    <a:pt x="11644" y="6650"/>
                  </a:cubicBezTo>
                  <a:cubicBezTo>
                    <a:pt x="11644" y="6650"/>
                    <a:pt x="11582" y="6586"/>
                    <a:pt x="11489" y="6491"/>
                  </a:cubicBezTo>
                  <a:cubicBezTo>
                    <a:pt x="11398" y="6394"/>
                    <a:pt x="11276" y="6265"/>
                    <a:pt x="11156" y="6131"/>
                  </a:cubicBezTo>
                  <a:cubicBezTo>
                    <a:pt x="11095" y="6065"/>
                    <a:pt x="11042" y="6001"/>
                    <a:pt x="10988" y="5940"/>
                  </a:cubicBezTo>
                  <a:cubicBezTo>
                    <a:pt x="10935" y="5877"/>
                    <a:pt x="10885" y="5819"/>
                    <a:pt x="10842" y="5770"/>
                  </a:cubicBezTo>
                  <a:cubicBezTo>
                    <a:pt x="10758" y="5672"/>
                    <a:pt x="10703" y="5606"/>
                    <a:pt x="10703" y="5606"/>
                  </a:cubicBezTo>
                  <a:cubicBezTo>
                    <a:pt x="10297" y="5258"/>
                    <a:pt x="9874" y="4879"/>
                    <a:pt x="9447" y="4480"/>
                  </a:cubicBezTo>
                  <a:cubicBezTo>
                    <a:pt x="8469" y="3568"/>
                    <a:pt x="7590" y="2666"/>
                    <a:pt x="6973" y="1941"/>
                  </a:cubicBezTo>
                  <a:cubicBezTo>
                    <a:pt x="6973" y="1941"/>
                    <a:pt x="6926" y="1886"/>
                    <a:pt x="6844" y="1789"/>
                  </a:cubicBezTo>
                  <a:cubicBezTo>
                    <a:pt x="6821" y="1763"/>
                    <a:pt x="6796" y="1734"/>
                    <a:pt x="6769" y="1702"/>
                  </a:cubicBezTo>
                  <a:cubicBezTo>
                    <a:pt x="6747" y="1673"/>
                    <a:pt x="6722" y="1642"/>
                    <a:pt x="6696" y="1608"/>
                  </a:cubicBezTo>
                  <a:cubicBezTo>
                    <a:pt x="6645" y="1539"/>
                    <a:pt x="6579" y="1470"/>
                    <a:pt x="6510" y="1389"/>
                  </a:cubicBezTo>
                  <a:cubicBezTo>
                    <a:pt x="6365" y="1236"/>
                    <a:pt x="6182" y="1066"/>
                    <a:pt x="5963" y="908"/>
                  </a:cubicBezTo>
                  <a:cubicBezTo>
                    <a:pt x="5744" y="750"/>
                    <a:pt x="5490" y="604"/>
                    <a:pt x="5219" y="486"/>
                  </a:cubicBezTo>
                  <a:cubicBezTo>
                    <a:pt x="4949" y="368"/>
                    <a:pt x="4664" y="278"/>
                    <a:pt x="4392" y="213"/>
                  </a:cubicBezTo>
                  <a:cubicBezTo>
                    <a:pt x="4323" y="198"/>
                    <a:pt x="4255" y="183"/>
                    <a:pt x="4189" y="169"/>
                  </a:cubicBezTo>
                  <a:cubicBezTo>
                    <a:pt x="4123" y="155"/>
                    <a:pt x="4056" y="145"/>
                    <a:pt x="3991" y="134"/>
                  </a:cubicBezTo>
                  <a:cubicBezTo>
                    <a:pt x="3959" y="128"/>
                    <a:pt x="3927" y="123"/>
                    <a:pt x="3896" y="118"/>
                  </a:cubicBezTo>
                  <a:cubicBezTo>
                    <a:pt x="3866" y="114"/>
                    <a:pt x="3836" y="110"/>
                    <a:pt x="3807" y="106"/>
                  </a:cubicBezTo>
                  <a:cubicBezTo>
                    <a:pt x="3778" y="102"/>
                    <a:pt x="3750" y="98"/>
                    <a:pt x="3722" y="94"/>
                  </a:cubicBezTo>
                  <a:cubicBezTo>
                    <a:pt x="3708" y="92"/>
                    <a:pt x="3694" y="91"/>
                    <a:pt x="3680" y="89"/>
                  </a:cubicBezTo>
                  <a:cubicBezTo>
                    <a:pt x="3659" y="86"/>
                    <a:pt x="3659" y="86"/>
                    <a:pt x="3659" y="86"/>
                  </a:cubicBezTo>
                  <a:cubicBezTo>
                    <a:pt x="3654" y="85"/>
                    <a:pt x="3654" y="85"/>
                    <a:pt x="3654" y="85"/>
                  </a:cubicBezTo>
                  <a:cubicBezTo>
                    <a:pt x="3648" y="85"/>
                    <a:pt x="3648" y="85"/>
                    <a:pt x="3648" y="85"/>
                  </a:cubicBezTo>
                  <a:cubicBezTo>
                    <a:pt x="3647" y="85"/>
                    <a:pt x="3647" y="85"/>
                    <a:pt x="3647" y="85"/>
                  </a:cubicBezTo>
                  <a:cubicBezTo>
                    <a:pt x="3644" y="85"/>
                    <a:pt x="3644" y="85"/>
                    <a:pt x="3644" y="85"/>
                  </a:cubicBezTo>
                  <a:cubicBezTo>
                    <a:pt x="3634" y="83"/>
                    <a:pt x="3634" y="83"/>
                    <a:pt x="3634" y="83"/>
                  </a:cubicBezTo>
                  <a:cubicBezTo>
                    <a:pt x="3202" y="33"/>
                    <a:pt x="2913" y="0"/>
                    <a:pt x="2913" y="0"/>
                  </a:cubicBezTo>
                  <a:cubicBezTo>
                    <a:pt x="2571" y="14"/>
                    <a:pt x="2244" y="33"/>
                    <a:pt x="1935" y="55"/>
                  </a:cubicBezTo>
                  <a:cubicBezTo>
                    <a:pt x="1988" y="85"/>
                    <a:pt x="2017" y="115"/>
                    <a:pt x="2017" y="146"/>
                  </a:cubicBezTo>
                  <a:cubicBezTo>
                    <a:pt x="2017" y="263"/>
                    <a:pt x="1624" y="372"/>
                    <a:pt x="912" y="455"/>
                  </a:cubicBezTo>
                  <a:cubicBezTo>
                    <a:pt x="912" y="455"/>
                    <a:pt x="633" y="487"/>
                    <a:pt x="216" y="535"/>
                  </a:cubicBezTo>
                  <a:cubicBezTo>
                    <a:pt x="203" y="537"/>
                    <a:pt x="190" y="538"/>
                    <a:pt x="176" y="540"/>
                  </a:cubicBezTo>
                  <a:cubicBezTo>
                    <a:pt x="164" y="541"/>
                    <a:pt x="148" y="543"/>
                    <a:pt x="140" y="545"/>
                  </a:cubicBezTo>
                  <a:cubicBezTo>
                    <a:pt x="112" y="551"/>
                    <a:pt x="112" y="551"/>
                    <a:pt x="112" y="551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56" y="570"/>
                    <a:pt x="34" y="586"/>
                    <a:pt x="24" y="601"/>
                  </a:cubicBezTo>
                  <a:cubicBezTo>
                    <a:pt x="14" y="616"/>
                    <a:pt x="11" y="630"/>
                    <a:pt x="7" y="655"/>
                  </a:cubicBezTo>
                  <a:cubicBezTo>
                    <a:pt x="3" y="680"/>
                    <a:pt x="0" y="716"/>
                    <a:pt x="3" y="758"/>
                  </a:cubicBezTo>
                  <a:cubicBezTo>
                    <a:pt x="31" y="1009"/>
                    <a:pt x="62" y="1276"/>
                    <a:pt x="93" y="1543"/>
                  </a:cubicBezTo>
                  <a:cubicBezTo>
                    <a:pt x="221" y="2655"/>
                    <a:pt x="350" y="3768"/>
                    <a:pt x="350" y="3768"/>
                  </a:cubicBezTo>
                  <a:cubicBezTo>
                    <a:pt x="433" y="4481"/>
                    <a:pt x="478" y="5429"/>
                    <a:pt x="478" y="6437"/>
                  </a:cubicBezTo>
                  <a:cubicBezTo>
                    <a:pt x="478" y="6463"/>
                    <a:pt x="478" y="6489"/>
                    <a:pt x="478" y="6515"/>
                  </a:cubicBezTo>
                  <a:cubicBezTo>
                    <a:pt x="492" y="6548"/>
                    <a:pt x="507" y="6576"/>
                    <a:pt x="522" y="6599"/>
                  </a:cubicBezTo>
                  <a:cubicBezTo>
                    <a:pt x="522" y="4558"/>
                    <a:pt x="522" y="4558"/>
                    <a:pt x="522" y="4558"/>
                  </a:cubicBezTo>
                  <a:cubicBezTo>
                    <a:pt x="522" y="4558"/>
                    <a:pt x="388" y="3399"/>
                    <a:pt x="254" y="2239"/>
                  </a:cubicBezTo>
                  <a:cubicBezTo>
                    <a:pt x="220" y="1949"/>
                    <a:pt x="187" y="1660"/>
                    <a:pt x="155" y="138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AD442F7-3650-46C4-8C1A-6747C95058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7" y="3963"/>
              <a:ext cx="1" cy="0"/>
            </a:xfrm>
            <a:custGeom>
              <a:avLst/>
              <a:gdLst>
                <a:gd name="T0" fmla="*/ 12 w 12"/>
                <a:gd name="T1" fmla="*/ 8 h 8"/>
                <a:gd name="T2" fmla="*/ 0 w 12"/>
                <a:gd name="T3" fmla="*/ 0 h 8"/>
                <a:gd name="T4" fmla="*/ 12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8" y="6"/>
                    <a:pt x="4" y="3"/>
                    <a:pt x="0" y="0"/>
                  </a:cubicBezTo>
                  <a:cubicBezTo>
                    <a:pt x="4" y="3"/>
                    <a:pt x="8" y="6"/>
                    <a:pt x="12" y="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86BCE360-A079-4F7D-897B-F025554E5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0" y="3957"/>
              <a:ext cx="5" cy="4"/>
            </a:xfrm>
            <a:custGeom>
              <a:avLst/>
              <a:gdLst>
                <a:gd name="T0" fmla="*/ 125 w 139"/>
                <a:gd name="T1" fmla="*/ 96 h 107"/>
                <a:gd name="T2" fmla="*/ 139 w 139"/>
                <a:gd name="T3" fmla="*/ 107 h 107"/>
                <a:gd name="T4" fmla="*/ 0 w 139"/>
                <a:gd name="T5" fmla="*/ 0 h 107"/>
                <a:gd name="T6" fmla="*/ 125 w 139"/>
                <a:gd name="T7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7">
                  <a:moveTo>
                    <a:pt x="125" y="96"/>
                  </a:moveTo>
                  <a:cubicBezTo>
                    <a:pt x="130" y="100"/>
                    <a:pt x="134" y="103"/>
                    <a:pt x="139" y="107"/>
                  </a:cubicBezTo>
                  <a:cubicBezTo>
                    <a:pt x="96" y="74"/>
                    <a:pt x="50" y="38"/>
                    <a:pt x="0" y="0"/>
                  </a:cubicBezTo>
                  <a:cubicBezTo>
                    <a:pt x="44" y="34"/>
                    <a:pt x="86" y="67"/>
                    <a:pt x="125" y="9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A21EBB2F-FBD6-45B8-AC2B-E3A1EB158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2" cy="1"/>
            </a:xfrm>
            <a:custGeom>
              <a:avLst/>
              <a:gdLst>
                <a:gd name="T0" fmla="*/ 5 w 39"/>
                <a:gd name="T1" fmla="*/ 3 h 29"/>
                <a:gd name="T2" fmla="*/ 39 w 39"/>
                <a:gd name="T3" fmla="*/ 29 h 29"/>
                <a:gd name="T4" fmla="*/ 0 w 39"/>
                <a:gd name="T5" fmla="*/ 0 h 29"/>
                <a:gd name="T6" fmla="*/ 5 w 39"/>
                <a:gd name="T7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9">
                  <a:moveTo>
                    <a:pt x="5" y="3"/>
                  </a:moveTo>
                  <a:cubicBezTo>
                    <a:pt x="17" y="12"/>
                    <a:pt x="27" y="21"/>
                    <a:pt x="39" y="29"/>
                  </a:cubicBezTo>
                  <a:cubicBezTo>
                    <a:pt x="26" y="19"/>
                    <a:pt x="13" y="10"/>
                    <a:pt x="0" y="0"/>
                  </a:cubicBezTo>
                  <a:cubicBezTo>
                    <a:pt x="1" y="1"/>
                    <a:pt x="3" y="2"/>
                    <a:pt x="5" y="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5BC7F525-C8A9-46C9-AB29-4BC75C9F61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8" y="3963"/>
              <a:ext cx="2" cy="1"/>
            </a:xfrm>
            <a:custGeom>
              <a:avLst/>
              <a:gdLst>
                <a:gd name="T0" fmla="*/ 42 w 42"/>
                <a:gd name="T1" fmla="*/ 31 h 31"/>
                <a:gd name="T2" fmla="*/ 0 w 42"/>
                <a:gd name="T3" fmla="*/ 0 h 31"/>
                <a:gd name="T4" fmla="*/ 42 w 42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1">
                  <a:moveTo>
                    <a:pt x="42" y="31"/>
                  </a:moveTo>
                  <a:cubicBezTo>
                    <a:pt x="28" y="21"/>
                    <a:pt x="14" y="11"/>
                    <a:pt x="0" y="0"/>
                  </a:cubicBezTo>
                  <a:cubicBezTo>
                    <a:pt x="14" y="11"/>
                    <a:pt x="28" y="22"/>
                    <a:pt x="4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9FCC37FD-E08D-4867-9D9B-2F191E3DA2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" y="3737"/>
              <a:ext cx="361" cy="373"/>
            </a:xfrm>
            <a:custGeom>
              <a:avLst/>
              <a:gdLst>
                <a:gd name="T0" fmla="*/ 7988 w 9143"/>
                <a:gd name="T1" fmla="*/ 264 h 9455"/>
                <a:gd name="T2" fmla="*/ 7178 w 9143"/>
                <a:gd name="T3" fmla="*/ 57 h 9455"/>
                <a:gd name="T4" fmla="*/ 6991 w 9143"/>
                <a:gd name="T5" fmla="*/ 32 h 9455"/>
                <a:gd name="T6" fmla="*/ 6922 w 9143"/>
                <a:gd name="T7" fmla="*/ 23 h 9455"/>
                <a:gd name="T8" fmla="*/ 6031 w 9143"/>
                <a:gd name="T9" fmla="*/ 39 h 9455"/>
                <a:gd name="T10" fmla="*/ 4691 w 9143"/>
                <a:gd name="T11" fmla="*/ 605 h 9455"/>
                <a:gd name="T12" fmla="*/ 3937 w 9143"/>
                <a:gd name="T13" fmla="*/ 1885 h 9455"/>
                <a:gd name="T14" fmla="*/ 4022 w 9143"/>
                <a:gd name="T15" fmla="*/ 3659 h 9455"/>
                <a:gd name="T16" fmla="*/ 4189 w 9143"/>
                <a:gd name="T17" fmla="*/ 7697 h 9455"/>
                <a:gd name="T18" fmla="*/ 4183 w 9143"/>
                <a:gd name="T19" fmla="*/ 8064 h 9455"/>
                <a:gd name="T20" fmla="*/ 4180 w 9143"/>
                <a:gd name="T21" fmla="*/ 8175 h 9455"/>
                <a:gd name="T22" fmla="*/ 4171 w 9143"/>
                <a:gd name="T23" fmla="*/ 8311 h 9455"/>
                <a:gd name="T24" fmla="*/ 4123 w 9143"/>
                <a:gd name="T25" fmla="*/ 8555 h 9455"/>
                <a:gd name="T26" fmla="*/ 3899 w 9143"/>
                <a:gd name="T27" fmla="*/ 8975 h 9455"/>
                <a:gd name="T28" fmla="*/ 3461 w 9143"/>
                <a:gd name="T29" fmla="*/ 9277 h 9455"/>
                <a:gd name="T30" fmla="*/ 3244 w 9143"/>
                <a:gd name="T31" fmla="*/ 9332 h 9455"/>
                <a:gd name="T32" fmla="*/ 3059 w 9143"/>
                <a:gd name="T33" fmla="*/ 9345 h 9455"/>
                <a:gd name="T34" fmla="*/ 3014 w 9143"/>
                <a:gd name="T35" fmla="*/ 9345 h 9455"/>
                <a:gd name="T36" fmla="*/ 2929 w 9143"/>
                <a:gd name="T37" fmla="*/ 9341 h 9455"/>
                <a:gd name="T38" fmla="*/ 1956 w 9143"/>
                <a:gd name="T39" fmla="*/ 9282 h 9455"/>
                <a:gd name="T40" fmla="*/ 1373 w 9143"/>
                <a:gd name="T41" fmla="*/ 9230 h 9455"/>
                <a:gd name="T42" fmla="*/ 1271 w 9143"/>
                <a:gd name="T43" fmla="*/ 9219 h 9455"/>
                <a:gd name="T44" fmla="*/ 1262 w 9143"/>
                <a:gd name="T45" fmla="*/ 9218 h 9455"/>
                <a:gd name="T46" fmla="*/ 1249 w 9143"/>
                <a:gd name="T47" fmla="*/ 9217 h 9455"/>
                <a:gd name="T48" fmla="*/ 1182 w 9143"/>
                <a:gd name="T49" fmla="*/ 9209 h 9455"/>
                <a:gd name="T50" fmla="*/ 1021 w 9143"/>
                <a:gd name="T51" fmla="*/ 9186 h 9455"/>
                <a:gd name="T52" fmla="*/ 276 w 9143"/>
                <a:gd name="T53" fmla="*/ 9006 h 9455"/>
                <a:gd name="T54" fmla="*/ 112 w 9143"/>
                <a:gd name="T55" fmla="*/ 8945 h 9455"/>
                <a:gd name="T56" fmla="*/ 0 w 9143"/>
                <a:gd name="T57" fmla="*/ 9015 h 9455"/>
                <a:gd name="T58" fmla="*/ 783 w 9143"/>
                <a:gd name="T59" fmla="*/ 9234 h 9455"/>
                <a:gd name="T60" fmla="*/ 1034 w 9143"/>
                <a:gd name="T61" fmla="*/ 9275 h 9455"/>
                <a:gd name="T62" fmla="*/ 1182 w 9143"/>
                <a:gd name="T63" fmla="*/ 9296 h 9455"/>
                <a:gd name="T64" fmla="*/ 1240 w 9143"/>
                <a:gd name="T65" fmla="*/ 9303 h 9455"/>
                <a:gd name="T66" fmla="*/ 1247 w 9143"/>
                <a:gd name="T67" fmla="*/ 9304 h 9455"/>
                <a:gd name="T68" fmla="*/ 1262 w 9143"/>
                <a:gd name="T69" fmla="*/ 9305 h 9455"/>
                <a:gd name="T70" fmla="*/ 1291 w 9143"/>
                <a:gd name="T71" fmla="*/ 9308 h 9455"/>
                <a:gd name="T72" fmla="*/ 2565 w 9143"/>
                <a:gd name="T73" fmla="*/ 9455 h 9455"/>
                <a:gd name="T74" fmla="*/ 2978 w 9143"/>
                <a:gd name="T75" fmla="*/ 9455 h 9455"/>
                <a:gd name="T76" fmla="*/ 3027 w 9143"/>
                <a:gd name="T77" fmla="*/ 9455 h 9455"/>
                <a:gd name="T78" fmla="*/ 3139 w 9143"/>
                <a:gd name="T79" fmla="*/ 9451 h 9455"/>
                <a:gd name="T80" fmla="*/ 3637 w 9143"/>
                <a:gd name="T81" fmla="*/ 9310 h 9455"/>
                <a:gd name="T82" fmla="*/ 4230 w 9143"/>
                <a:gd name="T83" fmla="*/ 8502 h 9455"/>
                <a:gd name="T84" fmla="*/ 4264 w 9143"/>
                <a:gd name="T85" fmla="*/ 8251 h 9455"/>
                <a:gd name="T86" fmla="*/ 4266 w 9143"/>
                <a:gd name="T87" fmla="*/ 8214 h 9455"/>
                <a:gd name="T88" fmla="*/ 4267 w 9143"/>
                <a:gd name="T89" fmla="*/ 7951 h 9455"/>
                <a:gd name="T90" fmla="*/ 4267 w 9143"/>
                <a:gd name="T91" fmla="*/ 4890 h 9455"/>
                <a:gd name="T92" fmla="*/ 4053 w 9143"/>
                <a:gd name="T93" fmla="*/ 3230 h 9455"/>
                <a:gd name="T94" fmla="*/ 3975 w 9143"/>
                <a:gd name="T95" fmla="*/ 2258 h 9455"/>
                <a:gd name="T96" fmla="*/ 4283 w 9143"/>
                <a:gd name="T97" fmla="*/ 1211 h 9455"/>
                <a:gd name="T98" fmla="*/ 4334 w 9143"/>
                <a:gd name="T99" fmla="*/ 1129 h 9455"/>
                <a:gd name="T100" fmla="*/ 4402 w 9143"/>
                <a:gd name="T101" fmla="*/ 1036 h 9455"/>
                <a:gd name="T102" fmla="*/ 4410 w 9143"/>
                <a:gd name="T103" fmla="*/ 1023 h 9455"/>
                <a:gd name="T104" fmla="*/ 4414 w 9143"/>
                <a:gd name="T105" fmla="*/ 1018 h 9455"/>
                <a:gd name="T106" fmla="*/ 4441 w 9143"/>
                <a:gd name="T107" fmla="*/ 985 h 9455"/>
                <a:gd name="T108" fmla="*/ 4576 w 9143"/>
                <a:gd name="T109" fmla="*/ 827 h 9455"/>
                <a:gd name="T110" fmla="*/ 5939 w 9143"/>
                <a:gd name="T111" fmla="*/ 135 h 9455"/>
                <a:gd name="T112" fmla="*/ 6898 w 9143"/>
                <a:gd name="T113" fmla="*/ 104 h 9455"/>
                <a:gd name="T114" fmla="*/ 6974 w 9143"/>
                <a:gd name="T115" fmla="*/ 110 h 9455"/>
                <a:gd name="T116" fmla="*/ 7326 w 9143"/>
                <a:gd name="T117" fmla="*/ 164 h 9455"/>
                <a:gd name="T118" fmla="*/ 8086 w 9143"/>
                <a:gd name="T119" fmla="*/ 383 h 9455"/>
                <a:gd name="T120" fmla="*/ 9143 w 9143"/>
                <a:gd name="T121" fmla="*/ 849 h 9455"/>
                <a:gd name="T122" fmla="*/ 8165 w 9143"/>
                <a:gd name="T123" fmla="*/ 327 h 9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43" h="9455">
                  <a:moveTo>
                    <a:pt x="8165" y="327"/>
                  </a:moveTo>
                  <a:cubicBezTo>
                    <a:pt x="8165" y="327"/>
                    <a:pt x="8094" y="300"/>
                    <a:pt x="7988" y="264"/>
                  </a:cubicBezTo>
                  <a:cubicBezTo>
                    <a:pt x="7882" y="227"/>
                    <a:pt x="7737" y="181"/>
                    <a:pt x="7587" y="142"/>
                  </a:cubicBezTo>
                  <a:cubicBezTo>
                    <a:pt x="7440" y="104"/>
                    <a:pt x="7290" y="75"/>
                    <a:pt x="7178" y="57"/>
                  </a:cubicBezTo>
                  <a:cubicBezTo>
                    <a:pt x="7122" y="48"/>
                    <a:pt x="7076" y="41"/>
                    <a:pt x="7043" y="38"/>
                  </a:cubicBezTo>
                  <a:cubicBezTo>
                    <a:pt x="7010" y="34"/>
                    <a:pt x="6991" y="32"/>
                    <a:pt x="6991" y="32"/>
                  </a:cubicBezTo>
                  <a:cubicBezTo>
                    <a:pt x="6992" y="30"/>
                    <a:pt x="6992" y="30"/>
                    <a:pt x="6992" y="30"/>
                  </a:cubicBezTo>
                  <a:cubicBezTo>
                    <a:pt x="6992" y="30"/>
                    <a:pt x="6968" y="27"/>
                    <a:pt x="6922" y="23"/>
                  </a:cubicBezTo>
                  <a:cubicBezTo>
                    <a:pt x="6877" y="18"/>
                    <a:pt x="6810" y="13"/>
                    <a:pt x="6725" y="9"/>
                  </a:cubicBezTo>
                  <a:cubicBezTo>
                    <a:pt x="6556" y="1"/>
                    <a:pt x="6314" y="0"/>
                    <a:pt x="6031" y="39"/>
                  </a:cubicBezTo>
                  <a:cubicBezTo>
                    <a:pt x="5749" y="74"/>
                    <a:pt x="5424" y="158"/>
                    <a:pt x="5121" y="315"/>
                  </a:cubicBezTo>
                  <a:cubicBezTo>
                    <a:pt x="4969" y="394"/>
                    <a:pt x="4823" y="491"/>
                    <a:pt x="4691" y="605"/>
                  </a:cubicBezTo>
                  <a:cubicBezTo>
                    <a:pt x="4559" y="717"/>
                    <a:pt x="4437" y="850"/>
                    <a:pt x="4338" y="986"/>
                  </a:cubicBezTo>
                  <a:cubicBezTo>
                    <a:pt x="4125" y="1270"/>
                    <a:pt x="3996" y="1581"/>
                    <a:pt x="3937" y="1885"/>
                  </a:cubicBezTo>
                  <a:cubicBezTo>
                    <a:pt x="3878" y="2188"/>
                    <a:pt x="3884" y="2479"/>
                    <a:pt x="3914" y="2726"/>
                  </a:cubicBezTo>
                  <a:cubicBezTo>
                    <a:pt x="3979" y="3286"/>
                    <a:pt x="4022" y="3659"/>
                    <a:pt x="4022" y="3659"/>
                  </a:cubicBezTo>
                  <a:cubicBezTo>
                    <a:pt x="4131" y="4605"/>
                    <a:pt x="4191" y="5862"/>
                    <a:pt x="4191" y="7200"/>
                  </a:cubicBezTo>
                  <a:cubicBezTo>
                    <a:pt x="4191" y="7367"/>
                    <a:pt x="4190" y="7532"/>
                    <a:pt x="4189" y="7697"/>
                  </a:cubicBezTo>
                  <a:cubicBezTo>
                    <a:pt x="4188" y="7779"/>
                    <a:pt x="4186" y="7861"/>
                    <a:pt x="4185" y="7942"/>
                  </a:cubicBezTo>
                  <a:cubicBezTo>
                    <a:pt x="4183" y="8064"/>
                    <a:pt x="4183" y="8064"/>
                    <a:pt x="4183" y="8064"/>
                  </a:cubicBezTo>
                  <a:cubicBezTo>
                    <a:pt x="4182" y="8124"/>
                    <a:pt x="4182" y="8124"/>
                    <a:pt x="4182" y="8124"/>
                  </a:cubicBezTo>
                  <a:cubicBezTo>
                    <a:pt x="4180" y="8175"/>
                    <a:pt x="4180" y="8175"/>
                    <a:pt x="4180" y="8175"/>
                  </a:cubicBezTo>
                  <a:cubicBezTo>
                    <a:pt x="4179" y="8205"/>
                    <a:pt x="4179" y="8205"/>
                    <a:pt x="4179" y="8205"/>
                  </a:cubicBezTo>
                  <a:cubicBezTo>
                    <a:pt x="4179" y="8215"/>
                    <a:pt x="4175" y="8270"/>
                    <a:pt x="4171" y="8311"/>
                  </a:cubicBezTo>
                  <a:cubicBezTo>
                    <a:pt x="4167" y="8356"/>
                    <a:pt x="4159" y="8392"/>
                    <a:pt x="4153" y="8431"/>
                  </a:cubicBezTo>
                  <a:cubicBezTo>
                    <a:pt x="4146" y="8469"/>
                    <a:pt x="4134" y="8514"/>
                    <a:pt x="4123" y="8555"/>
                  </a:cubicBezTo>
                  <a:cubicBezTo>
                    <a:pt x="4109" y="8600"/>
                    <a:pt x="4095" y="8643"/>
                    <a:pt x="4074" y="8690"/>
                  </a:cubicBezTo>
                  <a:cubicBezTo>
                    <a:pt x="4035" y="8783"/>
                    <a:pt x="3978" y="8882"/>
                    <a:pt x="3899" y="8975"/>
                  </a:cubicBezTo>
                  <a:cubicBezTo>
                    <a:pt x="3820" y="9066"/>
                    <a:pt x="3721" y="9150"/>
                    <a:pt x="3616" y="9206"/>
                  </a:cubicBezTo>
                  <a:cubicBezTo>
                    <a:pt x="3564" y="9236"/>
                    <a:pt x="3512" y="9258"/>
                    <a:pt x="3461" y="9277"/>
                  </a:cubicBezTo>
                  <a:cubicBezTo>
                    <a:pt x="3412" y="9294"/>
                    <a:pt x="3359" y="9310"/>
                    <a:pt x="3314" y="9319"/>
                  </a:cubicBezTo>
                  <a:cubicBezTo>
                    <a:pt x="3291" y="9324"/>
                    <a:pt x="3267" y="9328"/>
                    <a:pt x="3244" y="9332"/>
                  </a:cubicBezTo>
                  <a:cubicBezTo>
                    <a:pt x="3180" y="9339"/>
                    <a:pt x="3180" y="9339"/>
                    <a:pt x="3180" y="9339"/>
                  </a:cubicBezTo>
                  <a:cubicBezTo>
                    <a:pt x="3135" y="9344"/>
                    <a:pt x="3098" y="9345"/>
                    <a:pt x="3059" y="9345"/>
                  </a:cubicBezTo>
                  <a:cubicBezTo>
                    <a:pt x="3030" y="9345"/>
                    <a:pt x="3030" y="9345"/>
                    <a:pt x="3030" y="9345"/>
                  </a:cubicBezTo>
                  <a:cubicBezTo>
                    <a:pt x="3014" y="9345"/>
                    <a:pt x="3014" y="9345"/>
                    <a:pt x="3014" y="9345"/>
                  </a:cubicBezTo>
                  <a:cubicBezTo>
                    <a:pt x="2986" y="9343"/>
                    <a:pt x="2986" y="9343"/>
                    <a:pt x="2986" y="9343"/>
                  </a:cubicBezTo>
                  <a:cubicBezTo>
                    <a:pt x="2929" y="9341"/>
                    <a:pt x="2929" y="9341"/>
                    <a:pt x="2929" y="9341"/>
                  </a:cubicBezTo>
                  <a:cubicBezTo>
                    <a:pt x="2816" y="9336"/>
                    <a:pt x="2816" y="9336"/>
                    <a:pt x="2816" y="9336"/>
                  </a:cubicBezTo>
                  <a:cubicBezTo>
                    <a:pt x="2516" y="9321"/>
                    <a:pt x="2228" y="9304"/>
                    <a:pt x="1956" y="9282"/>
                  </a:cubicBezTo>
                  <a:cubicBezTo>
                    <a:pt x="1821" y="9272"/>
                    <a:pt x="1689" y="9261"/>
                    <a:pt x="1561" y="9249"/>
                  </a:cubicBezTo>
                  <a:cubicBezTo>
                    <a:pt x="1373" y="9230"/>
                    <a:pt x="1373" y="9230"/>
                    <a:pt x="1373" y="9230"/>
                  </a:cubicBezTo>
                  <a:cubicBezTo>
                    <a:pt x="1282" y="9220"/>
                    <a:pt x="1282" y="9220"/>
                    <a:pt x="1282" y="9220"/>
                  </a:cubicBezTo>
                  <a:cubicBezTo>
                    <a:pt x="1271" y="9219"/>
                    <a:pt x="1271" y="9219"/>
                    <a:pt x="1271" y="9219"/>
                  </a:cubicBezTo>
                  <a:cubicBezTo>
                    <a:pt x="1265" y="9218"/>
                    <a:pt x="1265" y="9218"/>
                    <a:pt x="1265" y="9218"/>
                  </a:cubicBezTo>
                  <a:cubicBezTo>
                    <a:pt x="1262" y="9218"/>
                    <a:pt x="1262" y="9218"/>
                    <a:pt x="1262" y="9218"/>
                  </a:cubicBezTo>
                  <a:cubicBezTo>
                    <a:pt x="1261" y="9218"/>
                    <a:pt x="1261" y="9218"/>
                    <a:pt x="1261" y="9218"/>
                  </a:cubicBezTo>
                  <a:cubicBezTo>
                    <a:pt x="1249" y="9217"/>
                    <a:pt x="1249" y="9217"/>
                    <a:pt x="1249" y="9217"/>
                  </a:cubicBezTo>
                  <a:cubicBezTo>
                    <a:pt x="1227" y="9214"/>
                    <a:pt x="1227" y="9214"/>
                    <a:pt x="1227" y="9214"/>
                  </a:cubicBezTo>
                  <a:cubicBezTo>
                    <a:pt x="1182" y="9209"/>
                    <a:pt x="1182" y="9209"/>
                    <a:pt x="1182" y="9209"/>
                  </a:cubicBezTo>
                  <a:cubicBezTo>
                    <a:pt x="1182" y="9209"/>
                    <a:pt x="1167" y="9206"/>
                    <a:pt x="1141" y="9203"/>
                  </a:cubicBezTo>
                  <a:cubicBezTo>
                    <a:pt x="1112" y="9199"/>
                    <a:pt x="1071" y="9193"/>
                    <a:pt x="1021" y="9186"/>
                  </a:cubicBezTo>
                  <a:cubicBezTo>
                    <a:pt x="911" y="9170"/>
                    <a:pt x="778" y="9146"/>
                    <a:pt x="643" y="9113"/>
                  </a:cubicBezTo>
                  <a:cubicBezTo>
                    <a:pt x="508" y="9082"/>
                    <a:pt x="375" y="9041"/>
                    <a:pt x="276" y="9006"/>
                  </a:cubicBezTo>
                  <a:cubicBezTo>
                    <a:pt x="226" y="8990"/>
                    <a:pt x="185" y="8974"/>
                    <a:pt x="157" y="8963"/>
                  </a:cubicBezTo>
                  <a:cubicBezTo>
                    <a:pt x="128" y="8951"/>
                    <a:pt x="112" y="8945"/>
                    <a:pt x="112" y="8945"/>
                  </a:cubicBezTo>
                  <a:cubicBezTo>
                    <a:pt x="49" y="8962"/>
                    <a:pt x="10" y="8982"/>
                    <a:pt x="0" y="9014"/>
                  </a:cubicBezTo>
                  <a:cubicBezTo>
                    <a:pt x="0" y="9015"/>
                    <a:pt x="0" y="9015"/>
                    <a:pt x="0" y="9015"/>
                  </a:cubicBezTo>
                  <a:cubicBezTo>
                    <a:pt x="180" y="9085"/>
                    <a:pt x="358" y="9138"/>
                    <a:pt x="530" y="9181"/>
                  </a:cubicBezTo>
                  <a:cubicBezTo>
                    <a:pt x="616" y="9199"/>
                    <a:pt x="701" y="9220"/>
                    <a:pt x="783" y="9234"/>
                  </a:cubicBezTo>
                  <a:cubicBezTo>
                    <a:pt x="825" y="9242"/>
                    <a:pt x="865" y="9250"/>
                    <a:pt x="907" y="9257"/>
                  </a:cubicBezTo>
                  <a:cubicBezTo>
                    <a:pt x="1034" y="9275"/>
                    <a:pt x="1034" y="9275"/>
                    <a:pt x="1034" y="9275"/>
                  </a:cubicBezTo>
                  <a:cubicBezTo>
                    <a:pt x="1034" y="9275"/>
                    <a:pt x="1061" y="9279"/>
                    <a:pt x="1108" y="9286"/>
                  </a:cubicBezTo>
                  <a:cubicBezTo>
                    <a:pt x="1129" y="9289"/>
                    <a:pt x="1154" y="9292"/>
                    <a:pt x="1182" y="9296"/>
                  </a:cubicBezTo>
                  <a:cubicBezTo>
                    <a:pt x="1197" y="9298"/>
                    <a:pt x="1212" y="9300"/>
                    <a:pt x="1228" y="9302"/>
                  </a:cubicBezTo>
                  <a:cubicBezTo>
                    <a:pt x="1240" y="9303"/>
                    <a:pt x="1240" y="9303"/>
                    <a:pt x="1240" y="9303"/>
                  </a:cubicBezTo>
                  <a:cubicBezTo>
                    <a:pt x="1246" y="9304"/>
                    <a:pt x="1246" y="9304"/>
                    <a:pt x="1246" y="9304"/>
                  </a:cubicBezTo>
                  <a:cubicBezTo>
                    <a:pt x="1247" y="9304"/>
                    <a:pt x="1247" y="9304"/>
                    <a:pt x="1247" y="9304"/>
                  </a:cubicBezTo>
                  <a:cubicBezTo>
                    <a:pt x="1260" y="9305"/>
                    <a:pt x="1260" y="9305"/>
                    <a:pt x="1260" y="9305"/>
                  </a:cubicBezTo>
                  <a:cubicBezTo>
                    <a:pt x="1262" y="9305"/>
                    <a:pt x="1262" y="9305"/>
                    <a:pt x="1262" y="9305"/>
                  </a:cubicBezTo>
                  <a:cubicBezTo>
                    <a:pt x="1265" y="9305"/>
                    <a:pt x="1265" y="9305"/>
                    <a:pt x="1265" y="9305"/>
                  </a:cubicBezTo>
                  <a:cubicBezTo>
                    <a:pt x="1273" y="9306"/>
                    <a:pt x="1282" y="9307"/>
                    <a:pt x="1291" y="9308"/>
                  </a:cubicBezTo>
                  <a:cubicBezTo>
                    <a:pt x="1432" y="9325"/>
                    <a:pt x="1621" y="9346"/>
                    <a:pt x="1810" y="9368"/>
                  </a:cubicBezTo>
                  <a:cubicBezTo>
                    <a:pt x="2187" y="9412"/>
                    <a:pt x="2565" y="9455"/>
                    <a:pt x="2565" y="9455"/>
                  </a:cubicBezTo>
                  <a:cubicBezTo>
                    <a:pt x="2565" y="9455"/>
                    <a:pt x="2635" y="9455"/>
                    <a:pt x="2757" y="9455"/>
                  </a:cubicBezTo>
                  <a:cubicBezTo>
                    <a:pt x="2818" y="9455"/>
                    <a:pt x="2893" y="9455"/>
                    <a:pt x="2978" y="9455"/>
                  </a:cubicBezTo>
                  <a:cubicBezTo>
                    <a:pt x="2989" y="9455"/>
                    <a:pt x="3000" y="9455"/>
                    <a:pt x="3011" y="9455"/>
                  </a:cubicBezTo>
                  <a:cubicBezTo>
                    <a:pt x="3027" y="9455"/>
                    <a:pt x="3027" y="9455"/>
                    <a:pt x="3027" y="9455"/>
                  </a:cubicBezTo>
                  <a:cubicBezTo>
                    <a:pt x="3064" y="9455"/>
                    <a:pt x="3064" y="9455"/>
                    <a:pt x="3064" y="9455"/>
                  </a:cubicBezTo>
                  <a:cubicBezTo>
                    <a:pt x="3089" y="9454"/>
                    <a:pt x="3114" y="9452"/>
                    <a:pt x="3139" y="9451"/>
                  </a:cubicBezTo>
                  <a:cubicBezTo>
                    <a:pt x="3167" y="9449"/>
                    <a:pt x="3196" y="9446"/>
                    <a:pt x="3224" y="9442"/>
                  </a:cubicBezTo>
                  <a:cubicBezTo>
                    <a:pt x="3341" y="9425"/>
                    <a:pt x="3483" y="9392"/>
                    <a:pt x="3637" y="9310"/>
                  </a:cubicBezTo>
                  <a:cubicBezTo>
                    <a:pt x="3791" y="9230"/>
                    <a:pt x="3947" y="9092"/>
                    <a:pt x="4047" y="8940"/>
                  </a:cubicBezTo>
                  <a:cubicBezTo>
                    <a:pt x="4149" y="8787"/>
                    <a:pt x="4201" y="8633"/>
                    <a:pt x="4230" y="8502"/>
                  </a:cubicBezTo>
                  <a:cubicBezTo>
                    <a:pt x="4245" y="8433"/>
                    <a:pt x="4254" y="8380"/>
                    <a:pt x="4260" y="8304"/>
                  </a:cubicBezTo>
                  <a:cubicBezTo>
                    <a:pt x="4264" y="8251"/>
                    <a:pt x="4264" y="8251"/>
                    <a:pt x="4264" y="8251"/>
                  </a:cubicBezTo>
                  <a:cubicBezTo>
                    <a:pt x="4266" y="8226"/>
                    <a:pt x="4266" y="8226"/>
                    <a:pt x="4266" y="8226"/>
                  </a:cubicBezTo>
                  <a:cubicBezTo>
                    <a:pt x="4266" y="8214"/>
                    <a:pt x="4266" y="8214"/>
                    <a:pt x="4266" y="8214"/>
                  </a:cubicBezTo>
                  <a:cubicBezTo>
                    <a:pt x="4267" y="8167"/>
                    <a:pt x="4267" y="8167"/>
                    <a:pt x="4267" y="8167"/>
                  </a:cubicBezTo>
                  <a:cubicBezTo>
                    <a:pt x="4267" y="8097"/>
                    <a:pt x="4267" y="8024"/>
                    <a:pt x="4267" y="7951"/>
                  </a:cubicBezTo>
                  <a:cubicBezTo>
                    <a:pt x="4267" y="7689"/>
                    <a:pt x="4267" y="7409"/>
                    <a:pt x="4267" y="7129"/>
                  </a:cubicBezTo>
                  <a:cubicBezTo>
                    <a:pt x="4267" y="6009"/>
                    <a:pt x="4267" y="4890"/>
                    <a:pt x="4267" y="4890"/>
                  </a:cubicBezTo>
                  <a:cubicBezTo>
                    <a:pt x="4233" y="4722"/>
                    <a:pt x="4201" y="4512"/>
                    <a:pt x="4172" y="4263"/>
                  </a:cubicBezTo>
                  <a:cubicBezTo>
                    <a:pt x="4172" y="4263"/>
                    <a:pt x="4124" y="3850"/>
                    <a:pt x="4053" y="3230"/>
                  </a:cubicBezTo>
                  <a:cubicBezTo>
                    <a:pt x="4035" y="3077"/>
                    <a:pt x="4016" y="2911"/>
                    <a:pt x="3996" y="2735"/>
                  </a:cubicBezTo>
                  <a:cubicBezTo>
                    <a:pt x="3977" y="2583"/>
                    <a:pt x="3968" y="2422"/>
                    <a:pt x="3975" y="2258"/>
                  </a:cubicBezTo>
                  <a:cubicBezTo>
                    <a:pt x="3988" y="1930"/>
                    <a:pt x="4069" y="1584"/>
                    <a:pt x="4250" y="1269"/>
                  </a:cubicBezTo>
                  <a:cubicBezTo>
                    <a:pt x="4283" y="1211"/>
                    <a:pt x="4283" y="1211"/>
                    <a:pt x="4283" y="1211"/>
                  </a:cubicBezTo>
                  <a:cubicBezTo>
                    <a:pt x="4317" y="1157"/>
                    <a:pt x="4317" y="1157"/>
                    <a:pt x="4317" y="1157"/>
                  </a:cubicBezTo>
                  <a:cubicBezTo>
                    <a:pt x="4334" y="1129"/>
                    <a:pt x="4334" y="1129"/>
                    <a:pt x="4334" y="1129"/>
                  </a:cubicBezTo>
                  <a:cubicBezTo>
                    <a:pt x="4340" y="1120"/>
                    <a:pt x="4349" y="1109"/>
                    <a:pt x="4356" y="1098"/>
                  </a:cubicBezTo>
                  <a:cubicBezTo>
                    <a:pt x="4402" y="1036"/>
                    <a:pt x="4402" y="1036"/>
                    <a:pt x="4402" y="1036"/>
                  </a:cubicBezTo>
                  <a:cubicBezTo>
                    <a:pt x="4414" y="1020"/>
                    <a:pt x="4414" y="1020"/>
                    <a:pt x="4414" y="1020"/>
                  </a:cubicBezTo>
                  <a:cubicBezTo>
                    <a:pt x="4418" y="1015"/>
                    <a:pt x="4409" y="1025"/>
                    <a:pt x="4410" y="1023"/>
                  </a:cubicBezTo>
                  <a:cubicBezTo>
                    <a:pt x="4412" y="1022"/>
                    <a:pt x="4412" y="1022"/>
                    <a:pt x="4412" y="1022"/>
                  </a:cubicBezTo>
                  <a:cubicBezTo>
                    <a:pt x="4414" y="1018"/>
                    <a:pt x="4414" y="1018"/>
                    <a:pt x="4414" y="1018"/>
                  </a:cubicBezTo>
                  <a:cubicBezTo>
                    <a:pt x="4420" y="1012"/>
                    <a:pt x="4420" y="1012"/>
                    <a:pt x="4420" y="1012"/>
                  </a:cubicBezTo>
                  <a:cubicBezTo>
                    <a:pt x="4441" y="985"/>
                    <a:pt x="4441" y="985"/>
                    <a:pt x="4441" y="985"/>
                  </a:cubicBezTo>
                  <a:cubicBezTo>
                    <a:pt x="4484" y="930"/>
                    <a:pt x="4484" y="930"/>
                    <a:pt x="4484" y="930"/>
                  </a:cubicBezTo>
                  <a:cubicBezTo>
                    <a:pt x="4515" y="896"/>
                    <a:pt x="4544" y="860"/>
                    <a:pt x="4576" y="827"/>
                  </a:cubicBezTo>
                  <a:cubicBezTo>
                    <a:pt x="4702" y="694"/>
                    <a:pt x="4844" y="577"/>
                    <a:pt x="4995" y="481"/>
                  </a:cubicBezTo>
                  <a:cubicBezTo>
                    <a:pt x="5298" y="288"/>
                    <a:pt x="5641" y="184"/>
                    <a:pt x="5939" y="135"/>
                  </a:cubicBezTo>
                  <a:cubicBezTo>
                    <a:pt x="6244" y="87"/>
                    <a:pt x="6503" y="83"/>
                    <a:pt x="6686" y="90"/>
                  </a:cubicBezTo>
                  <a:cubicBezTo>
                    <a:pt x="6777" y="93"/>
                    <a:pt x="6849" y="99"/>
                    <a:pt x="6898" y="104"/>
                  </a:cubicBezTo>
                  <a:cubicBezTo>
                    <a:pt x="6947" y="108"/>
                    <a:pt x="6974" y="111"/>
                    <a:pt x="6974" y="111"/>
                  </a:cubicBezTo>
                  <a:cubicBezTo>
                    <a:pt x="6974" y="110"/>
                    <a:pt x="6974" y="110"/>
                    <a:pt x="6974" y="110"/>
                  </a:cubicBezTo>
                  <a:cubicBezTo>
                    <a:pt x="6974" y="110"/>
                    <a:pt x="7009" y="114"/>
                    <a:pt x="7071" y="122"/>
                  </a:cubicBezTo>
                  <a:cubicBezTo>
                    <a:pt x="7133" y="130"/>
                    <a:pt x="7221" y="143"/>
                    <a:pt x="7326" y="164"/>
                  </a:cubicBezTo>
                  <a:cubicBezTo>
                    <a:pt x="7432" y="185"/>
                    <a:pt x="7554" y="214"/>
                    <a:pt x="7686" y="252"/>
                  </a:cubicBezTo>
                  <a:cubicBezTo>
                    <a:pt x="7816" y="289"/>
                    <a:pt x="7951" y="334"/>
                    <a:pt x="8086" y="383"/>
                  </a:cubicBezTo>
                  <a:cubicBezTo>
                    <a:pt x="8357" y="480"/>
                    <a:pt x="8622" y="594"/>
                    <a:pt x="8818" y="687"/>
                  </a:cubicBezTo>
                  <a:cubicBezTo>
                    <a:pt x="9015" y="780"/>
                    <a:pt x="9143" y="849"/>
                    <a:pt x="9143" y="849"/>
                  </a:cubicBezTo>
                  <a:cubicBezTo>
                    <a:pt x="9026" y="751"/>
                    <a:pt x="8907" y="657"/>
                    <a:pt x="8785" y="565"/>
                  </a:cubicBezTo>
                  <a:cubicBezTo>
                    <a:pt x="8604" y="495"/>
                    <a:pt x="8398" y="412"/>
                    <a:pt x="8165" y="3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45314713-D666-4FDE-9DFD-8EA91CDD1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7" y="3969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42447BE1-FF79-436B-9EC8-53FEE7746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E99E7A08-D123-4760-A077-6BB5828F0F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1" y="3814"/>
              <a:ext cx="12" cy="12"/>
            </a:xfrm>
            <a:custGeom>
              <a:avLst/>
              <a:gdLst>
                <a:gd name="T0" fmla="*/ 0 w 328"/>
                <a:gd name="T1" fmla="*/ 0 h 316"/>
                <a:gd name="T2" fmla="*/ 291 w 328"/>
                <a:gd name="T3" fmla="*/ 281 h 316"/>
                <a:gd name="T4" fmla="*/ 328 w 328"/>
                <a:gd name="T5" fmla="*/ 316 h 316"/>
                <a:gd name="T6" fmla="*/ 42 w 328"/>
                <a:gd name="T7" fmla="*/ 41 h 316"/>
                <a:gd name="T8" fmla="*/ 0 w 328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316">
                  <a:moveTo>
                    <a:pt x="0" y="0"/>
                  </a:moveTo>
                  <a:cubicBezTo>
                    <a:pt x="96" y="93"/>
                    <a:pt x="193" y="187"/>
                    <a:pt x="291" y="281"/>
                  </a:cubicBezTo>
                  <a:cubicBezTo>
                    <a:pt x="303" y="293"/>
                    <a:pt x="315" y="304"/>
                    <a:pt x="328" y="316"/>
                  </a:cubicBezTo>
                  <a:cubicBezTo>
                    <a:pt x="223" y="215"/>
                    <a:pt x="121" y="117"/>
                    <a:pt x="42" y="41"/>
                  </a:cubicBezTo>
                  <a:cubicBezTo>
                    <a:pt x="27" y="26"/>
                    <a:pt x="13" y="13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557FA521-EB2D-4203-9DEE-725673A8A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6" y="3866"/>
              <a:ext cx="11" cy="10"/>
            </a:xfrm>
            <a:custGeom>
              <a:avLst/>
              <a:gdLst>
                <a:gd name="T0" fmla="*/ 13 w 276"/>
                <a:gd name="T1" fmla="*/ 11 h 250"/>
                <a:gd name="T2" fmla="*/ 0 w 276"/>
                <a:gd name="T3" fmla="*/ 0 h 250"/>
                <a:gd name="T4" fmla="*/ 14 w 276"/>
                <a:gd name="T5" fmla="*/ 12 h 250"/>
                <a:gd name="T6" fmla="*/ 118 w 276"/>
                <a:gd name="T7" fmla="*/ 107 h 250"/>
                <a:gd name="T8" fmla="*/ 276 w 276"/>
                <a:gd name="T9" fmla="*/ 250 h 250"/>
                <a:gd name="T10" fmla="*/ 178 w 276"/>
                <a:gd name="T11" fmla="*/ 161 h 250"/>
                <a:gd name="T12" fmla="*/ 13 w 276"/>
                <a:gd name="T13" fmla="*/ 1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250">
                  <a:moveTo>
                    <a:pt x="13" y="11"/>
                  </a:moveTo>
                  <a:cubicBezTo>
                    <a:pt x="9" y="7"/>
                    <a:pt x="5" y="4"/>
                    <a:pt x="0" y="0"/>
                  </a:cubicBezTo>
                  <a:cubicBezTo>
                    <a:pt x="5" y="4"/>
                    <a:pt x="10" y="8"/>
                    <a:pt x="14" y="12"/>
                  </a:cubicBezTo>
                  <a:cubicBezTo>
                    <a:pt x="77" y="69"/>
                    <a:pt x="118" y="107"/>
                    <a:pt x="118" y="107"/>
                  </a:cubicBezTo>
                  <a:cubicBezTo>
                    <a:pt x="118" y="107"/>
                    <a:pt x="176" y="160"/>
                    <a:pt x="276" y="250"/>
                  </a:cubicBezTo>
                  <a:cubicBezTo>
                    <a:pt x="243" y="220"/>
                    <a:pt x="211" y="191"/>
                    <a:pt x="178" y="161"/>
                  </a:cubicBezTo>
                  <a:cubicBezTo>
                    <a:pt x="123" y="111"/>
                    <a:pt x="68" y="61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9E162579-4A97-441C-9FBA-9E1F9F27A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0" y="3743"/>
              <a:ext cx="15" cy="9"/>
            </a:xfrm>
            <a:custGeom>
              <a:avLst/>
              <a:gdLst>
                <a:gd name="T0" fmla="*/ 0 w 391"/>
                <a:gd name="T1" fmla="*/ 0 h 245"/>
                <a:gd name="T2" fmla="*/ 391 w 391"/>
                <a:gd name="T3" fmla="*/ 245 h 245"/>
                <a:gd name="T4" fmla="*/ 4 w 391"/>
                <a:gd name="T5" fmla="*/ 2 h 245"/>
                <a:gd name="T6" fmla="*/ 0 w 391"/>
                <a:gd name="T7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1" h="245">
                  <a:moveTo>
                    <a:pt x="0" y="0"/>
                  </a:moveTo>
                  <a:cubicBezTo>
                    <a:pt x="120" y="71"/>
                    <a:pt x="252" y="153"/>
                    <a:pt x="391" y="245"/>
                  </a:cubicBezTo>
                  <a:cubicBezTo>
                    <a:pt x="277" y="170"/>
                    <a:pt x="143" y="83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70A2C46F-F3D1-47F5-B10B-1FF088FC8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6" cy="5"/>
            </a:xfrm>
            <a:custGeom>
              <a:avLst/>
              <a:gdLst>
                <a:gd name="T0" fmla="*/ 0 w 161"/>
                <a:gd name="T1" fmla="*/ 0 h 114"/>
                <a:gd name="T2" fmla="*/ 144 w 161"/>
                <a:gd name="T3" fmla="*/ 102 h 114"/>
                <a:gd name="T4" fmla="*/ 161 w 161"/>
                <a:gd name="T5" fmla="*/ 114 h 114"/>
                <a:gd name="T6" fmla="*/ 161 w 161"/>
                <a:gd name="T7" fmla="*/ 114 h 114"/>
                <a:gd name="T8" fmla="*/ 0 w 161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14">
                  <a:moveTo>
                    <a:pt x="0" y="0"/>
                  </a:moveTo>
                  <a:cubicBezTo>
                    <a:pt x="47" y="33"/>
                    <a:pt x="95" y="67"/>
                    <a:pt x="144" y="102"/>
                  </a:cubicBezTo>
                  <a:cubicBezTo>
                    <a:pt x="150" y="106"/>
                    <a:pt x="156" y="110"/>
                    <a:pt x="161" y="114"/>
                  </a:cubicBezTo>
                  <a:cubicBezTo>
                    <a:pt x="161" y="114"/>
                    <a:pt x="161" y="114"/>
                    <a:pt x="161" y="114"/>
                  </a:cubicBezTo>
                  <a:cubicBezTo>
                    <a:pt x="161" y="114"/>
                    <a:pt x="99" y="69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2421F7D3-AED0-4443-AAB3-2D0A1008A1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0" y="3964"/>
              <a:ext cx="7" cy="5"/>
            </a:xfrm>
            <a:custGeom>
              <a:avLst/>
              <a:gdLst>
                <a:gd name="T0" fmla="*/ 0 w 182"/>
                <a:gd name="T1" fmla="*/ 0 h 128"/>
                <a:gd name="T2" fmla="*/ 182 w 182"/>
                <a:gd name="T3" fmla="*/ 128 h 128"/>
                <a:gd name="T4" fmla="*/ 57 w 182"/>
                <a:gd name="T5" fmla="*/ 41 h 128"/>
                <a:gd name="T6" fmla="*/ 0 w 182"/>
                <a:gd name="T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28">
                  <a:moveTo>
                    <a:pt x="0" y="0"/>
                  </a:moveTo>
                  <a:cubicBezTo>
                    <a:pt x="112" y="82"/>
                    <a:pt x="177" y="125"/>
                    <a:pt x="182" y="128"/>
                  </a:cubicBezTo>
                  <a:cubicBezTo>
                    <a:pt x="176" y="124"/>
                    <a:pt x="131" y="94"/>
                    <a:pt x="57" y="41"/>
                  </a:cubicBezTo>
                  <a:cubicBezTo>
                    <a:pt x="40" y="29"/>
                    <a:pt x="20" y="1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B6EB369F-F881-4D04-BC67-4E2DEC1711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7" y="3761"/>
              <a:ext cx="144" cy="127"/>
            </a:xfrm>
            <a:custGeom>
              <a:avLst/>
              <a:gdLst>
                <a:gd name="T0" fmla="*/ 1101 w 3649"/>
                <a:gd name="T1" fmla="*/ 459 h 3225"/>
                <a:gd name="T2" fmla="*/ 792 w 3649"/>
                <a:gd name="T3" fmla="*/ 214 h 3225"/>
                <a:gd name="T4" fmla="*/ 641 w 3649"/>
                <a:gd name="T5" fmla="*/ 100 h 3225"/>
                <a:gd name="T6" fmla="*/ 505 w 3649"/>
                <a:gd name="T7" fmla="*/ 0 h 3225"/>
                <a:gd name="T8" fmla="*/ 542 w 3649"/>
                <a:gd name="T9" fmla="*/ 189 h 3225"/>
                <a:gd name="T10" fmla="*/ 373 w 3649"/>
                <a:gd name="T11" fmla="*/ 215 h 3225"/>
                <a:gd name="T12" fmla="*/ 29 w 3649"/>
                <a:gd name="T13" fmla="*/ 115 h 3225"/>
                <a:gd name="T14" fmla="*/ 0 w 3649"/>
                <a:gd name="T15" fmla="*/ 104 h 3225"/>
                <a:gd name="T16" fmla="*/ 230 w 3649"/>
                <a:gd name="T17" fmla="*/ 304 h 3225"/>
                <a:gd name="T18" fmla="*/ 345 w 3649"/>
                <a:gd name="T19" fmla="*/ 408 h 3225"/>
                <a:gd name="T20" fmla="*/ 453 w 3649"/>
                <a:gd name="T21" fmla="*/ 510 h 3225"/>
                <a:gd name="T22" fmla="*/ 499 w 3649"/>
                <a:gd name="T23" fmla="*/ 539 h 3225"/>
                <a:gd name="T24" fmla="*/ 1406 w 3649"/>
                <a:gd name="T25" fmla="*/ 1198 h 3225"/>
                <a:gd name="T26" fmla="*/ 1877 w 3649"/>
                <a:gd name="T27" fmla="*/ 1607 h 3225"/>
                <a:gd name="T28" fmla="*/ 2106 w 3649"/>
                <a:gd name="T29" fmla="*/ 1822 h 3225"/>
                <a:gd name="T30" fmla="*/ 2334 w 3649"/>
                <a:gd name="T31" fmla="*/ 2039 h 3225"/>
                <a:gd name="T32" fmla="*/ 2964 w 3649"/>
                <a:gd name="T33" fmla="*/ 2642 h 3225"/>
                <a:gd name="T34" fmla="*/ 3269 w 3649"/>
                <a:gd name="T35" fmla="*/ 2934 h 3225"/>
                <a:gd name="T36" fmla="*/ 3553 w 3649"/>
                <a:gd name="T37" fmla="*/ 3220 h 3225"/>
                <a:gd name="T38" fmla="*/ 3638 w 3649"/>
                <a:gd name="T39" fmla="*/ 3201 h 3225"/>
                <a:gd name="T40" fmla="*/ 3649 w 3649"/>
                <a:gd name="T41" fmla="*/ 3180 h 3225"/>
                <a:gd name="T42" fmla="*/ 3385 w 3649"/>
                <a:gd name="T43" fmla="*/ 2877 h 3225"/>
                <a:gd name="T44" fmla="*/ 3355 w 3649"/>
                <a:gd name="T45" fmla="*/ 2843 h 3225"/>
                <a:gd name="T46" fmla="*/ 3347 w 3649"/>
                <a:gd name="T47" fmla="*/ 2834 h 3225"/>
                <a:gd name="T48" fmla="*/ 3343 w 3649"/>
                <a:gd name="T49" fmla="*/ 2829 h 3225"/>
                <a:gd name="T50" fmla="*/ 3343 w 3649"/>
                <a:gd name="T51" fmla="*/ 2829 h 3225"/>
                <a:gd name="T52" fmla="*/ 3336 w 3649"/>
                <a:gd name="T53" fmla="*/ 2823 h 3225"/>
                <a:gd name="T54" fmla="*/ 3335 w 3649"/>
                <a:gd name="T55" fmla="*/ 2822 h 3225"/>
                <a:gd name="T56" fmla="*/ 3333 w 3649"/>
                <a:gd name="T57" fmla="*/ 2820 h 3225"/>
                <a:gd name="T58" fmla="*/ 3317 w 3649"/>
                <a:gd name="T59" fmla="*/ 2802 h 3225"/>
                <a:gd name="T60" fmla="*/ 3251 w 3649"/>
                <a:gd name="T61" fmla="*/ 2727 h 3225"/>
                <a:gd name="T62" fmla="*/ 3110 w 3649"/>
                <a:gd name="T63" fmla="*/ 2568 h 3225"/>
                <a:gd name="T64" fmla="*/ 2808 w 3649"/>
                <a:gd name="T65" fmla="*/ 2217 h 3225"/>
                <a:gd name="T66" fmla="*/ 2253 w 3649"/>
                <a:gd name="T67" fmla="*/ 1550 h 3225"/>
                <a:gd name="T68" fmla="*/ 2147 w 3649"/>
                <a:gd name="T69" fmla="*/ 1421 h 3225"/>
                <a:gd name="T70" fmla="*/ 2062 w 3649"/>
                <a:gd name="T71" fmla="*/ 1319 h 3225"/>
                <a:gd name="T72" fmla="*/ 1988 w 3649"/>
                <a:gd name="T73" fmla="*/ 1233 h 3225"/>
                <a:gd name="T74" fmla="*/ 1749 w 3649"/>
                <a:gd name="T75" fmla="*/ 1013 h 3225"/>
                <a:gd name="T76" fmla="*/ 1101 w 3649"/>
                <a:gd name="T77" fmla="*/ 459 h 3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49" h="3225">
                  <a:moveTo>
                    <a:pt x="1101" y="459"/>
                  </a:moveTo>
                  <a:cubicBezTo>
                    <a:pt x="996" y="374"/>
                    <a:pt x="892" y="292"/>
                    <a:pt x="792" y="214"/>
                  </a:cubicBezTo>
                  <a:cubicBezTo>
                    <a:pt x="740" y="176"/>
                    <a:pt x="690" y="137"/>
                    <a:pt x="641" y="100"/>
                  </a:cubicBezTo>
                  <a:cubicBezTo>
                    <a:pt x="595" y="66"/>
                    <a:pt x="550" y="33"/>
                    <a:pt x="505" y="0"/>
                  </a:cubicBezTo>
                  <a:cubicBezTo>
                    <a:pt x="557" y="91"/>
                    <a:pt x="570" y="154"/>
                    <a:pt x="542" y="189"/>
                  </a:cubicBezTo>
                  <a:cubicBezTo>
                    <a:pt x="518" y="222"/>
                    <a:pt x="460" y="230"/>
                    <a:pt x="373" y="215"/>
                  </a:cubicBezTo>
                  <a:cubicBezTo>
                    <a:pt x="286" y="201"/>
                    <a:pt x="173" y="167"/>
                    <a:pt x="29" y="11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8" y="170"/>
                    <a:pt x="155" y="237"/>
                    <a:pt x="230" y="304"/>
                  </a:cubicBezTo>
                  <a:cubicBezTo>
                    <a:pt x="268" y="339"/>
                    <a:pt x="307" y="373"/>
                    <a:pt x="345" y="408"/>
                  </a:cubicBezTo>
                  <a:cubicBezTo>
                    <a:pt x="381" y="442"/>
                    <a:pt x="417" y="476"/>
                    <a:pt x="453" y="510"/>
                  </a:cubicBezTo>
                  <a:cubicBezTo>
                    <a:pt x="499" y="539"/>
                    <a:pt x="499" y="539"/>
                    <a:pt x="499" y="539"/>
                  </a:cubicBezTo>
                  <a:cubicBezTo>
                    <a:pt x="786" y="721"/>
                    <a:pt x="1094" y="942"/>
                    <a:pt x="1406" y="1198"/>
                  </a:cubicBezTo>
                  <a:cubicBezTo>
                    <a:pt x="1563" y="1326"/>
                    <a:pt x="1718" y="1461"/>
                    <a:pt x="1877" y="1607"/>
                  </a:cubicBezTo>
                  <a:cubicBezTo>
                    <a:pt x="1953" y="1678"/>
                    <a:pt x="2029" y="1750"/>
                    <a:pt x="2106" y="1822"/>
                  </a:cubicBezTo>
                  <a:cubicBezTo>
                    <a:pt x="2181" y="1894"/>
                    <a:pt x="2257" y="1966"/>
                    <a:pt x="2334" y="2039"/>
                  </a:cubicBezTo>
                  <a:cubicBezTo>
                    <a:pt x="2547" y="2243"/>
                    <a:pt x="2757" y="2444"/>
                    <a:pt x="2964" y="2642"/>
                  </a:cubicBezTo>
                  <a:cubicBezTo>
                    <a:pt x="3067" y="2740"/>
                    <a:pt x="3168" y="2837"/>
                    <a:pt x="3269" y="2934"/>
                  </a:cubicBezTo>
                  <a:cubicBezTo>
                    <a:pt x="3367" y="3031"/>
                    <a:pt x="3461" y="3126"/>
                    <a:pt x="3553" y="3220"/>
                  </a:cubicBezTo>
                  <a:cubicBezTo>
                    <a:pt x="3593" y="3225"/>
                    <a:pt x="3622" y="3219"/>
                    <a:pt x="3638" y="3201"/>
                  </a:cubicBezTo>
                  <a:cubicBezTo>
                    <a:pt x="3643" y="3195"/>
                    <a:pt x="3647" y="3188"/>
                    <a:pt x="3649" y="3180"/>
                  </a:cubicBezTo>
                  <a:cubicBezTo>
                    <a:pt x="3649" y="3180"/>
                    <a:pt x="3544" y="3059"/>
                    <a:pt x="3385" y="2877"/>
                  </a:cubicBezTo>
                  <a:cubicBezTo>
                    <a:pt x="3375" y="2866"/>
                    <a:pt x="3365" y="2855"/>
                    <a:pt x="3355" y="2843"/>
                  </a:cubicBezTo>
                  <a:cubicBezTo>
                    <a:pt x="3347" y="2834"/>
                    <a:pt x="3347" y="2834"/>
                    <a:pt x="3347" y="2834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36" y="2823"/>
                    <a:pt x="3336" y="2823"/>
                    <a:pt x="3336" y="2823"/>
                  </a:cubicBezTo>
                  <a:cubicBezTo>
                    <a:pt x="3335" y="2822"/>
                    <a:pt x="3335" y="2822"/>
                    <a:pt x="3335" y="2822"/>
                  </a:cubicBezTo>
                  <a:cubicBezTo>
                    <a:pt x="3333" y="2820"/>
                    <a:pt x="3333" y="2820"/>
                    <a:pt x="3333" y="2820"/>
                  </a:cubicBezTo>
                  <a:cubicBezTo>
                    <a:pt x="3317" y="2802"/>
                    <a:pt x="3317" y="2802"/>
                    <a:pt x="3317" y="2802"/>
                  </a:cubicBezTo>
                  <a:cubicBezTo>
                    <a:pt x="3296" y="2778"/>
                    <a:pt x="3274" y="2753"/>
                    <a:pt x="3251" y="2727"/>
                  </a:cubicBezTo>
                  <a:cubicBezTo>
                    <a:pt x="3206" y="2677"/>
                    <a:pt x="3159" y="2623"/>
                    <a:pt x="3110" y="2568"/>
                  </a:cubicBezTo>
                  <a:cubicBezTo>
                    <a:pt x="3014" y="2456"/>
                    <a:pt x="2911" y="2337"/>
                    <a:pt x="2808" y="2217"/>
                  </a:cubicBezTo>
                  <a:cubicBezTo>
                    <a:pt x="2603" y="1977"/>
                    <a:pt x="2402" y="1734"/>
                    <a:pt x="2253" y="1550"/>
                  </a:cubicBezTo>
                  <a:cubicBezTo>
                    <a:pt x="2214" y="1503"/>
                    <a:pt x="2179" y="1460"/>
                    <a:pt x="2147" y="1421"/>
                  </a:cubicBezTo>
                  <a:cubicBezTo>
                    <a:pt x="2114" y="1382"/>
                    <a:pt x="2085" y="1348"/>
                    <a:pt x="2062" y="1319"/>
                  </a:cubicBezTo>
                  <a:cubicBezTo>
                    <a:pt x="2019" y="1269"/>
                    <a:pt x="1993" y="1239"/>
                    <a:pt x="1988" y="1233"/>
                  </a:cubicBezTo>
                  <a:cubicBezTo>
                    <a:pt x="1908" y="1158"/>
                    <a:pt x="1829" y="1085"/>
                    <a:pt x="1749" y="1013"/>
                  </a:cubicBezTo>
                  <a:cubicBezTo>
                    <a:pt x="1529" y="815"/>
                    <a:pt x="1312" y="630"/>
                    <a:pt x="1101" y="459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3EF552F5-5D2E-4497-B18E-CA76B9259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6" y="3809"/>
              <a:ext cx="2" cy="2"/>
            </a:xfrm>
            <a:custGeom>
              <a:avLst/>
              <a:gdLst>
                <a:gd name="T0" fmla="*/ 2 w 49"/>
                <a:gd name="T1" fmla="*/ 2 h 46"/>
                <a:gd name="T2" fmla="*/ 49 w 49"/>
                <a:gd name="T3" fmla="*/ 46 h 46"/>
                <a:gd name="T4" fmla="*/ 0 w 49"/>
                <a:gd name="T5" fmla="*/ 0 h 46"/>
                <a:gd name="T6" fmla="*/ 2 w 49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6">
                  <a:moveTo>
                    <a:pt x="2" y="2"/>
                  </a:moveTo>
                  <a:cubicBezTo>
                    <a:pt x="18" y="17"/>
                    <a:pt x="33" y="31"/>
                    <a:pt x="49" y="46"/>
                  </a:cubicBezTo>
                  <a:cubicBezTo>
                    <a:pt x="18" y="17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6D001A24-87B0-439C-81F1-DED7FFE9E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3879"/>
              <a:ext cx="47" cy="43"/>
            </a:xfrm>
            <a:custGeom>
              <a:avLst/>
              <a:gdLst>
                <a:gd name="T0" fmla="*/ 448 w 1205"/>
                <a:gd name="T1" fmla="*/ 407 h 1097"/>
                <a:gd name="T2" fmla="*/ 1050 w 1205"/>
                <a:gd name="T3" fmla="*/ 956 h 1097"/>
                <a:gd name="T4" fmla="*/ 1205 w 1205"/>
                <a:gd name="T5" fmla="*/ 1097 h 1097"/>
                <a:gd name="T6" fmla="*/ 0 w 1205"/>
                <a:gd name="T7" fmla="*/ 0 h 1097"/>
                <a:gd name="T8" fmla="*/ 448 w 1205"/>
                <a:gd name="T9" fmla="*/ 40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1097">
                  <a:moveTo>
                    <a:pt x="448" y="407"/>
                  </a:moveTo>
                  <a:cubicBezTo>
                    <a:pt x="657" y="598"/>
                    <a:pt x="859" y="782"/>
                    <a:pt x="1050" y="956"/>
                  </a:cubicBezTo>
                  <a:cubicBezTo>
                    <a:pt x="1103" y="1004"/>
                    <a:pt x="1154" y="1051"/>
                    <a:pt x="1205" y="1097"/>
                  </a:cubicBezTo>
                  <a:cubicBezTo>
                    <a:pt x="739" y="673"/>
                    <a:pt x="275" y="250"/>
                    <a:pt x="0" y="0"/>
                  </a:cubicBezTo>
                  <a:cubicBezTo>
                    <a:pt x="152" y="138"/>
                    <a:pt x="302" y="275"/>
                    <a:pt x="448" y="40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34B5ABBB-09BA-4376-9C4C-2502FAEB95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6" y="3774"/>
              <a:ext cx="183" cy="321"/>
            </a:xfrm>
            <a:custGeom>
              <a:avLst/>
              <a:gdLst>
                <a:gd name="T0" fmla="*/ 2335 w 4646"/>
                <a:gd name="T1" fmla="*/ 7601 h 8128"/>
                <a:gd name="T2" fmla="*/ 2662 w 4646"/>
                <a:gd name="T3" fmla="*/ 8049 h 8128"/>
                <a:gd name="T4" fmla="*/ 3268 w 4646"/>
                <a:gd name="T5" fmla="*/ 8124 h 8128"/>
                <a:gd name="T6" fmla="*/ 3857 w 4646"/>
                <a:gd name="T7" fmla="*/ 8106 h 8128"/>
                <a:gd name="T8" fmla="*/ 3911 w 4646"/>
                <a:gd name="T9" fmla="*/ 8101 h 8128"/>
                <a:gd name="T10" fmla="*/ 3919 w 4646"/>
                <a:gd name="T11" fmla="*/ 8100 h 8128"/>
                <a:gd name="T12" fmla="*/ 4038 w 4646"/>
                <a:gd name="T13" fmla="*/ 8086 h 8128"/>
                <a:gd name="T14" fmla="*/ 4194 w 4646"/>
                <a:gd name="T15" fmla="*/ 7964 h 8128"/>
                <a:gd name="T16" fmla="*/ 3911 w 4646"/>
                <a:gd name="T17" fmla="*/ 7931 h 8128"/>
                <a:gd name="T18" fmla="*/ 3904 w 4646"/>
                <a:gd name="T19" fmla="*/ 7931 h 8128"/>
                <a:gd name="T20" fmla="*/ 3851 w 4646"/>
                <a:gd name="T21" fmla="*/ 7924 h 8128"/>
                <a:gd name="T22" fmla="*/ 2255 w 4646"/>
                <a:gd name="T23" fmla="*/ 7326 h 8128"/>
                <a:gd name="T24" fmla="*/ 1944 w 4646"/>
                <a:gd name="T25" fmla="*/ 7039 h 8128"/>
                <a:gd name="T26" fmla="*/ 1768 w 4646"/>
                <a:gd name="T27" fmla="*/ 6816 h 8128"/>
                <a:gd name="T28" fmla="*/ 1547 w 4646"/>
                <a:gd name="T29" fmla="*/ 6311 h 8128"/>
                <a:gd name="T30" fmla="*/ 1936 w 4646"/>
                <a:gd name="T31" fmla="*/ 6240 h 8128"/>
                <a:gd name="T32" fmla="*/ 2170 w 4646"/>
                <a:gd name="T33" fmla="*/ 6436 h 8128"/>
                <a:gd name="T34" fmla="*/ 2268 w 4646"/>
                <a:gd name="T35" fmla="*/ 6515 h 8128"/>
                <a:gd name="T36" fmla="*/ 2260 w 4646"/>
                <a:gd name="T37" fmla="*/ 6505 h 8128"/>
                <a:gd name="T38" fmla="*/ 2295 w 4646"/>
                <a:gd name="T39" fmla="*/ 6528 h 8128"/>
                <a:gd name="T40" fmla="*/ 2420 w 4646"/>
                <a:gd name="T41" fmla="*/ 6608 h 8128"/>
                <a:gd name="T42" fmla="*/ 3181 w 4646"/>
                <a:gd name="T43" fmla="*/ 6839 h 8128"/>
                <a:gd name="T44" fmla="*/ 3324 w 4646"/>
                <a:gd name="T45" fmla="*/ 6843 h 8128"/>
                <a:gd name="T46" fmla="*/ 3016 w 4646"/>
                <a:gd name="T47" fmla="*/ 6761 h 8128"/>
                <a:gd name="T48" fmla="*/ 2742 w 4646"/>
                <a:gd name="T49" fmla="*/ 6640 h 8128"/>
                <a:gd name="T50" fmla="*/ 2591 w 4646"/>
                <a:gd name="T51" fmla="*/ 6574 h 8128"/>
                <a:gd name="T52" fmla="*/ 2345 w 4646"/>
                <a:gd name="T53" fmla="*/ 6431 h 8128"/>
                <a:gd name="T54" fmla="*/ 2336 w 4646"/>
                <a:gd name="T55" fmla="*/ 6425 h 8128"/>
                <a:gd name="T56" fmla="*/ 2348 w 4646"/>
                <a:gd name="T57" fmla="*/ 6437 h 8128"/>
                <a:gd name="T58" fmla="*/ 2216 w 4646"/>
                <a:gd name="T59" fmla="*/ 6326 h 8128"/>
                <a:gd name="T60" fmla="*/ 2079 w 4646"/>
                <a:gd name="T61" fmla="*/ 6187 h 8128"/>
                <a:gd name="T62" fmla="*/ 1680 w 4646"/>
                <a:gd name="T63" fmla="*/ 4850 h 8128"/>
                <a:gd name="T64" fmla="*/ 1864 w 4646"/>
                <a:gd name="T65" fmla="*/ 1768 h 8128"/>
                <a:gd name="T66" fmla="*/ 1859 w 4646"/>
                <a:gd name="T67" fmla="*/ 1602 h 8128"/>
                <a:gd name="T68" fmla="*/ 1778 w 4646"/>
                <a:gd name="T69" fmla="*/ 966 h 8128"/>
                <a:gd name="T70" fmla="*/ 1760 w 4646"/>
                <a:gd name="T71" fmla="*/ 951 h 8128"/>
                <a:gd name="T72" fmla="*/ 1787 w 4646"/>
                <a:gd name="T73" fmla="*/ 1361 h 8128"/>
                <a:gd name="T74" fmla="*/ 1782 w 4646"/>
                <a:gd name="T75" fmla="*/ 1661 h 8128"/>
                <a:gd name="T76" fmla="*/ 1769 w 4646"/>
                <a:gd name="T77" fmla="*/ 1797 h 8128"/>
                <a:gd name="T78" fmla="*/ 1768 w 4646"/>
                <a:gd name="T79" fmla="*/ 1805 h 8128"/>
                <a:gd name="T80" fmla="*/ 1767 w 4646"/>
                <a:gd name="T81" fmla="*/ 1828 h 8128"/>
                <a:gd name="T82" fmla="*/ 1723 w 4646"/>
                <a:gd name="T83" fmla="*/ 2210 h 8128"/>
                <a:gd name="T84" fmla="*/ 1079 w 4646"/>
                <a:gd name="T85" fmla="*/ 2438 h 8128"/>
                <a:gd name="T86" fmla="*/ 961 w 4646"/>
                <a:gd name="T87" fmla="*/ 1529 h 8128"/>
                <a:gd name="T88" fmla="*/ 316 w 4646"/>
                <a:gd name="T89" fmla="*/ 269 h 8128"/>
                <a:gd name="T90" fmla="*/ 118 w 4646"/>
                <a:gd name="T91" fmla="*/ 91 h 8128"/>
                <a:gd name="T92" fmla="*/ 111 w 4646"/>
                <a:gd name="T93" fmla="*/ 86 h 8128"/>
                <a:gd name="T94" fmla="*/ 106 w 4646"/>
                <a:gd name="T95" fmla="*/ 82 h 8128"/>
                <a:gd name="T96" fmla="*/ 54 w 4646"/>
                <a:gd name="T97" fmla="*/ 66 h 8128"/>
                <a:gd name="T98" fmla="*/ 83 w 4646"/>
                <a:gd name="T99" fmla="*/ 104 h 8128"/>
                <a:gd name="T100" fmla="*/ 85 w 4646"/>
                <a:gd name="T101" fmla="*/ 106 h 8128"/>
                <a:gd name="T102" fmla="*/ 103 w 4646"/>
                <a:gd name="T103" fmla="*/ 132 h 8128"/>
                <a:gd name="T104" fmla="*/ 504 w 4646"/>
                <a:gd name="T105" fmla="*/ 1267 h 8128"/>
                <a:gd name="T106" fmla="*/ 704 w 4646"/>
                <a:gd name="T107" fmla="*/ 1542 h 8128"/>
                <a:gd name="T108" fmla="*/ 831 w 4646"/>
                <a:gd name="T109" fmla="*/ 1824 h 8128"/>
                <a:gd name="T110" fmla="*/ 832 w 4646"/>
                <a:gd name="T111" fmla="*/ 1821 h 8128"/>
                <a:gd name="T112" fmla="*/ 837 w 4646"/>
                <a:gd name="T113" fmla="*/ 1842 h 8128"/>
                <a:gd name="T114" fmla="*/ 924 w 4646"/>
                <a:gd name="T115" fmla="*/ 2254 h 8128"/>
                <a:gd name="T116" fmla="*/ 1231 w 4646"/>
                <a:gd name="T117" fmla="*/ 4932 h 8128"/>
                <a:gd name="T118" fmla="*/ 1320 w 4646"/>
                <a:gd name="T119" fmla="*/ 6156 h 8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46" h="8128">
                  <a:moveTo>
                    <a:pt x="1527" y="6658"/>
                  </a:moveTo>
                  <a:cubicBezTo>
                    <a:pt x="1555" y="6705"/>
                    <a:pt x="1571" y="6732"/>
                    <a:pt x="1571" y="6732"/>
                  </a:cubicBezTo>
                  <a:cubicBezTo>
                    <a:pt x="1821" y="7151"/>
                    <a:pt x="2124" y="7418"/>
                    <a:pt x="2335" y="7601"/>
                  </a:cubicBezTo>
                  <a:cubicBezTo>
                    <a:pt x="2547" y="7785"/>
                    <a:pt x="2671" y="7893"/>
                    <a:pt x="2646" y="7969"/>
                  </a:cubicBezTo>
                  <a:cubicBezTo>
                    <a:pt x="2637" y="7994"/>
                    <a:pt x="2610" y="8014"/>
                    <a:pt x="2565" y="8026"/>
                  </a:cubicBezTo>
                  <a:cubicBezTo>
                    <a:pt x="2565" y="8026"/>
                    <a:pt x="2600" y="8035"/>
                    <a:pt x="2662" y="8049"/>
                  </a:cubicBezTo>
                  <a:cubicBezTo>
                    <a:pt x="2692" y="8056"/>
                    <a:pt x="2729" y="8063"/>
                    <a:pt x="2772" y="8070"/>
                  </a:cubicBezTo>
                  <a:cubicBezTo>
                    <a:pt x="2815" y="8077"/>
                    <a:pt x="2862" y="8087"/>
                    <a:pt x="2915" y="8093"/>
                  </a:cubicBezTo>
                  <a:cubicBezTo>
                    <a:pt x="3019" y="8107"/>
                    <a:pt x="3140" y="8119"/>
                    <a:pt x="3268" y="8124"/>
                  </a:cubicBezTo>
                  <a:cubicBezTo>
                    <a:pt x="3332" y="8126"/>
                    <a:pt x="3398" y="8128"/>
                    <a:pt x="3464" y="8127"/>
                  </a:cubicBezTo>
                  <a:cubicBezTo>
                    <a:pt x="3529" y="8127"/>
                    <a:pt x="3599" y="8124"/>
                    <a:pt x="3668" y="8121"/>
                  </a:cubicBezTo>
                  <a:cubicBezTo>
                    <a:pt x="3742" y="8118"/>
                    <a:pt x="3797" y="8111"/>
                    <a:pt x="3857" y="8106"/>
                  </a:cubicBezTo>
                  <a:cubicBezTo>
                    <a:pt x="3901" y="8101"/>
                    <a:pt x="3901" y="8101"/>
                    <a:pt x="3901" y="8101"/>
                  </a:cubicBezTo>
                  <a:cubicBezTo>
                    <a:pt x="3903" y="8101"/>
                    <a:pt x="3903" y="8101"/>
                    <a:pt x="3903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4" y="8101"/>
                    <a:pt x="3914" y="8101"/>
                    <a:pt x="3914" y="8101"/>
                  </a:cubicBezTo>
                  <a:cubicBezTo>
                    <a:pt x="3919" y="8100"/>
                    <a:pt x="3919" y="8100"/>
                    <a:pt x="3919" y="8100"/>
                  </a:cubicBezTo>
                  <a:cubicBezTo>
                    <a:pt x="3930" y="8099"/>
                    <a:pt x="3930" y="8099"/>
                    <a:pt x="3930" y="8099"/>
                  </a:cubicBezTo>
                  <a:cubicBezTo>
                    <a:pt x="3952" y="8096"/>
                    <a:pt x="3952" y="8096"/>
                    <a:pt x="3952" y="8096"/>
                  </a:cubicBezTo>
                  <a:cubicBezTo>
                    <a:pt x="3981" y="8093"/>
                    <a:pt x="4010" y="8090"/>
                    <a:pt x="4038" y="8086"/>
                  </a:cubicBezTo>
                  <a:cubicBezTo>
                    <a:pt x="4151" y="8073"/>
                    <a:pt x="4256" y="8061"/>
                    <a:pt x="4346" y="8051"/>
                  </a:cubicBezTo>
                  <a:cubicBezTo>
                    <a:pt x="4526" y="8030"/>
                    <a:pt x="4646" y="8016"/>
                    <a:pt x="4646" y="8016"/>
                  </a:cubicBezTo>
                  <a:cubicBezTo>
                    <a:pt x="4646" y="8016"/>
                    <a:pt x="4465" y="7995"/>
                    <a:pt x="4194" y="7964"/>
                  </a:cubicBezTo>
                  <a:cubicBezTo>
                    <a:pt x="4126" y="7956"/>
                    <a:pt x="4052" y="7947"/>
                    <a:pt x="3974" y="7938"/>
                  </a:cubicBezTo>
                  <a:cubicBezTo>
                    <a:pt x="3955" y="7936"/>
                    <a:pt x="3935" y="7934"/>
                    <a:pt x="3915" y="7932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05" y="7931"/>
                    <a:pt x="3905" y="7931"/>
                    <a:pt x="3905" y="7931"/>
                  </a:cubicBezTo>
                  <a:cubicBezTo>
                    <a:pt x="3904" y="7931"/>
                    <a:pt x="3904" y="7931"/>
                    <a:pt x="3904" y="7931"/>
                  </a:cubicBezTo>
                  <a:cubicBezTo>
                    <a:pt x="3896" y="7930"/>
                    <a:pt x="3896" y="7930"/>
                    <a:pt x="3896" y="7930"/>
                  </a:cubicBezTo>
                  <a:cubicBezTo>
                    <a:pt x="3881" y="7928"/>
                    <a:pt x="3881" y="7928"/>
                    <a:pt x="3881" y="7928"/>
                  </a:cubicBezTo>
                  <a:cubicBezTo>
                    <a:pt x="3851" y="7924"/>
                    <a:pt x="3851" y="7924"/>
                    <a:pt x="3851" y="7924"/>
                  </a:cubicBezTo>
                  <a:cubicBezTo>
                    <a:pt x="3810" y="7918"/>
                    <a:pt x="3767" y="7912"/>
                    <a:pt x="3725" y="7906"/>
                  </a:cubicBezTo>
                  <a:cubicBezTo>
                    <a:pt x="3542" y="7880"/>
                    <a:pt x="3358" y="7839"/>
                    <a:pt x="3175" y="7785"/>
                  </a:cubicBezTo>
                  <a:cubicBezTo>
                    <a:pt x="2809" y="7678"/>
                    <a:pt x="2472" y="7499"/>
                    <a:pt x="2255" y="7326"/>
                  </a:cubicBezTo>
                  <a:cubicBezTo>
                    <a:pt x="2200" y="7285"/>
                    <a:pt x="2153" y="7242"/>
                    <a:pt x="2111" y="7206"/>
                  </a:cubicBezTo>
                  <a:cubicBezTo>
                    <a:pt x="2070" y="7167"/>
                    <a:pt x="2035" y="7135"/>
                    <a:pt x="2007" y="7106"/>
                  </a:cubicBezTo>
                  <a:cubicBezTo>
                    <a:pt x="1980" y="7077"/>
                    <a:pt x="1959" y="7055"/>
                    <a:pt x="1944" y="7039"/>
                  </a:cubicBezTo>
                  <a:cubicBezTo>
                    <a:pt x="1929" y="7024"/>
                    <a:pt x="1922" y="7015"/>
                    <a:pt x="1922" y="7015"/>
                  </a:cubicBezTo>
                  <a:cubicBezTo>
                    <a:pt x="1895" y="6982"/>
                    <a:pt x="1868" y="6949"/>
                    <a:pt x="1841" y="6916"/>
                  </a:cubicBezTo>
                  <a:cubicBezTo>
                    <a:pt x="1816" y="6882"/>
                    <a:pt x="1792" y="6849"/>
                    <a:pt x="1768" y="6816"/>
                  </a:cubicBezTo>
                  <a:cubicBezTo>
                    <a:pt x="1726" y="6750"/>
                    <a:pt x="1690" y="6690"/>
                    <a:pt x="1660" y="6628"/>
                  </a:cubicBezTo>
                  <a:cubicBezTo>
                    <a:pt x="1629" y="6570"/>
                    <a:pt x="1608" y="6510"/>
                    <a:pt x="1587" y="6459"/>
                  </a:cubicBezTo>
                  <a:cubicBezTo>
                    <a:pt x="1571" y="6404"/>
                    <a:pt x="1555" y="6357"/>
                    <a:pt x="1547" y="6311"/>
                  </a:cubicBezTo>
                  <a:cubicBezTo>
                    <a:pt x="1510" y="6132"/>
                    <a:pt x="1535" y="6028"/>
                    <a:pt x="1588" y="6007"/>
                  </a:cubicBezTo>
                  <a:cubicBezTo>
                    <a:pt x="1643" y="5985"/>
                    <a:pt x="1724" y="6045"/>
                    <a:pt x="1841" y="6152"/>
                  </a:cubicBezTo>
                  <a:cubicBezTo>
                    <a:pt x="1869" y="6180"/>
                    <a:pt x="1903" y="6208"/>
                    <a:pt x="1936" y="6240"/>
                  </a:cubicBezTo>
                  <a:cubicBezTo>
                    <a:pt x="1972" y="6270"/>
                    <a:pt x="2006" y="6306"/>
                    <a:pt x="2049" y="6339"/>
                  </a:cubicBezTo>
                  <a:cubicBezTo>
                    <a:pt x="2069" y="6355"/>
                    <a:pt x="2091" y="6378"/>
                    <a:pt x="2110" y="6390"/>
                  </a:cubicBezTo>
                  <a:cubicBezTo>
                    <a:pt x="2130" y="6405"/>
                    <a:pt x="2146" y="6417"/>
                    <a:pt x="2170" y="6436"/>
                  </a:cubicBezTo>
                  <a:cubicBezTo>
                    <a:pt x="2202" y="6461"/>
                    <a:pt x="2234" y="6487"/>
                    <a:pt x="2266" y="6513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9" y="6515"/>
                    <a:pt x="2269" y="6515"/>
                    <a:pt x="2269" y="6515"/>
                  </a:cubicBezTo>
                  <a:cubicBezTo>
                    <a:pt x="2280" y="6527"/>
                    <a:pt x="2254" y="6501"/>
                    <a:pt x="2257" y="6503"/>
                  </a:cubicBezTo>
                  <a:cubicBezTo>
                    <a:pt x="2260" y="6505"/>
                    <a:pt x="2260" y="6505"/>
                    <a:pt x="2260" y="6505"/>
                  </a:cubicBezTo>
                  <a:cubicBezTo>
                    <a:pt x="2265" y="6508"/>
                    <a:pt x="2265" y="6508"/>
                    <a:pt x="2265" y="6508"/>
                  </a:cubicBezTo>
                  <a:cubicBezTo>
                    <a:pt x="2275" y="6515"/>
                    <a:pt x="2275" y="6515"/>
                    <a:pt x="2275" y="6515"/>
                  </a:cubicBezTo>
                  <a:cubicBezTo>
                    <a:pt x="2295" y="6528"/>
                    <a:pt x="2295" y="6528"/>
                    <a:pt x="2295" y="6528"/>
                  </a:cubicBezTo>
                  <a:cubicBezTo>
                    <a:pt x="2335" y="6556"/>
                    <a:pt x="2335" y="6556"/>
                    <a:pt x="2335" y="6556"/>
                  </a:cubicBezTo>
                  <a:cubicBezTo>
                    <a:pt x="2335" y="6556"/>
                    <a:pt x="2350" y="6565"/>
                    <a:pt x="2375" y="6580"/>
                  </a:cubicBezTo>
                  <a:cubicBezTo>
                    <a:pt x="2387" y="6588"/>
                    <a:pt x="2403" y="6597"/>
                    <a:pt x="2420" y="6608"/>
                  </a:cubicBezTo>
                  <a:cubicBezTo>
                    <a:pt x="2438" y="6618"/>
                    <a:pt x="2458" y="6628"/>
                    <a:pt x="2480" y="6640"/>
                  </a:cubicBezTo>
                  <a:cubicBezTo>
                    <a:pt x="2569" y="6686"/>
                    <a:pt x="2690" y="6737"/>
                    <a:pt x="2818" y="6772"/>
                  </a:cubicBezTo>
                  <a:cubicBezTo>
                    <a:pt x="2945" y="6808"/>
                    <a:pt x="3079" y="6828"/>
                    <a:pt x="3181" y="6839"/>
                  </a:cubicBezTo>
                  <a:cubicBezTo>
                    <a:pt x="3233" y="6842"/>
                    <a:pt x="3275" y="6846"/>
                    <a:pt x="3306" y="6847"/>
                  </a:cubicBezTo>
                  <a:cubicBezTo>
                    <a:pt x="3337" y="6848"/>
                    <a:pt x="3354" y="6848"/>
                    <a:pt x="3354" y="6848"/>
                  </a:cubicBezTo>
                  <a:cubicBezTo>
                    <a:pt x="3354" y="6848"/>
                    <a:pt x="3343" y="6846"/>
                    <a:pt x="3324" y="6843"/>
                  </a:cubicBezTo>
                  <a:cubicBezTo>
                    <a:pt x="3304" y="6840"/>
                    <a:pt x="3277" y="6834"/>
                    <a:pt x="3244" y="6826"/>
                  </a:cubicBezTo>
                  <a:cubicBezTo>
                    <a:pt x="3212" y="6819"/>
                    <a:pt x="3174" y="6810"/>
                    <a:pt x="3136" y="6798"/>
                  </a:cubicBezTo>
                  <a:cubicBezTo>
                    <a:pt x="3096" y="6789"/>
                    <a:pt x="3056" y="6774"/>
                    <a:pt x="3016" y="6761"/>
                  </a:cubicBezTo>
                  <a:cubicBezTo>
                    <a:pt x="2976" y="6748"/>
                    <a:pt x="2938" y="6731"/>
                    <a:pt x="2902" y="6718"/>
                  </a:cubicBezTo>
                  <a:cubicBezTo>
                    <a:pt x="2867" y="6701"/>
                    <a:pt x="2834" y="6688"/>
                    <a:pt x="2807" y="6674"/>
                  </a:cubicBezTo>
                  <a:cubicBezTo>
                    <a:pt x="2780" y="6660"/>
                    <a:pt x="2758" y="6648"/>
                    <a:pt x="2742" y="6640"/>
                  </a:cubicBezTo>
                  <a:cubicBezTo>
                    <a:pt x="2727" y="6631"/>
                    <a:pt x="2719" y="6626"/>
                    <a:pt x="2719" y="6626"/>
                  </a:cubicBezTo>
                  <a:cubicBezTo>
                    <a:pt x="2719" y="6626"/>
                    <a:pt x="2686" y="6614"/>
                    <a:pt x="2654" y="6602"/>
                  </a:cubicBezTo>
                  <a:cubicBezTo>
                    <a:pt x="2623" y="6588"/>
                    <a:pt x="2591" y="6574"/>
                    <a:pt x="2591" y="6574"/>
                  </a:cubicBezTo>
                  <a:cubicBezTo>
                    <a:pt x="2554" y="6557"/>
                    <a:pt x="2520" y="6538"/>
                    <a:pt x="2486" y="6520"/>
                  </a:cubicBezTo>
                  <a:cubicBezTo>
                    <a:pt x="2454" y="6500"/>
                    <a:pt x="2420" y="6484"/>
                    <a:pt x="2391" y="6462"/>
                  </a:cubicBezTo>
                  <a:cubicBezTo>
                    <a:pt x="2375" y="6451"/>
                    <a:pt x="2360" y="6441"/>
                    <a:pt x="2345" y="6431"/>
                  </a:cubicBezTo>
                  <a:cubicBezTo>
                    <a:pt x="2340" y="6427"/>
                    <a:pt x="2340" y="6427"/>
                    <a:pt x="2340" y="6427"/>
                  </a:cubicBezTo>
                  <a:cubicBezTo>
                    <a:pt x="2337" y="6425"/>
                    <a:pt x="2337" y="6425"/>
                    <a:pt x="2337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23" y="6412"/>
                    <a:pt x="2353" y="6442"/>
                    <a:pt x="2350" y="6439"/>
                  </a:cubicBezTo>
                  <a:cubicBezTo>
                    <a:pt x="2348" y="6437"/>
                    <a:pt x="2348" y="6437"/>
                    <a:pt x="2348" y="6437"/>
                  </a:cubicBezTo>
                  <a:cubicBezTo>
                    <a:pt x="2333" y="6425"/>
                    <a:pt x="2333" y="6425"/>
                    <a:pt x="2333" y="6425"/>
                  </a:cubicBezTo>
                  <a:cubicBezTo>
                    <a:pt x="2304" y="6400"/>
                    <a:pt x="2304" y="6400"/>
                    <a:pt x="2304" y="6400"/>
                  </a:cubicBezTo>
                  <a:cubicBezTo>
                    <a:pt x="2274" y="6375"/>
                    <a:pt x="2245" y="6350"/>
                    <a:pt x="2216" y="6326"/>
                  </a:cubicBezTo>
                  <a:cubicBezTo>
                    <a:pt x="2205" y="6316"/>
                    <a:pt x="2196" y="6311"/>
                    <a:pt x="2184" y="6298"/>
                  </a:cubicBezTo>
                  <a:cubicBezTo>
                    <a:pt x="2171" y="6286"/>
                    <a:pt x="2160" y="6274"/>
                    <a:pt x="2148" y="6262"/>
                  </a:cubicBezTo>
                  <a:cubicBezTo>
                    <a:pt x="2123" y="6239"/>
                    <a:pt x="2102" y="6212"/>
                    <a:pt x="2079" y="6187"/>
                  </a:cubicBezTo>
                  <a:cubicBezTo>
                    <a:pt x="2034" y="6135"/>
                    <a:pt x="1994" y="6078"/>
                    <a:pt x="1956" y="6017"/>
                  </a:cubicBezTo>
                  <a:cubicBezTo>
                    <a:pt x="1879" y="5893"/>
                    <a:pt x="1814" y="5746"/>
                    <a:pt x="1764" y="5558"/>
                  </a:cubicBezTo>
                  <a:cubicBezTo>
                    <a:pt x="1713" y="5371"/>
                    <a:pt x="1682" y="5140"/>
                    <a:pt x="1680" y="4850"/>
                  </a:cubicBezTo>
                  <a:cubicBezTo>
                    <a:pt x="1680" y="3512"/>
                    <a:pt x="1732" y="3082"/>
                    <a:pt x="1842" y="2137"/>
                  </a:cubicBezTo>
                  <a:cubicBezTo>
                    <a:pt x="1865" y="1933"/>
                    <a:pt x="1865" y="1933"/>
                    <a:pt x="1865" y="1933"/>
                  </a:cubicBezTo>
                  <a:cubicBezTo>
                    <a:pt x="1865" y="1933"/>
                    <a:pt x="1865" y="1867"/>
                    <a:pt x="1864" y="1768"/>
                  </a:cubicBezTo>
                  <a:cubicBezTo>
                    <a:pt x="1864" y="1746"/>
                    <a:pt x="1863" y="1722"/>
                    <a:pt x="1863" y="1696"/>
                  </a:cubicBezTo>
                  <a:cubicBezTo>
                    <a:pt x="1863" y="1683"/>
                    <a:pt x="1862" y="1670"/>
                    <a:pt x="1862" y="1657"/>
                  </a:cubicBezTo>
                  <a:cubicBezTo>
                    <a:pt x="1861" y="1639"/>
                    <a:pt x="1860" y="1620"/>
                    <a:pt x="1859" y="1602"/>
                  </a:cubicBezTo>
                  <a:cubicBezTo>
                    <a:pt x="1857" y="1564"/>
                    <a:pt x="1855" y="1526"/>
                    <a:pt x="1853" y="1486"/>
                  </a:cubicBezTo>
                  <a:cubicBezTo>
                    <a:pt x="1850" y="1447"/>
                    <a:pt x="1846" y="1412"/>
                    <a:pt x="1842" y="1374"/>
                  </a:cubicBezTo>
                  <a:cubicBezTo>
                    <a:pt x="1828" y="1227"/>
                    <a:pt x="1801" y="1078"/>
                    <a:pt x="1778" y="966"/>
                  </a:cubicBezTo>
                  <a:cubicBezTo>
                    <a:pt x="1753" y="854"/>
                    <a:pt x="1734" y="780"/>
                    <a:pt x="1734" y="780"/>
                  </a:cubicBezTo>
                  <a:cubicBezTo>
                    <a:pt x="1734" y="780"/>
                    <a:pt x="1738" y="809"/>
                    <a:pt x="1746" y="860"/>
                  </a:cubicBezTo>
                  <a:cubicBezTo>
                    <a:pt x="1750" y="885"/>
                    <a:pt x="1754" y="916"/>
                    <a:pt x="1760" y="951"/>
                  </a:cubicBezTo>
                  <a:cubicBezTo>
                    <a:pt x="1763" y="986"/>
                    <a:pt x="1767" y="1026"/>
                    <a:pt x="1772" y="1069"/>
                  </a:cubicBezTo>
                  <a:cubicBezTo>
                    <a:pt x="1777" y="1113"/>
                    <a:pt x="1779" y="1159"/>
                    <a:pt x="1782" y="1208"/>
                  </a:cubicBezTo>
                  <a:cubicBezTo>
                    <a:pt x="1785" y="1257"/>
                    <a:pt x="1787" y="1309"/>
                    <a:pt x="1787" y="1361"/>
                  </a:cubicBezTo>
                  <a:cubicBezTo>
                    <a:pt x="1787" y="1415"/>
                    <a:pt x="1789" y="1467"/>
                    <a:pt x="1786" y="1528"/>
                  </a:cubicBezTo>
                  <a:cubicBezTo>
                    <a:pt x="1785" y="1557"/>
                    <a:pt x="1785" y="1587"/>
                    <a:pt x="1784" y="1617"/>
                  </a:cubicBezTo>
                  <a:cubicBezTo>
                    <a:pt x="1782" y="1661"/>
                    <a:pt x="1782" y="1661"/>
                    <a:pt x="1782" y="1661"/>
                  </a:cubicBezTo>
                  <a:cubicBezTo>
                    <a:pt x="1779" y="1695"/>
                    <a:pt x="1779" y="1695"/>
                    <a:pt x="1779" y="1695"/>
                  </a:cubicBezTo>
                  <a:cubicBezTo>
                    <a:pt x="1772" y="1763"/>
                    <a:pt x="1772" y="1763"/>
                    <a:pt x="1772" y="1763"/>
                  </a:cubicBezTo>
                  <a:cubicBezTo>
                    <a:pt x="1769" y="1797"/>
                    <a:pt x="1769" y="1797"/>
                    <a:pt x="1769" y="1797"/>
                  </a:cubicBezTo>
                  <a:cubicBezTo>
                    <a:pt x="1768" y="1802"/>
                    <a:pt x="1768" y="1802"/>
                    <a:pt x="1768" y="1802"/>
                  </a:cubicBezTo>
                  <a:cubicBezTo>
                    <a:pt x="1768" y="1804"/>
                    <a:pt x="1768" y="1804"/>
                    <a:pt x="1768" y="1804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20"/>
                    <a:pt x="1768" y="1820"/>
                    <a:pt x="1768" y="1820"/>
                  </a:cubicBezTo>
                  <a:cubicBezTo>
                    <a:pt x="1767" y="1828"/>
                    <a:pt x="1767" y="1828"/>
                    <a:pt x="1767" y="1828"/>
                  </a:cubicBezTo>
                  <a:cubicBezTo>
                    <a:pt x="1765" y="1845"/>
                    <a:pt x="1765" y="1845"/>
                    <a:pt x="1765" y="1845"/>
                  </a:cubicBezTo>
                  <a:cubicBezTo>
                    <a:pt x="1760" y="1890"/>
                    <a:pt x="1755" y="1934"/>
                    <a:pt x="1750" y="1977"/>
                  </a:cubicBezTo>
                  <a:cubicBezTo>
                    <a:pt x="1740" y="2062"/>
                    <a:pt x="1731" y="2142"/>
                    <a:pt x="1723" y="2210"/>
                  </a:cubicBezTo>
                  <a:cubicBezTo>
                    <a:pt x="1707" y="2347"/>
                    <a:pt x="1697" y="2438"/>
                    <a:pt x="1697" y="2438"/>
                  </a:cubicBezTo>
                  <a:cubicBezTo>
                    <a:pt x="1614" y="3151"/>
                    <a:pt x="1505" y="3544"/>
                    <a:pt x="1388" y="3544"/>
                  </a:cubicBezTo>
                  <a:cubicBezTo>
                    <a:pt x="1271" y="3544"/>
                    <a:pt x="1162" y="3151"/>
                    <a:pt x="1079" y="2438"/>
                  </a:cubicBezTo>
                  <a:cubicBezTo>
                    <a:pt x="1079" y="2438"/>
                    <a:pt x="1058" y="2257"/>
                    <a:pt x="1027" y="1986"/>
                  </a:cubicBezTo>
                  <a:cubicBezTo>
                    <a:pt x="1019" y="1918"/>
                    <a:pt x="1012" y="1843"/>
                    <a:pt x="1001" y="1768"/>
                  </a:cubicBezTo>
                  <a:cubicBezTo>
                    <a:pt x="991" y="1689"/>
                    <a:pt x="977" y="1610"/>
                    <a:pt x="961" y="1529"/>
                  </a:cubicBezTo>
                  <a:cubicBezTo>
                    <a:pt x="928" y="1366"/>
                    <a:pt x="880" y="1197"/>
                    <a:pt x="815" y="1037"/>
                  </a:cubicBezTo>
                  <a:cubicBezTo>
                    <a:pt x="751" y="876"/>
                    <a:pt x="672" y="726"/>
                    <a:pt x="584" y="596"/>
                  </a:cubicBezTo>
                  <a:cubicBezTo>
                    <a:pt x="497" y="466"/>
                    <a:pt x="403" y="356"/>
                    <a:pt x="316" y="269"/>
                  </a:cubicBezTo>
                  <a:cubicBezTo>
                    <a:pt x="274" y="225"/>
                    <a:pt x="231" y="189"/>
                    <a:pt x="195" y="155"/>
                  </a:cubicBezTo>
                  <a:cubicBezTo>
                    <a:pt x="176" y="139"/>
                    <a:pt x="158" y="124"/>
                    <a:pt x="141" y="111"/>
                  </a:cubicBezTo>
                  <a:cubicBezTo>
                    <a:pt x="133" y="104"/>
                    <a:pt x="125" y="97"/>
                    <a:pt x="118" y="91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6" y="81"/>
                    <a:pt x="106" y="81"/>
                    <a:pt x="106" y="81"/>
                  </a:cubicBezTo>
                  <a:cubicBezTo>
                    <a:pt x="109" y="83"/>
                    <a:pt x="101" y="76"/>
                    <a:pt x="111" y="86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37" y="30"/>
                    <a:pt x="0" y="0"/>
                    <a:pt x="2" y="2"/>
                  </a:cubicBezTo>
                  <a:cubicBezTo>
                    <a:pt x="2" y="2"/>
                    <a:pt x="21" y="25"/>
                    <a:pt x="54" y="66"/>
                  </a:cubicBezTo>
                  <a:cubicBezTo>
                    <a:pt x="62" y="76"/>
                    <a:pt x="71" y="87"/>
                    <a:pt x="81" y="100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77" y="97"/>
                    <a:pt x="86" y="106"/>
                    <a:pt x="83" y="10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4" y="119"/>
                    <a:pt x="98" y="125"/>
                    <a:pt x="103" y="132"/>
                  </a:cubicBezTo>
                  <a:cubicBezTo>
                    <a:pt x="121" y="158"/>
                    <a:pt x="144" y="187"/>
                    <a:pt x="164" y="220"/>
                  </a:cubicBezTo>
                  <a:cubicBezTo>
                    <a:pt x="250" y="352"/>
                    <a:pt x="347" y="534"/>
                    <a:pt x="406" y="727"/>
                  </a:cubicBezTo>
                  <a:cubicBezTo>
                    <a:pt x="468" y="918"/>
                    <a:pt x="496" y="1117"/>
                    <a:pt x="504" y="1267"/>
                  </a:cubicBezTo>
                  <a:cubicBezTo>
                    <a:pt x="513" y="1417"/>
                    <a:pt x="507" y="1519"/>
                    <a:pt x="507" y="1519"/>
                  </a:cubicBezTo>
                  <a:cubicBezTo>
                    <a:pt x="530" y="1490"/>
                    <a:pt x="555" y="1472"/>
                    <a:pt x="582" y="1469"/>
                  </a:cubicBezTo>
                  <a:cubicBezTo>
                    <a:pt x="621" y="1465"/>
                    <a:pt x="661" y="1488"/>
                    <a:pt x="704" y="1542"/>
                  </a:cubicBezTo>
                  <a:cubicBezTo>
                    <a:pt x="745" y="1594"/>
                    <a:pt x="788" y="1669"/>
                    <a:pt x="824" y="1799"/>
                  </a:cubicBezTo>
                  <a:cubicBezTo>
                    <a:pt x="831" y="1822"/>
                    <a:pt x="831" y="1822"/>
                    <a:pt x="831" y="1822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2"/>
                    <a:pt x="831" y="1829"/>
                    <a:pt x="831" y="1820"/>
                  </a:cubicBezTo>
                  <a:cubicBezTo>
                    <a:pt x="832" y="1821"/>
                    <a:pt x="832" y="1821"/>
                    <a:pt x="832" y="1821"/>
                  </a:cubicBezTo>
                  <a:cubicBezTo>
                    <a:pt x="832" y="1824"/>
                    <a:pt x="832" y="1824"/>
                    <a:pt x="832" y="1824"/>
                  </a:cubicBezTo>
                  <a:cubicBezTo>
                    <a:pt x="834" y="1830"/>
                    <a:pt x="834" y="1830"/>
                    <a:pt x="834" y="1830"/>
                  </a:cubicBezTo>
                  <a:cubicBezTo>
                    <a:pt x="837" y="1842"/>
                    <a:pt x="837" y="1842"/>
                    <a:pt x="837" y="1842"/>
                  </a:cubicBezTo>
                  <a:cubicBezTo>
                    <a:pt x="850" y="1893"/>
                    <a:pt x="850" y="1893"/>
                    <a:pt x="850" y="1893"/>
                  </a:cubicBezTo>
                  <a:cubicBezTo>
                    <a:pt x="858" y="1929"/>
                    <a:pt x="867" y="1966"/>
                    <a:pt x="875" y="2002"/>
                  </a:cubicBezTo>
                  <a:cubicBezTo>
                    <a:pt x="892" y="2079"/>
                    <a:pt x="908" y="2163"/>
                    <a:pt x="924" y="2254"/>
                  </a:cubicBezTo>
                  <a:cubicBezTo>
                    <a:pt x="955" y="2436"/>
                    <a:pt x="985" y="2646"/>
                    <a:pt x="1012" y="2882"/>
                  </a:cubicBezTo>
                  <a:cubicBezTo>
                    <a:pt x="1240" y="4850"/>
                    <a:pt x="1240" y="4850"/>
                    <a:pt x="1240" y="4850"/>
                  </a:cubicBezTo>
                  <a:cubicBezTo>
                    <a:pt x="1240" y="4850"/>
                    <a:pt x="1237" y="4880"/>
                    <a:pt x="1231" y="4932"/>
                  </a:cubicBezTo>
                  <a:cubicBezTo>
                    <a:pt x="1225" y="4984"/>
                    <a:pt x="1220" y="5058"/>
                    <a:pt x="1215" y="5147"/>
                  </a:cubicBezTo>
                  <a:cubicBezTo>
                    <a:pt x="1206" y="5326"/>
                    <a:pt x="1207" y="5567"/>
                    <a:pt x="1245" y="5806"/>
                  </a:cubicBezTo>
                  <a:cubicBezTo>
                    <a:pt x="1261" y="5927"/>
                    <a:pt x="1290" y="6045"/>
                    <a:pt x="1320" y="6156"/>
                  </a:cubicBezTo>
                  <a:cubicBezTo>
                    <a:pt x="1354" y="6266"/>
                    <a:pt x="1390" y="6368"/>
                    <a:pt x="1428" y="6454"/>
                  </a:cubicBezTo>
                  <a:cubicBezTo>
                    <a:pt x="1464" y="6540"/>
                    <a:pt x="1502" y="6608"/>
                    <a:pt x="1527" y="665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7A0BAA8E-0A88-4F06-A6AB-1545883A8D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0" y="3968"/>
              <a:ext cx="219" cy="142"/>
            </a:xfrm>
            <a:custGeom>
              <a:avLst/>
              <a:gdLst>
                <a:gd name="T0" fmla="*/ 5392 w 5541"/>
                <a:gd name="T1" fmla="*/ 1827 h 3595"/>
                <a:gd name="T2" fmla="*/ 5381 w 5541"/>
                <a:gd name="T3" fmla="*/ 2054 h 3595"/>
                <a:gd name="T4" fmla="*/ 5372 w 5541"/>
                <a:gd name="T5" fmla="*/ 2304 h 3595"/>
                <a:gd name="T6" fmla="*/ 5369 w 5541"/>
                <a:gd name="T7" fmla="*/ 2362 h 3595"/>
                <a:gd name="T8" fmla="*/ 5357 w 5541"/>
                <a:gd name="T9" fmla="*/ 2480 h 3595"/>
                <a:gd name="T10" fmla="*/ 5337 w 5541"/>
                <a:gd name="T11" fmla="*/ 2589 h 3595"/>
                <a:gd name="T12" fmla="*/ 5304 w 5541"/>
                <a:gd name="T13" fmla="*/ 2708 h 3595"/>
                <a:gd name="T14" fmla="*/ 5282 w 5541"/>
                <a:gd name="T15" fmla="*/ 2770 h 3595"/>
                <a:gd name="T16" fmla="*/ 5253 w 5541"/>
                <a:gd name="T17" fmla="*/ 2836 h 3595"/>
                <a:gd name="T18" fmla="*/ 5179 w 5541"/>
                <a:gd name="T19" fmla="*/ 2969 h 3595"/>
                <a:gd name="T20" fmla="*/ 4942 w 5541"/>
                <a:gd name="T21" fmla="*/ 3215 h 3595"/>
                <a:gd name="T22" fmla="*/ 4384 w 5541"/>
                <a:gd name="T23" fmla="*/ 3406 h 3595"/>
                <a:gd name="T24" fmla="*/ 4326 w 5541"/>
                <a:gd name="T25" fmla="*/ 3408 h 3595"/>
                <a:gd name="T26" fmla="*/ 4299 w 5541"/>
                <a:gd name="T27" fmla="*/ 3408 h 3595"/>
                <a:gd name="T28" fmla="*/ 4283 w 5541"/>
                <a:gd name="T29" fmla="*/ 3408 h 3595"/>
                <a:gd name="T30" fmla="*/ 4222 w 5541"/>
                <a:gd name="T31" fmla="*/ 3407 h 3595"/>
                <a:gd name="T32" fmla="*/ 4099 w 5541"/>
                <a:gd name="T33" fmla="*/ 3405 h 3595"/>
                <a:gd name="T34" fmla="*/ 3602 w 5541"/>
                <a:gd name="T35" fmla="*/ 3402 h 3595"/>
                <a:gd name="T36" fmla="*/ 2888 w 5541"/>
                <a:gd name="T37" fmla="*/ 3408 h 3595"/>
                <a:gd name="T38" fmla="*/ 2540 w 5541"/>
                <a:gd name="T39" fmla="*/ 3415 h 3595"/>
                <a:gd name="T40" fmla="*/ 2357 w 5541"/>
                <a:gd name="T41" fmla="*/ 3417 h 3595"/>
                <a:gd name="T42" fmla="*/ 2150 w 5541"/>
                <a:gd name="T43" fmla="*/ 3411 h 3595"/>
                <a:gd name="T44" fmla="*/ 640 w 5541"/>
                <a:gd name="T45" fmla="*/ 3052 h 3595"/>
                <a:gd name="T46" fmla="*/ 0 w 5541"/>
                <a:gd name="T47" fmla="*/ 2725 h 3595"/>
                <a:gd name="T48" fmla="*/ 80 w 5541"/>
                <a:gd name="T49" fmla="*/ 2793 h 3595"/>
                <a:gd name="T50" fmla="*/ 316 w 5541"/>
                <a:gd name="T51" fmla="*/ 2972 h 3595"/>
                <a:gd name="T52" fmla="*/ 710 w 5541"/>
                <a:gd name="T53" fmla="*/ 3204 h 3595"/>
                <a:gd name="T54" fmla="*/ 1249 w 5541"/>
                <a:gd name="T55" fmla="*/ 3418 h 3595"/>
                <a:gd name="T56" fmla="*/ 1893 w 5541"/>
                <a:gd name="T57" fmla="*/ 3554 h 3595"/>
                <a:gd name="T58" fmla="*/ 2065 w 5541"/>
                <a:gd name="T59" fmla="*/ 3574 h 3595"/>
                <a:gd name="T60" fmla="*/ 2152 w 5541"/>
                <a:gd name="T61" fmla="*/ 3582 h 3595"/>
                <a:gd name="T62" fmla="*/ 2246 w 5541"/>
                <a:gd name="T63" fmla="*/ 3587 h 3595"/>
                <a:gd name="T64" fmla="*/ 2341 w 5541"/>
                <a:gd name="T65" fmla="*/ 3592 h 3595"/>
                <a:gd name="T66" fmla="*/ 2419 w 5541"/>
                <a:gd name="T67" fmla="*/ 3594 h 3595"/>
                <a:gd name="T68" fmla="*/ 2494 w 5541"/>
                <a:gd name="T69" fmla="*/ 3595 h 3595"/>
                <a:gd name="T70" fmla="*/ 2585 w 5541"/>
                <a:gd name="T71" fmla="*/ 3595 h 3595"/>
                <a:gd name="T72" fmla="*/ 3864 w 5541"/>
                <a:gd name="T73" fmla="*/ 3595 h 3595"/>
                <a:gd name="T74" fmla="*/ 4190 w 5541"/>
                <a:gd name="T75" fmla="*/ 3595 h 3595"/>
                <a:gd name="T76" fmla="*/ 4271 w 5541"/>
                <a:gd name="T77" fmla="*/ 3595 h 3595"/>
                <a:gd name="T78" fmla="*/ 4324 w 5541"/>
                <a:gd name="T79" fmla="*/ 3595 h 3595"/>
                <a:gd name="T80" fmla="*/ 4413 w 5541"/>
                <a:gd name="T81" fmla="*/ 3591 h 3595"/>
                <a:gd name="T82" fmla="*/ 4839 w 5541"/>
                <a:gd name="T83" fmla="*/ 3485 h 3595"/>
                <a:gd name="T84" fmla="*/ 5264 w 5541"/>
                <a:gd name="T85" fmla="*/ 3155 h 3595"/>
                <a:gd name="T86" fmla="*/ 5477 w 5541"/>
                <a:gd name="T87" fmla="*/ 2746 h 3595"/>
                <a:gd name="T88" fmla="*/ 5501 w 5541"/>
                <a:gd name="T89" fmla="*/ 2655 h 3595"/>
                <a:gd name="T90" fmla="*/ 5510 w 5541"/>
                <a:gd name="T91" fmla="*/ 2611 h 3595"/>
                <a:gd name="T92" fmla="*/ 5517 w 5541"/>
                <a:gd name="T93" fmla="*/ 2571 h 3595"/>
                <a:gd name="T94" fmla="*/ 5529 w 5541"/>
                <a:gd name="T95" fmla="*/ 2488 h 3595"/>
                <a:gd name="T96" fmla="*/ 5537 w 5541"/>
                <a:gd name="T97" fmla="*/ 2399 h 3595"/>
                <a:gd name="T98" fmla="*/ 5540 w 5541"/>
                <a:gd name="T99" fmla="*/ 2342 h 3595"/>
                <a:gd name="T100" fmla="*/ 5541 w 5541"/>
                <a:gd name="T101" fmla="*/ 2281 h 3595"/>
                <a:gd name="T102" fmla="*/ 5541 w 5541"/>
                <a:gd name="T103" fmla="*/ 2204 h 3595"/>
                <a:gd name="T104" fmla="*/ 5541 w 5541"/>
                <a:gd name="T105" fmla="*/ 1088 h 3595"/>
                <a:gd name="T106" fmla="*/ 5541 w 5541"/>
                <a:gd name="T107" fmla="*/ 0 h 3595"/>
                <a:gd name="T108" fmla="*/ 5517 w 5541"/>
                <a:gd name="T109" fmla="*/ 204 h 3595"/>
                <a:gd name="T110" fmla="*/ 5392 w 5541"/>
                <a:gd name="T111" fmla="*/ 1827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41" h="3595">
                  <a:moveTo>
                    <a:pt x="5392" y="1827"/>
                  </a:moveTo>
                  <a:cubicBezTo>
                    <a:pt x="5388" y="1902"/>
                    <a:pt x="5385" y="1978"/>
                    <a:pt x="5381" y="2054"/>
                  </a:cubicBezTo>
                  <a:cubicBezTo>
                    <a:pt x="5378" y="2137"/>
                    <a:pt x="5375" y="2220"/>
                    <a:pt x="5372" y="2304"/>
                  </a:cubicBezTo>
                  <a:cubicBezTo>
                    <a:pt x="5369" y="2362"/>
                    <a:pt x="5369" y="2362"/>
                    <a:pt x="5369" y="2362"/>
                  </a:cubicBezTo>
                  <a:cubicBezTo>
                    <a:pt x="5366" y="2400"/>
                    <a:pt x="5362" y="2441"/>
                    <a:pt x="5357" y="2480"/>
                  </a:cubicBezTo>
                  <a:cubicBezTo>
                    <a:pt x="5351" y="2516"/>
                    <a:pt x="5345" y="2551"/>
                    <a:pt x="5337" y="2589"/>
                  </a:cubicBezTo>
                  <a:cubicBezTo>
                    <a:pt x="5327" y="2629"/>
                    <a:pt x="5320" y="2665"/>
                    <a:pt x="5304" y="2708"/>
                  </a:cubicBezTo>
                  <a:cubicBezTo>
                    <a:pt x="5282" y="2770"/>
                    <a:pt x="5282" y="2770"/>
                    <a:pt x="5282" y="2770"/>
                  </a:cubicBezTo>
                  <a:cubicBezTo>
                    <a:pt x="5274" y="2791"/>
                    <a:pt x="5263" y="2814"/>
                    <a:pt x="5253" y="2836"/>
                  </a:cubicBezTo>
                  <a:cubicBezTo>
                    <a:pt x="5235" y="2878"/>
                    <a:pt x="5207" y="2925"/>
                    <a:pt x="5179" y="2969"/>
                  </a:cubicBezTo>
                  <a:cubicBezTo>
                    <a:pt x="5118" y="3059"/>
                    <a:pt x="5038" y="3147"/>
                    <a:pt x="4942" y="3215"/>
                  </a:cubicBezTo>
                  <a:cubicBezTo>
                    <a:pt x="4750" y="3354"/>
                    <a:pt x="4539" y="3398"/>
                    <a:pt x="4384" y="3406"/>
                  </a:cubicBezTo>
                  <a:cubicBezTo>
                    <a:pt x="4326" y="3408"/>
                    <a:pt x="4326" y="3408"/>
                    <a:pt x="4326" y="3408"/>
                  </a:cubicBezTo>
                  <a:cubicBezTo>
                    <a:pt x="4299" y="3408"/>
                    <a:pt x="4299" y="3408"/>
                    <a:pt x="4299" y="3408"/>
                  </a:cubicBezTo>
                  <a:cubicBezTo>
                    <a:pt x="4283" y="3408"/>
                    <a:pt x="4283" y="3408"/>
                    <a:pt x="4283" y="3408"/>
                  </a:cubicBezTo>
                  <a:cubicBezTo>
                    <a:pt x="4222" y="3407"/>
                    <a:pt x="4222" y="3407"/>
                    <a:pt x="4222" y="3407"/>
                  </a:cubicBezTo>
                  <a:cubicBezTo>
                    <a:pt x="4099" y="3405"/>
                    <a:pt x="4099" y="3405"/>
                    <a:pt x="4099" y="3405"/>
                  </a:cubicBezTo>
                  <a:cubicBezTo>
                    <a:pt x="3935" y="3404"/>
                    <a:pt x="3769" y="3403"/>
                    <a:pt x="3602" y="3402"/>
                  </a:cubicBezTo>
                  <a:cubicBezTo>
                    <a:pt x="3361" y="3402"/>
                    <a:pt x="3123" y="3404"/>
                    <a:pt x="2888" y="3408"/>
                  </a:cubicBezTo>
                  <a:cubicBezTo>
                    <a:pt x="2772" y="3411"/>
                    <a:pt x="2656" y="3413"/>
                    <a:pt x="2540" y="3415"/>
                  </a:cubicBezTo>
                  <a:cubicBezTo>
                    <a:pt x="2479" y="3416"/>
                    <a:pt x="2418" y="3416"/>
                    <a:pt x="2357" y="3417"/>
                  </a:cubicBezTo>
                  <a:cubicBezTo>
                    <a:pt x="2288" y="3415"/>
                    <a:pt x="2219" y="3413"/>
                    <a:pt x="2150" y="3411"/>
                  </a:cubicBezTo>
                  <a:cubicBezTo>
                    <a:pt x="1630" y="3387"/>
                    <a:pt x="1104" y="3274"/>
                    <a:pt x="640" y="3052"/>
                  </a:cubicBezTo>
                  <a:cubicBezTo>
                    <a:pt x="457" y="2991"/>
                    <a:pt x="235" y="2890"/>
                    <a:pt x="0" y="2725"/>
                  </a:cubicBezTo>
                  <a:cubicBezTo>
                    <a:pt x="0" y="2725"/>
                    <a:pt x="28" y="2748"/>
                    <a:pt x="80" y="2793"/>
                  </a:cubicBezTo>
                  <a:cubicBezTo>
                    <a:pt x="132" y="2837"/>
                    <a:pt x="211" y="2899"/>
                    <a:pt x="316" y="2972"/>
                  </a:cubicBezTo>
                  <a:cubicBezTo>
                    <a:pt x="421" y="3044"/>
                    <a:pt x="552" y="3126"/>
                    <a:pt x="710" y="3204"/>
                  </a:cubicBezTo>
                  <a:cubicBezTo>
                    <a:pt x="867" y="3282"/>
                    <a:pt x="1048" y="3357"/>
                    <a:pt x="1249" y="3418"/>
                  </a:cubicBezTo>
                  <a:cubicBezTo>
                    <a:pt x="1449" y="3479"/>
                    <a:pt x="1666" y="3525"/>
                    <a:pt x="1893" y="3554"/>
                  </a:cubicBezTo>
                  <a:cubicBezTo>
                    <a:pt x="1950" y="3563"/>
                    <a:pt x="2007" y="3568"/>
                    <a:pt x="2065" y="3574"/>
                  </a:cubicBezTo>
                  <a:cubicBezTo>
                    <a:pt x="2094" y="3576"/>
                    <a:pt x="2123" y="3579"/>
                    <a:pt x="2152" y="3582"/>
                  </a:cubicBezTo>
                  <a:cubicBezTo>
                    <a:pt x="2183" y="3583"/>
                    <a:pt x="2214" y="3585"/>
                    <a:pt x="2246" y="3587"/>
                  </a:cubicBezTo>
                  <a:cubicBezTo>
                    <a:pt x="2277" y="3589"/>
                    <a:pt x="2309" y="3590"/>
                    <a:pt x="2341" y="3592"/>
                  </a:cubicBezTo>
                  <a:cubicBezTo>
                    <a:pt x="2367" y="3592"/>
                    <a:pt x="2393" y="3593"/>
                    <a:pt x="2419" y="3594"/>
                  </a:cubicBezTo>
                  <a:cubicBezTo>
                    <a:pt x="2444" y="3594"/>
                    <a:pt x="2469" y="3594"/>
                    <a:pt x="2494" y="3595"/>
                  </a:cubicBezTo>
                  <a:cubicBezTo>
                    <a:pt x="2524" y="3595"/>
                    <a:pt x="2555" y="3595"/>
                    <a:pt x="2585" y="3595"/>
                  </a:cubicBezTo>
                  <a:cubicBezTo>
                    <a:pt x="2993" y="3595"/>
                    <a:pt x="3428" y="3595"/>
                    <a:pt x="3864" y="3595"/>
                  </a:cubicBezTo>
                  <a:cubicBezTo>
                    <a:pt x="3973" y="3595"/>
                    <a:pt x="4081" y="3595"/>
                    <a:pt x="4190" y="3595"/>
                  </a:cubicBezTo>
                  <a:cubicBezTo>
                    <a:pt x="4271" y="3595"/>
                    <a:pt x="4271" y="3595"/>
                    <a:pt x="4271" y="3595"/>
                  </a:cubicBezTo>
                  <a:cubicBezTo>
                    <a:pt x="4324" y="3595"/>
                    <a:pt x="4324" y="3595"/>
                    <a:pt x="4324" y="3595"/>
                  </a:cubicBezTo>
                  <a:cubicBezTo>
                    <a:pt x="4413" y="3591"/>
                    <a:pt x="4413" y="3591"/>
                    <a:pt x="4413" y="3591"/>
                  </a:cubicBezTo>
                  <a:cubicBezTo>
                    <a:pt x="4537" y="3581"/>
                    <a:pt x="4683" y="3555"/>
                    <a:pt x="4839" y="3485"/>
                  </a:cubicBezTo>
                  <a:cubicBezTo>
                    <a:pt x="4995" y="3417"/>
                    <a:pt x="5155" y="3296"/>
                    <a:pt x="5264" y="3155"/>
                  </a:cubicBezTo>
                  <a:cubicBezTo>
                    <a:pt x="5375" y="3016"/>
                    <a:pt x="5441" y="2868"/>
                    <a:pt x="5477" y="2746"/>
                  </a:cubicBezTo>
                  <a:cubicBezTo>
                    <a:pt x="5487" y="2713"/>
                    <a:pt x="5493" y="2686"/>
                    <a:pt x="5501" y="2655"/>
                  </a:cubicBezTo>
                  <a:cubicBezTo>
                    <a:pt x="5510" y="2611"/>
                    <a:pt x="5510" y="2611"/>
                    <a:pt x="5510" y="2611"/>
                  </a:cubicBezTo>
                  <a:cubicBezTo>
                    <a:pt x="5517" y="2571"/>
                    <a:pt x="5517" y="2571"/>
                    <a:pt x="5517" y="2571"/>
                  </a:cubicBezTo>
                  <a:cubicBezTo>
                    <a:pt x="5522" y="2543"/>
                    <a:pt x="5526" y="2518"/>
                    <a:pt x="5529" y="2488"/>
                  </a:cubicBezTo>
                  <a:cubicBezTo>
                    <a:pt x="5532" y="2459"/>
                    <a:pt x="5535" y="2429"/>
                    <a:pt x="5537" y="2399"/>
                  </a:cubicBezTo>
                  <a:cubicBezTo>
                    <a:pt x="5540" y="2362"/>
                    <a:pt x="5539" y="2357"/>
                    <a:pt x="5540" y="2342"/>
                  </a:cubicBezTo>
                  <a:cubicBezTo>
                    <a:pt x="5541" y="2281"/>
                    <a:pt x="5541" y="2281"/>
                    <a:pt x="5541" y="2281"/>
                  </a:cubicBezTo>
                  <a:cubicBezTo>
                    <a:pt x="5541" y="2255"/>
                    <a:pt x="5541" y="2229"/>
                    <a:pt x="5541" y="2204"/>
                  </a:cubicBezTo>
                  <a:cubicBezTo>
                    <a:pt x="5541" y="1796"/>
                    <a:pt x="5541" y="1415"/>
                    <a:pt x="5541" y="1088"/>
                  </a:cubicBezTo>
                  <a:cubicBezTo>
                    <a:pt x="5541" y="436"/>
                    <a:pt x="5541" y="0"/>
                    <a:pt x="5541" y="0"/>
                  </a:cubicBezTo>
                  <a:cubicBezTo>
                    <a:pt x="5517" y="204"/>
                    <a:pt x="5517" y="204"/>
                    <a:pt x="5517" y="204"/>
                  </a:cubicBezTo>
                  <a:cubicBezTo>
                    <a:pt x="5463" y="676"/>
                    <a:pt x="5420" y="1227"/>
                    <a:pt x="5392" y="18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24CB8AA4-DFF1-485B-912A-316B1F033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3" y="3416"/>
              <a:ext cx="56" cy="580"/>
            </a:xfrm>
            <a:custGeom>
              <a:avLst/>
              <a:gdLst>
                <a:gd name="T0" fmla="*/ 1373 w 1417"/>
                <a:gd name="T1" fmla="*/ 1341 h 14710"/>
                <a:gd name="T2" fmla="*/ 1098 w 1417"/>
                <a:gd name="T3" fmla="*/ 2183 h 14710"/>
                <a:gd name="T4" fmla="*/ 931 w 1417"/>
                <a:gd name="T5" fmla="*/ 1898 h 14710"/>
                <a:gd name="T6" fmla="*/ 856 w 1417"/>
                <a:gd name="T7" fmla="*/ 1552 h 14710"/>
                <a:gd name="T8" fmla="*/ 787 w 1417"/>
                <a:gd name="T9" fmla="*/ 1072 h 14710"/>
                <a:gd name="T10" fmla="*/ 779 w 1417"/>
                <a:gd name="T11" fmla="*/ 1024 h 14710"/>
                <a:gd name="T12" fmla="*/ 758 w 1417"/>
                <a:gd name="T13" fmla="*/ 898 h 14710"/>
                <a:gd name="T14" fmla="*/ 667 w 1417"/>
                <a:gd name="T15" fmla="*/ 520 h 14710"/>
                <a:gd name="T16" fmla="*/ 537 w 1417"/>
                <a:gd name="T17" fmla="*/ 158 h 14710"/>
                <a:gd name="T18" fmla="*/ 484 w 1417"/>
                <a:gd name="T19" fmla="*/ 43 h 14710"/>
                <a:gd name="T20" fmla="*/ 463 w 1417"/>
                <a:gd name="T21" fmla="*/ 0 h 14710"/>
                <a:gd name="T22" fmla="*/ 512 w 1417"/>
                <a:gd name="T23" fmla="*/ 264 h 14710"/>
                <a:gd name="T24" fmla="*/ 519 w 1417"/>
                <a:gd name="T25" fmla="*/ 314 h 14710"/>
                <a:gd name="T26" fmla="*/ 535 w 1417"/>
                <a:gd name="T27" fmla="*/ 456 h 14710"/>
                <a:gd name="T28" fmla="*/ 541 w 1417"/>
                <a:gd name="T29" fmla="*/ 959 h 14710"/>
                <a:gd name="T30" fmla="*/ 512 w 1417"/>
                <a:gd name="T31" fmla="*/ 1292 h 14710"/>
                <a:gd name="T32" fmla="*/ 468 w 1417"/>
                <a:gd name="T33" fmla="*/ 1668 h 14710"/>
                <a:gd name="T34" fmla="*/ 374 w 1417"/>
                <a:gd name="T35" fmla="*/ 2485 h 14710"/>
                <a:gd name="T36" fmla="*/ 116 w 1417"/>
                <a:gd name="T37" fmla="*/ 4710 h 14710"/>
                <a:gd name="T38" fmla="*/ 0 w 1417"/>
                <a:gd name="T39" fmla="*/ 6517 h 14710"/>
                <a:gd name="T40" fmla="*/ 282 w 1417"/>
                <a:gd name="T41" fmla="*/ 5622 h 14710"/>
                <a:gd name="T42" fmla="*/ 591 w 1417"/>
                <a:gd name="T43" fmla="*/ 6727 h 14710"/>
                <a:gd name="T44" fmla="*/ 1105 w 1417"/>
                <a:gd name="T45" fmla="*/ 11178 h 14710"/>
                <a:gd name="T46" fmla="*/ 1233 w 1417"/>
                <a:gd name="T47" fmla="*/ 13847 h 14710"/>
                <a:gd name="T48" fmla="*/ 1222 w 1417"/>
                <a:gd name="T49" fmla="*/ 14710 h 14710"/>
                <a:gd name="T50" fmla="*/ 1248 w 1417"/>
                <a:gd name="T51" fmla="*/ 14499 h 14710"/>
                <a:gd name="T52" fmla="*/ 1414 w 1417"/>
                <a:gd name="T53" fmla="*/ 13071 h 14710"/>
                <a:gd name="T54" fmla="*/ 1178 w 1417"/>
                <a:gd name="T55" fmla="*/ 11038 h 14710"/>
                <a:gd name="T56" fmla="*/ 1009 w 1417"/>
                <a:gd name="T57" fmla="*/ 7497 h 14710"/>
                <a:gd name="T58" fmla="*/ 1178 w 1417"/>
                <a:gd name="T59" fmla="*/ 3956 h 14710"/>
                <a:gd name="T60" fmla="*/ 1417 w 1417"/>
                <a:gd name="T61" fmla="*/ 1894 h 14710"/>
                <a:gd name="T62" fmla="*/ 1417 w 1417"/>
                <a:gd name="T63" fmla="*/ 1717 h 14710"/>
                <a:gd name="T64" fmla="*/ 1373 w 1417"/>
                <a:gd name="T65" fmla="*/ 1341 h 14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7" h="14710">
                  <a:moveTo>
                    <a:pt x="1373" y="1341"/>
                  </a:moveTo>
                  <a:cubicBezTo>
                    <a:pt x="1296" y="1886"/>
                    <a:pt x="1200" y="2183"/>
                    <a:pt x="1098" y="2183"/>
                  </a:cubicBezTo>
                  <a:cubicBezTo>
                    <a:pt x="1040" y="2183"/>
                    <a:pt x="984" y="2085"/>
                    <a:pt x="931" y="1898"/>
                  </a:cubicBezTo>
                  <a:cubicBezTo>
                    <a:pt x="905" y="1804"/>
                    <a:pt x="880" y="1689"/>
                    <a:pt x="856" y="1552"/>
                  </a:cubicBezTo>
                  <a:cubicBezTo>
                    <a:pt x="832" y="1413"/>
                    <a:pt x="812" y="1260"/>
                    <a:pt x="787" y="1072"/>
                  </a:cubicBezTo>
                  <a:cubicBezTo>
                    <a:pt x="787" y="1072"/>
                    <a:pt x="784" y="1055"/>
                    <a:pt x="779" y="1024"/>
                  </a:cubicBezTo>
                  <a:cubicBezTo>
                    <a:pt x="774" y="993"/>
                    <a:pt x="767" y="950"/>
                    <a:pt x="758" y="898"/>
                  </a:cubicBezTo>
                  <a:cubicBezTo>
                    <a:pt x="737" y="793"/>
                    <a:pt x="708" y="655"/>
                    <a:pt x="667" y="520"/>
                  </a:cubicBezTo>
                  <a:cubicBezTo>
                    <a:pt x="629" y="385"/>
                    <a:pt x="577" y="254"/>
                    <a:pt x="537" y="158"/>
                  </a:cubicBezTo>
                  <a:cubicBezTo>
                    <a:pt x="515" y="110"/>
                    <a:pt x="497" y="71"/>
                    <a:pt x="484" y="43"/>
                  </a:cubicBezTo>
                  <a:cubicBezTo>
                    <a:pt x="472" y="15"/>
                    <a:pt x="463" y="0"/>
                    <a:pt x="463" y="0"/>
                  </a:cubicBezTo>
                  <a:cubicBezTo>
                    <a:pt x="481" y="83"/>
                    <a:pt x="498" y="170"/>
                    <a:pt x="512" y="264"/>
                  </a:cubicBezTo>
                  <a:cubicBezTo>
                    <a:pt x="512" y="264"/>
                    <a:pt x="514" y="281"/>
                    <a:pt x="519" y="314"/>
                  </a:cubicBezTo>
                  <a:cubicBezTo>
                    <a:pt x="523" y="347"/>
                    <a:pt x="528" y="394"/>
                    <a:pt x="535" y="456"/>
                  </a:cubicBezTo>
                  <a:cubicBezTo>
                    <a:pt x="544" y="578"/>
                    <a:pt x="553" y="752"/>
                    <a:pt x="541" y="959"/>
                  </a:cubicBezTo>
                  <a:cubicBezTo>
                    <a:pt x="536" y="1063"/>
                    <a:pt x="525" y="1172"/>
                    <a:pt x="512" y="1292"/>
                  </a:cubicBezTo>
                  <a:cubicBezTo>
                    <a:pt x="498" y="1411"/>
                    <a:pt x="483" y="1537"/>
                    <a:pt x="468" y="1668"/>
                  </a:cubicBezTo>
                  <a:cubicBezTo>
                    <a:pt x="438" y="1928"/>
                    <a:pt x="406" y="2207"/>
                    <a:pt x="374" y="2485"/>
                  </a:cubicBezTo>
                  <a:cubicBezTo>
                    <a:pt x="245" y="3598"/>
                    <a:pt x="116" y="4710"/>
                    <a:pt x="116" y="4710"/>
                  </a:cubicBezTo>
                  <a:cubicBezTo>
                    <a:pt x="58" y="5215"/>
                    <a:pt x="18" y="5838"/>
                    <a:pt x="0" y="6517"/>
                  </a:cubicBezTo>
                  <a:cubicBezTo>
                    <a:pt x="79" y="5938"/>
                    <a:pt x="177" y="5622"/>
                    <a:pt x="282" y="5622"/>
                  </a:cubicBezTo>
                  <a:cubicBezTo>
                    <a:pt x="399" y="5622"/>
                    <a:pt x="508" y="6014"/>
                    <a:pt x="591" y="6727"/>
                  </a:cubicBezTo>
                  <a:cubicBezTo>
                    <a:pt x="1105" y="11178"/>
                    <a:pt x="1105" y="11178"/>
                    <a:pt x="1105" y="11178"/>
                  </a:cubicBezTo>
                  <a:cubicBezTo>
                    <a:pt x="1188" y="11891"/>
                    <a:pt x="1233" y="12839"/>
                    <a:pt x="1233" y="13847"/>
                  </a:cubicBezTo>
                  <a:cubicBezTo>
                    <a:pt x="1233" y="14142"/>
                    <a:pt x="1229" y="14430"/>
                    <a:pt x="1222" y="14710"/>
                  </a:cubicBezTo>
                  <a:cubicBezTo>
                    <a:pt x="1231" y="14640"/>
                    <a:pt x="1239" y="14570"/>
                    <a:pt x="1248" y="14499"/>
                  </a:cubicBezTo>
                  <a:cubicBezTo>
                    <a:pt x="1414" y="13071"/>
                    <a:pt x="1414" y="13071"/>
                    <a:pt x="1414" y="13071"/>
                  </a:cubicBezTo>
                  <a:cubicBezTo>
                    <a:pt x="1178" y="11038"/>
                    <a:pt x="1178" y="11038"/>
                    <a:pt x="1178" y="11038"/>
                  </a:cubicBezTo>
                  <a:cubicBezTo>
                    <a:pt x="1069" y="10092"/>
                    <a:pt x="1009" y="8835"/>
                    <a:pt x="1009" y="7497"/>
                  </a:cubicBezTo>
                  <a:cubicBezTo>
                    <a:pt x="1009" y="6160"/>
                    <a:pt x="1069" y="4902"/>
                    <a:pt x="1178" y="3956"/>
                  </a:cubicBezTo>
                  <a:cubicBezTo>
                    <a:pt x="1417" y="1894"/>
                    <a:pt x="1417" y="1894"/>
                    <a:pt x="1417" y="1894"/>
                  </a:cubicBezTo>
                  <a:cubicBezTo>
                    <a:pt x="1417" y="1717"/>
                    <a:pt x="1417" y="1717"/>
                    <a:pt x="1417" y="1717"/>
                  </a:cubicBezTo>
                  <a:lnTo>
                    <a:pt x="1373" y="13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018706DE-B539-4ABA-8704-B4A5E96729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0" cy="0"/>
            </a:xfrm>
            <a:custGeom>
              <a:avLst/>
              <a:gdLst>
                <a:gd name="T0" fmla="*/ 0 w 10"/>
                <a:gd name="T1" fmla="*/ 0 h 10"/>
                <a:gd name="T2" fmla="*/ 1 w 10"/>
                <a:gd name="T3" fmla="*/ 1 h 10"/>
                <a:gd name="T4" fmla="*/ 10 w 10"/>
                <a:gd name="T5" fmla="*/ 10 h 10"/>
                <a:gd name="T6" fmla="*/ 0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8"/>
                    <a:pt x="5" y="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55089777-879C-4888-919C-BB165A2342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8" y="3772"/>
              <a:ext cx="490" cy="289"/>
            </a:xfrm>
            <a:custGeom>
              <a:avLst/>
              <a:gdLst>
                <a:gd name="T0" fmla="*/ 12212 w 12416"/>
                <a:gd name="T1" fmla="*/ 118 h 7342"/>
                <a:gd name="T2" fmla="*/ 12416 w 12416"/>
                <a:gd name="T3" fmla="*/ 0 h 7342"/>
                <a:gd name="T4" fmla="*/ 11124 w 12416"/>
                <a:gd name="T5" fmla="*/ 679 h 7342"/>
                <a:gd name="T6" fmla="*/ 10710 w 12416"/>
                <a:gd name="T7" fmla="*/ 950 h 7342"/>
                <a:gd name="T8" fmla="*/ 9609 w 12416"/>
                <a:gd name="T9" fmla="*/ 1728 h 7342"/>
                <a:gd name="T10" fmla="*/ 9285 w 12416"/>
                <a:gd name="T11" fmla="*/ 1964 h 7342"/>
                <a:gd name="T12" fmla="*/ 7809 w 12416"/>
                <a:gd name="T13" fmla="*/ 3058 h 7342"/>
                <a:gd name="T14" fmla="*/ 4959 w 12416"/>
                <a:gd name="T15" fmla="*/ 4841 h 7342"/>
                <a:gd name="T16" fmla="*/ 4753 w 12416"/>
                <a:gd name="T17" fmla="*/ 4700 h 7342"/>
                <a:gd name="T18" fmla="*/ 4022 w 12416"/>
                <a:gd name="T19" fmla="*/ 5357 h 7342"/>
                <a:gd name="T20" fmla="*/ 3385 w 12416"/>
                <a:gd name="T21" fmla="*/ 5828 h 7342"/>
                <a:gd name="T22" fmla="*/ 3086 w 12416"/>
                <a:gd name="T23" fmla="*/ 6005 h 7342"/>
                <a:gd name="T24" fmla="*/ 1610 w 12416"/>
                <a:gd name="T25" fmla="*/ 6379 h 7342"/>
                <a:gd name="T26" fmla="*/ 430 w 12416"/>
                <a:gd name="T27" fmla="*/ 6191 h 7342"/>
                <a:gd name="T28" fmla="*/ 0 w 12416"/>
                <a:gd name="T29" fmla="*/ 6032 h 7342"/>
                <a:gd name="T30" fmla="*/ 288 w 12416"/>
                <a:gd name="T31" fmla="*/ 6228 h 7342"/>
                <a:gd name="T32" fmla="*/ 805 w 12416"/>
                <a:gd name="T33" fmla="*/ 6515 h 7342"/>
                <a:gd name="T34" fmla="*/ 1816 w 12416"/>
                <a:gd name="T35" fmla="*/ 6857 h 7342"/>
                <a:gd name="T36" fmla="*/ 2046 w 12416"/>
                <a:gd name="T37" fmla="*/ 6940 h 7342"/>
                <a:gd name="T38" fmla="*/ 1886 w 12416"/>
                <a:gd name="T39" fmla="*/ 7173 h 7342"/>
                <a:gd name="T40" fmla="*/ 1821 w 12416"/>
                <a:gd name="T41" fmla="*/ 7188 h 7342"/>
                <a:gd name="T42" fmla="*/ 1567 w 12416"/>
                <a:gd name="T43" fmla="*/ 7223 h 7342"/>
                <a:gd name="T44" fmla="*/ 1348 w 12416"/>
                <a:gd name="T45" fmla="*/ 7281 h 7342"/>
                <a:gd name="T46" fmla="*/ 1683 w 12416"/>
                <a:gd name="T47" fmla="*/ 7337 h 7342"/>
                <a:gd name="T48" fmla="*/ 1796 w 12416"/>
                <a:gd name="T49" fmla="*/ 7342 h 7342"/>
                <a:gd name="T50" fmla="*/ 1862 w 12416"/>
                <a:gd name="T51" fmla="*/ 7339 h 7342"/>
                <a:gd name="T52" fmla="*/ 1946 w 12416"/>
                <a:gd name="T53" fmla="*/ 7330 h 7342"/>
                <a:gd name="T54" fmla="*/ 1951 w 12416"/>
                <a:gd name="T55" fmla="*/ 7330 h 7342"/>
                <a:gd name="T56" fmla="*/ 1961 w 12416"/>
                <a:gd name="T57" fmla="*/ 7330 h 7342"/>
                <a:gd name="T58" fmla="*/ 1971 w 12416"/>
                <a:gd name="T59" fmla="*/ 7328 h 7342"/>
                <a:gd name="T60" fmla="*/ 2022 w 12416"/>
                <a:gd name="T61" fmla="*/ 7323 h 7342"/>
                <a:gd name="T62" fmla="*/ 3014 w 12416"/>
                <a:gd name="T63" fmla="*/ 7095 h 7342"/>
                <a:gd name="T64" fmla="*/ 3613 w 12416"/>
                <a:gd name="T65" fmla="*/ 6822 h 7342"/>
                <a:gd name="T66" fmla="*/ 3766 w 12416"/>
                <a:gd name="T67" fmla="*/ 6733 h 7342"/>
                <a:gd name="T68" fmla="*/ 4728 w 12416"/>
                <a:gd name="T69" fmla="*/ 6049 h 7342"/>
                <a:gd name="T70" fmla="*/ 4986 w 12416"/>
                <a:gd name="T71" fmla="*/ 5837 h 7342"/>
                <a:gd name="T72" fmla="*/ 5410 w 12416"/>
                <a:gd name="T73" fmla="*/ 5468 h 7342"/>
                <a:gd name="T74" fmla="*/ 6476 w 12416"/>
                <a:gd name="T75" fmla="*/ 4491 h 7342"/>
                <a:gd name="T76" fmla="*/ 7578 w 12416"/>
                <a:gd name="T77" fmla="*/ 3499 h 7342"/>
                <a:gd name="T78" fmla="*/ 7844 w 12416"/>
                <a:gd name="T79" fmla="*/ 3271 h 7342"/>
                <a:gd name="T80" fmla="*/ 8293 w 12416"/>
                <a:gd name="T81" fmla="*/ 2897 h 7342"/>
                <a:gd name="T82" fmla="*/ 9273 w 12416"/>
                <a:gd name="T83" fmla="*/ 2089 h 7342"/>
                <a:gd name="T84" fmla="*/ 10373 w 12416"/>
                <a:gd name="T85" fmla="*/ 1325 h 7342"/>
                <a:gd name="T86" fmla="*/ 11202 w 12416"/>
                <a:gd name="T87" fmla="*/ 854 h 7342"/>
                <a:gd name="T88" fmla="*/ 11912 w 12416"/>
                <a:gd name="T89" fmla="*/ 310 h 7342"/>
                <a:gd name="T90" fmla="*/ 12086 w 12416"/>
                <a:gd name="T91" fmla="*/ 196 h 7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6" h="7342">
                  <a:moveTo>
                    <a:pt x="12086" y="196"/>
                  </a:moveTo>
                  <a:cubicBezTo>
                    <a:pt x="12138" y="164"/>
                    <a:pt x="12181" y="137"/>
                    <a:pt x="12212" y="118"/>
                  </a:cubicBezTo>
                  <a:cubicBezTo>
                    <a:pt x="12241" y="101"/>
                    <a:pt x="12257" y="91"/>
                    <a:pt x="12257" y="91"/>
                  </a:cubicBezTo>
                  <a:cubicBezTo>
                    <a:pt x="12312" y="58"/>
                    <a:pt x="12365" y="28"/>
                    <a:pt x="12416" y="0"/>
                  </a:cubicBezTo>
                  <a:cubicBezTo>
                    <a:pt x="12198" y="87"/>
                    <a:pt x="11957" y="208"/>
                    <a:pt x="11718" y="335"/>
                  </a:cubicBezTo>
                  <a:cubicBezTo>
                    <a:pt x="11513" y="445"/>
                    <a:pt x="11315" y="561"/>
                    <a:pt x="11124" y="679"/>
                  </a:cubicBezTo>
                  <a:cubicBezTo>
                    <a:pt x="11029" y="739"/>
                    <a:pt x="10936" y="799"/>
                    <a:pt x="10845" y="859"/>
                  </a:cubicBezTo>
                  <a:cubicBezTo>
                    <a:pt x="10800" y="890"/>
                    <a:pt x="10755" y="920"/>
                    <a:pt x="10710" y="950"/>
                  </a:cubicBezTo>
                  <a:cubicBezTo>
                    <a:pt x="10574" y="1044"/>
                    <a:pt x="10574" y="1044"/>
                    <a:pt x="10574" y="1044"/>
                  </a:cubicBezTo>
                  <a:cubicBezTo>
                    <a:pt x="10219" y="1291"/>
                    <a:pt x="9892" y="1527"/>
                    <a:pt x="9609" y="1728"/>
                  </a:cubicBezTo>
                  <a:cubicBezTo>
                    <a:pt x="9609" y="1728"/>
                    <a:pt x="9554" y="1767"/>
                    <a:pt x="9457" y="1837"/>
                  </a:cubicBezTo>
                  <a:cubicBezTo>
                    <a:pt x="9409" y="1872"/>
                    <a:pt x="9351" y="1915"/>
                    <a:pt x="9285" y="1964"/>
                  </a:cubicBezTo>
                  <a:cubicBezTo>
                    <a:pt x="9218" y="2015"/>
                    <a:pt x="9142" y="2073"/>
                    <a:pt x="9060" y="2135"/>
                  </a:cubicBezTo>
                  <a:cubicBezTo>
                    <a:pt x="8723" y="2394"/>
                    <a:pt x="8271" y="2733"/>
                    <a:pt x="7809" y="3058"/>
                  </a:cubicBezTo>
                  <a:cubicBezTo>
                    <a:pt x="6900" y="3710"/>
                    <a:pt x="5991" y="4363"/>
                    <a:pt x="5991" y="4363"/>
                  </a:cubicBezTo>
                  <a:cubicBezTo>
                    <a:pt x="5406" y="4779"/>
                    <a:pt x="5030" y="4931"/>
                    <a:pt x="4959" y="4841"/>
                  </a:cubicBezTo>
                  <a:cubicBezTo>
                    <a:pt x="4893" y="4759"/>
                    <a:pt x="5074" y="4492"/>
                    <a:pt x="5443" y="4061"/>
                  </a:cubicBezTo>
                  <a:cubicBezTo>
                    <a:pt x="5202" y="4287"/>
                    <a:pt x="4970" y="4501"/>
                    <a:pt x="4753" y="4700"/>
                  </a:cubicBezTo>
                  <a:cubicBezTo>
                    <a:pt x="4534" y="4900"/>
                    <a:pt x="4337" y="5083"/>
                    <a:pt x="4159" y="5239"/>
                  </a:cubicBezTo>
                  <a:cubicBezTo>
                    <a:pt x="4159" y="5239"/>
                    <a:pt x="4110" y="5283"/>
                    <a:pt x="4022" y="5357"/>
                  </a:cubicBezTo>
                  <a:cubicBezTo>
                    <a:pt x="3935" y="5431"/>
                    <a:pt x="3807" y="5534"/>
                    <a:pt x="3648" y="5649"/>
                  </a:cubicBezTo>
                  <a:cubicBezTo>
                    <a:pt x="3568" y="5707"/>
                    <a:pt x="3480" y="5767"/>
                    <a:pt x="3385" y="5828"/>
                  </a:cubicBezTo>
                  <a:cubicBezTo>
                    <a:pt x="3339" y="5858"/>
                    <a:pt x="3286" y="5890"/>
                    <a:pt x="3240" y="5919"/>
                  </a:cubicBezTo>
                  <a:cubicBezTo>
                    <a:pt x="3181" y="5952"/>
                    <a:pt x="3139" y="5977"/>
                    <a:pt x="3086" y="6005"/>
                  </a:cubicBezTo>
                  <a:cubicBezTo>
                    <a:pt x="2875" y="6117"/>
                    <a:pt x="2635" y="6213"/>
                    <a:pt x="2381" y="6276"/>
                  </a:cubicBezTo>
                  <a:cubicBezTo>
                    <a:pt x="2129" y="6340"/>
                    <a:pt x="1861" y="6374"/>
                    <a:pt x="1610" y="6379"/>
                  </a:cubicBezTo>
                  <a:cubicBezTo>
                    <a:pt x="1357" y="6385"/>
                    <a:pt x="1119" y="6359"/>
                    <a:pt x="916" y="6320"/>
                  </a:cubicBezTo>
                  <a:cubicBezTo>
                    <a:pt x="713" y="6282"/>
                    <a:pt x="547" y="6230"/>
                    <a:pt x="430" y="6191"/>
                  </a:cubicBezTo>
                  <a:cubicBezTo>
                    <a:pt x="314" y="6152"/>
                    <a:pt x="248" y="6127"/>
                    <a:pt x="248" y="6127"/>
                  </a:cubicBezTo>
                  <a:cubicBezTo>
                    <a:pt x="164" y="6095"/>
                    <a:pt x="82" y="6063"/>
                    <a:pt x="0" y="6032"/>
                  </a:cubicBezTo>
                  <a:cubicBezTo>
                    <a:pt x="0" y="6032"/>
                    <a:pt x="56" y="6072"/>
                    <a:pt x="140" y="6131"/>
                  </a:cubicBezTo>
                  <a:cubicBezTo>
                    <a:pt x="183" y="6160"/>
                    <a:pt x="233" y="6193"/>
                    <a:pt x="288" y="6228"/>
                  </a:cubicBezTo>
                  <a:cubicBezTo>
                    <a:pt x="343" y="6263"/>
                    <a:pt x="403" y="6300"/>
                    <a:pt x="460" y="6335"/>
                  </a:cubicBezTo>
                  <a:cubicBezTo>
                    <a:pt x="582" y="6407"/>
                    <a:pt x="707" y="6471"/>
                    <a:pt x="805" y="6515"/>
                  </a:cubicBezTo>
                  <a:cubicBezTo>
                    <a:pt x="902" y="6559"/>
                    <a:pt x="969" y="6585"/>
                    <a:pt x="969" y="6585"/>
                  </a:cubicBezTo>
                  <a:cubicBezTo>
                    <a:pt x="1321" y="6725"/>
                    <a:pt x="1610" y="6797"/>
                    <a:pt x="1816" y="6857"/>
                  </a:cubicBezTo>
                  <a:cubicBezTo>
                    <a:pt x="1871" y="6873"/>
                    <a:pt x="1908" y="6886"/>
                    <a:pt x="1944" y="6900"/>
                  </a:cubicBezTo>
                  <a:cubicBezTo>
                    <a:pt x="1990" y="6914"/>
                    <a:pt x="2018" y="6927"/>
                    <a:pt x="2046" y="6940"/>
                  </a:cubicBezTo>
                  <a:cubicBezTo>
                    <a:pt x="2100" y="6967"/>
                    <a:pt x="2129" y="6994"/>
                    <a:pt x="2130" y="7024"/>
                  </a:cubicBezTo>
                  <a:cubicBezTo>
                    <a:pt x="2134" y="7074"/>
                    <a:pt x="2047" y="7129"/>
                    <a:pt x="1886" y="7173"/>
                  </a:cubicBezTo>
                  <a:cubicBezTo>
                    <a:pt x="1858" y="7181"/>
                    <a:pt x="1858" y="7181"/>
                    <a:pt x="1858" y="7181"/>
                  </a:cubicBezTo>
                  <a:cubicBezTo>
                    <a:pt x="1821" y="7188"/>
                    <a:pt x="1821" y="7188"/>
                    <a:pt x="1821" y="7188"/>
                  </a:cubicBezTo>
                  <a:cubicBezTo>
                    <a:pt x="1741" y="7202"/>
                    <a:pt x="1741" y="7202"/>
                    <a:pt x="1741" y="7202"/>
                  </a:cubicBezTo>
                  <a:cubicBezTo>
                    <a:pt x="1688" y="7210"/>
                    <a:pt x="1630" y="7218"/>
                    <a:pt x="1567" y="7223"/>
                  </a:cubicBezTo>
                  <a:cubicBezTo>
                    <a:pt x="1440" y="7233"/>
                    <a:pt x="1292" y="7234"/>
                    <a:pt x="1125" y="7221"/>
                  </a:cubicBezTo>
                  <a:cubicBezTo>
                    <a:pt x="1125" y="7221"/>
                    <a:pt x="1235" y="7255"/>
                    <a:pt x="1348" y="7281"/>
                  </a:cubicBezTo>
                  <a:cubicBezTo>
                    <a:pt x="1461" y="7309"/>
                    <a:pt x="1575" y="7329"/>
                    <a:pt x="1575" y="7329"/>
                  </a:cubicBezTo>
                  <a:cubicBezTo>
                    <a:pt x="1575" y="7329"/>
                    <a:pt x="1629" y="7334"/>
                    <a:pt x="1683" y="7337"/>
                  </a:cubicBezTo>
                  <a:cubicBezTo>
                    <a:pt x="1711" y="7338"/>
                    <a:pt x="1738" y="7340"/>
                    <a:pt x="1759" y="7341"/>
                  </a:cubicBezTo>
                  <a:cubicBezTo>
                    <a:pt x="1781" y="7342"/>
                    <a:pt x="1796" y="7342"/>
                    <a:pt x="1796" y="7342"/>
                  </a:cubicBezTo>
                  <a:cubicBezTo>
                    <a:pt x="1796" y="7342"/>
                    <a:pt x="1807" y="7342"/>
                    <a:pt x="1827" y="7341"/>
                  </a:cubicBezTo>
                  <a:cubicBezTo>
                    <a:pt x="1836" y="7340"/>
                    <a:pt x="1851" y="7340"/>
                    <a:pt x="1862" y="7339"/>
                  </a:cubicBezTo>
                  <a:cubicBezTo>
                    <a:pt x="1873" y="7338"/>
                    <a:pt x="1886" y="7336"/>
                    <a:pt x="1900" y="7335"/>
                  </a:cubicBezTo>
                  <a:cubicBezTo>
                    <a:pt x="1914" y="7333"/>
                    <a:pt x="1929" y="7332"/>
                    <a:pt x="1946" y="7330"/>
                  </a:cubicBezTo>
                  <a:cubicBezTo>
                    <a:pt x="1950" y="7330"/>
                    <a:pt x="1950" y="7330"/>
                    <a:pt x="1950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61" y="7330"/>
                    <a:pt x="1961" y="7330"/>
                    <a:pt x="1961" y="7330"/>
                  </a:cubicBezTo>
                  <a:cubicBezTo>
                    <a:pt x="1963" y="7329"/>
                    <a:pt x="1963" y="7329"/>
                    <a:pt x="1963" y="7329"/>
                  </a:cubicBezTo>
                  <a:cubicBezTo>
                    <a:pt x="1971" y="7328"/>
                    <a:pt x="1971" y="7328"/>
                    <a:pt x="1971" y="7328"/>
                  </a:cubicBezTo>
                  <a:cubicBezTo>
                    <a:pt x="1977" y="7328"/>
                    <a:pt x="1982" y="7327"/>
                    <a:pt x="1988" y="7327"/>
                  </a:cubicBezTo>
                  <a:cubicBezTo>
                    <a:pt x="1999" y="7326"/>
                    <a:pt x="2010" y="7324"/>
                    <a:pt x="2022" y="7323"/>
                  </a:cubicBezTo>
                  <a:cubicBezTo>
                    <a:pt x="2070" y="7318"/>
                    <a:pt x="2123" y="7311"/>
                    <a:pt x="2181" y="7303"/>
                  </a:cubicBezTo>
                  <a:cubicBezTo>
                    <a:pt x="2414" y="7270"/>
                    <a:pt x="2722" y="7202"/>
                    <a:pt x="3014" y="7095"/>
                  </a:cubicBezTo>
                  <a:cubicBezTo>
                    <a:pt x="3160" y="7042"/>
                    <a:pt x="3302" y="6981"/>
                    <a:pt x="3431" y="6917"/>
                  </a:cubicBezTo>
                  <a:cubicBezTo>
                    <a:pt x="3493" y="6886"/>
                    <a:pt x="3572" y="6847"/>
                    <a:pt x="3613" y="6822"/>
                  </a:cubicBezTo>
                  <a:cubicBezTo>
                    <a:pt x="3641" y="6806"/>
                    <a:pt x="3668" y="6790"/>
                    <a:pt x="3694" y="6775"/>
                  </a:cubicBezTo>
                  <a:cubicBezTo>
                    <a:pt x="3719" y="6761"/>
                    <a:pt x="3743" y="6746"/>
                    <a:pt x="3766" y="6733"/>
                  </a:cubicBezTo>
                  <a:cubicBezTo>
                    <a:pt x="3949" y="6621"/>
                    <a:pt x="4064" y="6540"/>
                    <a:pt x="4064" y="6540"/>
                  </a:cubicBezTo>
                  <a:cubicBezTo>
                    <a:pt x="4278" y="6394"/>
                    <a:pt x="4501" y="6230"/>
                    <a:pt x="4728" y="6049"/>
                  </a:cubicBezTo>
                  <a:cubicBezTo>
                    <a:pt x="4898" y="5910"/>
                    <a:pt x="4898" y="5910"/>
                    <a:pt x="4898" y="5910"/>
                  </a:cubicBezTo>
                  <a:cubicBezTo>
                    <a:pt x="4986" y="5837"/>
                    <a:pt x="4986" y="5837"/>
                    <a:pt x="4986" y="5837"/>
                  </a:cubicBezTo>
                  <a:cubicBezTo>
                    <a:pt x="5069" y="5765"/>
                    <a:pt x="5069" y="5765"/>
                    <a:pt x="5069" y="5765"/>
                  </a:cubicBezTo>
                  <a:cubicBezTo>
                    <a:pt x="5182" y="5666"/>
                    <a:pt x="5296" y="5567"/>
                    <a:pt x="5410" y="5468"/>
                  </a:cubicBezTo>
                  <a:cubicBezTo>
                    <a:pt x="5640" y="5264"/>
                    <a:pt x="5876" y="5050"/>
                    <a:pt x="6116" y="4827"/>
                  </a:cubicBezTo>
                  <a:cubicBezTo>
                    <a:pt x="6236" y="4716"/>
                    <a:pt x="6355" y="4604"/>
                    <a:pt x="6476" y="4491"/>
                  </a:cubicBezTo>
                  <a:cubicBezTo>
                    <a:pt x="6597" y="4379"/>
                    <a:pt x="6719" y="4267"/>
                    <a:pt x="6842" y="4154"/>
                  </a:cubicBezTo>
                  <a:cubicBezTo>
                    <a:pt x="7089" y="3929"/>
                    <a:pt x="7335" y="3710"/>
                    <a:pt x="7578" y="3499"/>
                  </a:cubicBezTo>
                  <a:cubicBezTo>
                    <a:pt x="7638" y="3447"/>
                    <a:pt x="7698" y="3395"/>
                    <a:pt x="7758" y="3343"/>
                  </a:cubicBezTo>
                  <a:cubicBezTo>
                    <a:pt x="7844" y="3271"/>
                    <a:pt x="7844" y="3271"/>
                    <a:pt x="7844" y="3271"/>
                  </a:cubicBezTo>
                  <a:cubicBezTo>
                    <a:pt x="7935" y="3195"/>
                    <a:pt x="7935" y="3195"/>
                    <a:pt x="7935" y="3195"/>
                  </a:cubicBezTo>
                  <a:cubicBezTo>
                    <a:pt x="8055" y="3095"/>
                    <a:pt x="8174" y="2996"/>
                    <a:pt x="8293" y="2897"/>
                  </a:cubicBezTo>
                  <a:cubicBezTo>
                    <a:pt x="8518" y="2710"/>
                    <a:pt x="8741" y="2525"/>
                    <a:pt x="8964" y="2340"/>
                  </a:cubicBezTo>
                  <a:cubicBezTo>
                    <a:pt x="9070" y="2253"/>
                    <a:pt x="9175" y="2166"/>
                    <a:pt x="9273" y="2089"/>
                  </a:cubicBezTo>
                  <a:cubicBezTo>
                    <a:pt x="9370" y="2012"/>
                    <a:pt x="9465" y="1940"/>
                    <a:pt x="9558" y="1873"/>
                  </a:cubicBezTo>
                  <a:cubicBezTo>
                    <a:pt x="9558" y="1873"/>
                    <a:pt x="9957" y="1583"/>
                    <a:pt x="10373" y="1325"/>
                  </a:cubicBezTo>
                  <a:cubicBezTo>
                    <a:pt x="10581" y="1195"/>
                    <a:pt x="10792" y="1070"/>
                    <a:pt x="10944" y="988"/>
                  </a:cubicBezTo>
                  <a:cubicBezTo>
                    <a:pt x="11098" y="905"/>
                    <a:pt x="11202" y="854"/>
                    <a:pt x="11202" y="854"/>
                  </a:cubicBezTo>
                  <a:cubicBezTo>
                    <a:pt x="11202" y="854"/>
                    <a:pt x="11448" y="639"/>
                    <a:pt x="11714" y="448"/>
                  </a:cubicBezTo>
                  <a:cubicBezTo>
                    <a:pt x="11781" y="400"/>
                    <a:pt x="11848" y="353"/>
                    <a:pt x="11912" y="310"/>
                  </a:cubicBezTo>
                  <a:cubicBezTo>
                    <a:pt x="11943" y="289"/>
                    <a:pt x="11974" y="269"/>
                    <a:pt x="12003" y="249"/>
                  </a:cubicBezTo>
                  <a:cubicBezTo>
                    <a:pt x="12032" y="231"/>
                    <a:pt x="12055" y="214"/>
                    <a:pt x="12086" y="196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039A4185-ED01-40BA-89B3-D2FD777EE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1" cy="1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1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3"/>
                    <a:pt x="2" y="2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B9840D4B-D3BD-4E7C-B651-C5DAF7C728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8" y="3764"/>
              <a:ext cx="143" cy="106"/>
            </a:xfrm>
            <a:custGeom>
              <a:avLst/>
              <a:gdLst>
                <a:gd name="T0" fmla="*/ 3480 w 3602"/>
                <a:gd name="T1" fmla="*/ 1137 h 2675"/>
                <a:gd name="T2" fmla="*/ 3143 w 3602"/>
                <a:gd name="T3" fmla="*/ 585 h 2675"/>
                <a:gd name="T4" fmla="*/ 3115 w 3602"/>
                <a:gd name="T5" fmla="*/ 553 h 2675"/>
                <a:gd name="T6" fmla="*/ 3110 w 3602"/>
                <a:gd name="T7" fmla="*/ 548 h 2675"/>
                <a:gd name="T8" fmla="*/ 3110 w 3602"/>
                <a:gd name="T9" fmla="*/ 548 h 2675"/>
                <a:gd name="T10" fmla="*/ 3041 w 3602"/>
                <a:gd name="T11" fmla="*/ 479 h 2675"/>
                <a:gd name="T12" fmla="*/ 3015 w 3602"/>
                <a:gd name="T13" fmla="*/ 455 h 2675"/>
                <a:gd name="T14" fmla="*/ 2947 w 3602"/>
                <a:gd name="T15" fmla="*/ 396 h 2675"/>
                <a:gd name="T16" fmla="*/ 2163 w 3602"/>
                <a:gd name="T17" fmla="*/ 35 h 2675"/>
                <a:gd name="T18" fmla="*/ 1698 w 3602"/>
                <a:gd name="T19" fmla="*/ 3 h 2675"/>
                <a:gd name="T20" fmla="*/ 1663 w 3602"/>
                <a:gd name="T21" fmla="*/ 4 h 2675"/>
                <a:gd name="T22" fmla="*/ 1657 w 3602"/>
                <a:gd name="T23" fmla="*/ 4 h 2675"/>
                <a:gd name="T24" fmla="*/ 1663 w 3602"/>
                <a:gd name="T25" fmla="*/ 4 h 2675"/>
                <a:gd name="T26" fmla="*/ 1602 w 3602"/>
                <a:gd name="T27" fmla="*/ 7 h 2675"/>
                <a:gd name="T28" fmla="*/ 1505 w 3602"/>
                <a:gd name="T29" fmla="*/ 15 h 2675"/>
                <a:gd name="T30" fmla="*/ 726 w 3602"/>
                <a:gd name="T31" fmla="*/ 207 h 2675"/>
                <a:gd name="T32" fmla="*/ 292 w 3602"/>
                <a:gd name="T33" fmla="*/ 426 h 2675"/>
                <a:gd name="T34" fmla="*/ 0 w 3602"/>
                <a:gd name="T35" fmla="*/ 615 h 2675"/>
                <a:gd name="T36" fmla="*/ 136 w 3602"/>
                <a:gd name="T37" fmla="*/ 547 h 2675"/>
                <a:gd name="T38" fmla="*/ 303 w 3602"/>
                <a:gd name="T39" fmla="*/ 469 h 2675"/>
                <a:gd name="T40" fmla="*/ 505 w 3602"/>
                <a:gd name="T41" fmla="*/ 384 h 2675"/>
                <a:gd name="T42" fmla="*/ 1722 w 3602"/>
                <a:gd name="T43" fmla="*/ 168 h 2675"/>
                <a:gd name="T44" fmla="*/ 2763 w 3602"/>
                <a:gd name="T45" fmla="*/ 497 h 2675"/>
                <a:gd name="T46" fmla="*/ 2880 w 3602"/>
                <a:gd name="T47" fmla="*/ 592 h 2675"/>
                <a:gd name="T48" fmla="*/ 2899 w 3602"/>
                <a:gd name="T49" fmla="*/ 608 h 2675"/>
                <a:gd name="T50" fmla="*/ 2975 w 3602"/>
                <a:gd name="T51" fmla="*/ 683 h 2675"/>
                <a:gd name="T52" fmla="*/ 2981 w 3602"/>
                <a:gd name="T53" fmla="*/ 689 h 2675"/>
                <a:gd name="T54" fmla="*/ 3009 w 3602"/>
                <a:gd name="T55" fmla="*/ 720 h 2675"/>
                <a:gd name="T56" fmla="*/ 3146 w 3602"/>
                <a:gd name="T57" fmla="*/ 886 h 2675"/>
                <a:gd name="T58" fmla="*/ 3458 w 3602"/>
                <a:gd name="T59" fmla="*/ 1700 h 2675"/>
                <a:gd name="T60" fmla="*/ 3476 w 3602"/>
                <a:gd name="T61" fmla="*/ 1870 h 2675"/>
                <a:gd name="T62" fmla="*/ 3479 w 3602"/>
                <a:gd name="T63" fmla="*/ 1924 h 2675"/>
                <a:gd name="T64" fmla="*/ 3482 w 3602"/>
                <a:gd name="T65" fmla="*/ 2048 h 2675"/>
                <a:gd name="T66" fmla="*/ 3483 w 3602"/>
                <a:gd name="T67" fmla="*/ 2675 h 2675"/>
                <a:gd name="T68" fmla="*/ 3600 w 3602"/>
                <a:gd name="T69" fmla="*/ 1869 h 2675"/>
                <a:gd name="T70" fmla="*/ 3591 w 3602"/>
                <a:gd name="T71" fmla="*/ 1625 h 2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02" h="2675">
                  <a:moveTo>
                    <a:pt x="3591" y="1625"/>
                  </a:moveTo>
                  <a:cubicBezTo>
                    <a:pt x="3576" y="1459"/>
                    <a:pt x="3538" y="1295"/>
                    <a:pt x="3480" y="1137"/>
                  </a:cubicBezTo>
                  <a:cubicBezTo>
                    <a:pt x="3421" y="979"/>
                    <a:pt x="3338" y="829"/>
                    <a:pt x="3230" y="688"/>
                  </a:cubicBezTo>
                  <a:cubicBezTo>
                    <a:pt x="3201" y="653"/>
                    <a:pt x="3174" y="618"/>
                    <a:pt x="3143" y="585"/>
                  </a:cubicBezTo>
                  <a:cubicBezTo>
                    <a:pt x="3120" y="560"/>
                    <a:pt x="3120" y="560"/>
                    <a:pt x="3120" y="560"/>
                  </a:cubicBezTo>
                  <a:cubicBezTo>
                    <a:pt x="3115" y="553"/>
                    <a:pt x="3115" y="553"/>
                    <a:pt x="3115" y="553"/>
                  </a:cubicBezTo>
                  <a:cubicBezTo>
                    <a:pt x="3112" y="550"/>
                    <a:pt x="3112" y="550"/>
                    <a:pt x="3112" y="550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04" y="542"/>
                    <a:pt x="3104" y="542"/>
                    <a:pt x="3104" y="542"/>
                  </a:cubicBezTo>
                  <a:cubicBezTo>
                    <a:pt x="3041" y="479"/>
                    <a:pt x="3041" y="479"/>
                    <a:pt x="3041" y="479"/>
                  </a:cubicBezTo>
                  <a:cubicBezTo>
                    <a:pt x="3026" y="464"/>
                    <a:pt x="3026" y="464"/>
                    <a:pt x="3026" y="464"/>
                  </a:cubicBezTo>
                  <a:cubicBezTo>
                    <a:pt x="3015" y="455"/>
                    <a:pt x="3015" y="455"/>
                    <a:pt x="3015" y="455"/>
                  </a:cubicBezTo>
                  <a:cubicBezTo>
                    <a:pt x="2993" y="436"/>
                    <a:pt x="2993" y="436"/>
                    <a:pt x="2993" y="436"/>
                  </a:cubicBezTo>
                  <a:cubicBezTo>
                    <a:pt x="2978" y="423"/>
                    <a:pt x="2966" y="411"/>
                    <a:pt x="2947" y="396"/>
                  </a:cubicBezTo>
                  <a:cubicBezTo>
                    <a:pt x="2912" y="368"/>
                    <a:pt x="2877" y="340"/>
                    <a:pt x="2839" y="314"/>
                  </a:cubicBezTo>
                  <a:cubicBezTo>
                    <a:pt x="2635" y="171"/>
                    <a:pt x="2406" y="80"/>
                    <a:pt x="2163" y="35"/>
                  </a:cubicBezTo>
                  <a:cubicBezTo>
                    <a:pt x="2042" y="13"/>
                    <a:pt x="1918" y="1"/>
                    <a:pt x="1793" y="2"/>
                  </a:cubicBezTo>
                  <a:cubicBezTo>
                    <a:pt x="1762" y="0"/>
                    <a:pt x="1730" y="3"/>
                    <a:pt x="1698" y="3"/>
                  </a:cubicBezTo>
                  <a:cubicBezTo>
                    <a:pt x="1675" y="4"/>
                    <a:pt x="1675" y="4"/>
                    <a:pt x="167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60" y="4"/>
                    <a:pt x="1647" y="4"/>
                    <a:pt x="166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9" y="4"/>
                    <a:pt x="1659" y="4"/>
                    <a:pt x="1659" y="4"/>
                  </a:cubicBezTo>
                  <a:cubicBezTo>
                    <a:pt x="1602" y="7"/>
                    <a:pt x="1602" y="7"/>
                    <a:pt x="1602" y="7"/>
                  </a:cubicBezTo>
                  <a:cubicBezTo>
                    <a:pt x="1584" y="9"/>
                    <a:pt x="1561" y="9"/>
                    <a:pt x="1548" y="11"/>
                  </a:cubicBezTo>
                  <a:cubicBezTo>
                    <a:pt x="1505" y="15"/>
                    <a:pt x="1505" y="15"/>
                    <a:pt x="1505" y="15"/>
                  </a:cubicBezTo>
                  <a:cubicBezTo>
                    <a:pt x="1478" y="18"/>
                    <a:pt x="1445" y="22"/>
                    <a:pt x="1415" y="26"/>
                  </a:cubicBezTo>
                  <a:cubicBezTo>
                    <a:pt x="1167" y="59"/>
                    <a:pt x="936" y="123"/>
                    <a:pt x="726" y="207"/>
                  </a:cubicBezTo>
                  <a:cubicBezTo>
                    <a:pt x="622" y="249"/>
                    <a:pt x="522" y="297"/>
                    <a:pt x="428" y="347"/>
                  </a:cubicBezTo>
                  <a:cubicBezTo>
                    <a:pt x="382" y="373"/>
                    <a:pt x="336" y="399"/>
                    <a:pt x="292" y="426"/>
                  </a:cubicBezTo>
                  <a:cubicBezTo>
                    <a:pt x="255" y="450"/>
                    <a:pt x="185" y="489"/>
                    <a:pt x="150" y="514"/>
                  </a:cubicBezTo>
                  <a:cubicBezTo>
                    <a:pt x="0" y="615"/>
                    <a:pt x="0" y="615"/>
                    <a:pt x="0" y="615"/>
                  </a:cubicBezTo>
                  <a:cubicBezTo>
                    <a:pt x="0" y="615"/>
                    <a:pt x="22" y="604"/>
                    <a:pt x="62" y="584"/>
                  </a:cubicBezTo>
                  <a:cubicBezTo>
                    <a:pt x="83" y="574"/>
                    <a:pt x="107" y="562"/>
                    <a:pt x="136" y="547"/>
                  </a:cubicBezTo>
                  <a:cubicBezTo>
                    <a:pt x="167" y="533"/>
                    <a:pt x="201" y="516"/>
                    <a:pt x="240" y="498"/>
                  </a:cubicBezTo>
                  <a:cubicBezTo>
                    <a:pt x="260" y="489"/>
                    <a:pt x="281" y="479"/>
                    <a:pt x="303" y="469"/>
                  </a:cubicBezTo>
                  <a:cubicBezTo>
                    <a:pt x="322" y="460"/>
                    <a:pt x="343" y="451"/>
                    <a:pt x="365" y="442"/>
                  </a:cubicBezTo>
                  <a:cubicBezTo>
                    <a:pt x="408" y="423"/>
                    <a:pt x="455" y="403"/>
                    <a:pt x="505" y="384"/>
                  </a:cubicBezTo>
                  <a:cubicBezTo>
                    <a:pt x="606" y="345"/>
                    <a:pt x="721" y="307"/>
                    <a:pt x="847" y="273"/>
                  </a:cubicBezTo>
                  <a:cubicBezTo>
                    <a:pt x="1099" y="205"/>
                    <a:pt x="1402" y="159"/>
                    <a:pt x="1722" y="168"/>
                  </a:cubicBezTo>
                  <a:cubicBezTo>
                    <a:pt x="2035" y="174"/>
                    <a:pt x="2331" y="242"/>
                    <a:pt x="2581" y="381"/>
                  </a:cubicBezTo>
                  <a:cubicBezTo>
                    <a:pt x="2645" y="414"/>
                    <a:pt x="2705" y="455"/>
                    <a:pt x="2763" y="497"/>
                  </a:cubicBezTo>
                  <a:cubicBezTo>
                    <a:pt x="2792" y="519"/>
                    <a:pt x="2823" y="544"/>
                    <a:pt x="2847" y="564"/>
                  </a:cubicBezTo>
                  <a:cubicBezTo>
                    <a:pt x="2880" y="592"/>
                    <a:pt x="2880" y="592"/>
                    <a:pt x="2880" y="592"/>
                  </a:cubicBezTo>
                  <a:cubicBezTo>
                    <a:pt x="2888" y="599"/>
                    <a:pt x="2888" y="599"/>
                    <a:pt x="2888" y="599"/>
                  </a:cubicBezTo>
                  <a:cubicBezTo>
                    <a:pt x="2891" y="601"/>
                    <a:pt x="2893" y="603"/>
                    <a:pt x="2899" y="608"/>
                  </a:cubicBezTo>
                  <a:cubicBezTo>
                    <a:pt x="2927" y="636"/>
                    <a:pt x="2927" y="636"/>
                    <a:pt x="2927" y="636"/>
                  </a:cubicBezTo>
                  <a:cubicBezTo>
                    <a:pt x="2975" y="683"/>
                    <a:pt x="2975" y="683"/>
                    <a:pt x="2975" y="683"/>
                  </a:cubicBezTo>
                  <a:cubicBezTo>
                    <a:pt x="2976" y="684"/>
                    <a:pt x="2976" y="684"/>
                    <a:pt x="2976" y="684"/>
                  </a:cubicBezTo>
                  <a:cubicBezTo>
                    <a:pt x="2981" y="689"/>
                    <a:pt x="2981" y="689"/>
                    <a:pt x="2981" y="689"/>
                  </a:cubicBezTo>
                  <a:cubicBezTo>
                    <a:pt x="2990" y="699"/>
                    <a:pt x="2990" y="699"/>
                    <a:pt x="2990" y="699"/>
                  </a:cubicBezTo>
                  <a:cubicBezTo>
                    <a:pt x="3009" y="720"/>
                    <a:pt x="3009" y="720"/>
                    <a:pt x="3009" y="720"/>
                  </a:cubicBezTo>
                  <a:cubicBezTo>
                    <a:pt x="3035" y="746"/>
                    <a:pt x="3057" y="775"/>
                    <a:pt x="3081" y="802"/>
                  </a:cubicBezTo>
                  <a:cubicBezTo>
                    <a:pt x="3104" y="829"/>
                    <a:pt x="3124" y="859"/>
                    <a:pt x="3146" y="886"/>
                  </a:cubicBezTo>
                  <a:cubicBezTo>
                    <a:pt x="3164" y="916"/>
                    <a:pt x="3186" y="943"/>
                    <a:pt x="3203" y="973"/>
                  </a:cubicBezTo>
                  <a:cubicBezTo>
                    <a:pt x="3348" y="1205"/>
                    <a:pt x="3425" y="1460"/>
                    <a:pt x="3458" y="1700"/>
                  </a:cubicBezTo>
                  <a:cubicBezTo>
                    <a:pt x="3463" y="1730"/>
                    <a:pt x="3466" y="1760"/>
                    <a:pt x="3469" y="1789"/>
                  </a:cubicBezTo>
                  <a:cubicBezTo>
                    <a:pt x="3472" y="1819"/>
                    <a:pt x="3475" y="1847"/>
                    <a:pt x="3476" y="1870"/>
                  </a:cubicBezTo>
                  <a:cubicBezTo>
                    <a:pt x="3477" y="1883"/>
                    <a:pt x="3477" y="1895"/>
                    <a:pt x="3478" y="1906"/>
                  </a:cubicBezTo>
                  <a:cubicBezTo>
                    <a:pt x="3479" y="1924"/>
                    <a:pt x="3479" y="1924"/>
                    <a:pt x="3479" y="1924"/>
                  </a:cubicBezTo>
                  <a:cubicBezTo>
                    <a:pt x="3480" y="1929"/>
                    <a:pt x="3480" y="1936"/>
                    <a:pt x="3480" y="1946"/>
                  </a:cubicBezTo>
                  <a:cubicBezTo>
                    <a:pt x="3481" y="1981"/>
                    <a:pt x="3482" y="2015"/>
                    <a:pt x="3482" y="2048"/>
                  </a:cubicBezTo>
                  <a:cubicBezTo>
                    <a:pt x="3483" y="2175"/>
                    <a:pt x="3483" y="2285"/>
                    <a:pt x="3483" y="2376"/>
                  </a:cubicBezTo>
                  <a:cubicBezTo>
                    <a:pt x="3483" y="2566"/>
                    <a:pt x="3483" y="2675"/>
                    <a:pt x="3483" y="2675"/>
                  </a:cubicBezTo>
                  <a:cubicBezTo>
                    <a:pt x="3515" y="2462"/>
                    <a:pt x="3550" y="2281"/>
                    <a:pt x="3586" y="2133"/>
                  </a:cubicBezTo>
                  <a:cubicBezTo>
                    <a:pt x="3594" y="2069"/>
                    <a:pt x="3599" y="1922"/>
                    <a:pt x="3600" y="1869"/>
                  </a:cubicBezTo>
                  <a:cubicBezTo>
                    <a:pt x="3602" y="1834"/>
                    <a:pt x="3600" y="1791"/>
                    <a:pt x="3599" y="1750"/>
                  </a:cubicBezTo>
                  <a:cubicBezTo>
                    <a:pt x="3599" y="1708"/>
                    <a:pt x="3593" y="1667"/>
                    <a:pt x="3591" y="1625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8E3C2A3B-03A0-45B5-8E5A-5F7E3D88F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8" y="3811"/>
              <a:ext cx="3" cy="3"/>
            </a:xfrm>
            <a:custGeom>
              <a:avLst/>
              <a:gdLst>
                <a:gd name="T0" fmla="*/ 0 w 73"/>
                <a:gd name="T1" fmla="*/ 0 h 69"/>
                <a:gd name="T2" fmla="*/ 73 w 73"/>
                <a:gd name="T3" fmla="*/ 69 h 69"/>
                <a:gd name="T4" fmla="*/ 45 w 73"/>
                <a:gd name="T5" fmla="*/ 42 h 69"/>
                <a:gd name="T6" fmla="*/ 0 w 73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69">
                  <a:moveTo>
                    <a:pt x="0" y="0"/>
                  </a:moveTo>
                  <a:cubicBezTo>
                    <a:pt x="19" y="19"/>
                    <a:pt x="44" y="42"/>
                    <a:pt x="73" y="69"/>
                  </a:cubicBezTo>
                  <a:cubicBezTo>
                    <a:pt x="64" y="60"/>
                    <a:pt x="54" y="51"/>
                    <a:pt x="45" y="42"/>
                  </a:cubicBezTo>
                  <a:cubicBezTo>
                    <a:pt x="30" y="28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6FAD6A64-C9BD-440E-8EA4-9652C47204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6" y="3847"/>
              <a:ext cx="6" cy="6"/>
            </a:xfrm>
            <a:custGeom>
              <a:avLst/>
              <a:gdLst>
                <a:gd name="T0" fmla="*/ 32 w 164"/>
                <a:gd name="T1" fmla="*/ 31 h 150"/>
                <a:gd name="T2" fmla="*/ 164 w 164"/>
                <a:gd name="T3" fmla="*/ 150 h 150"/>
                <a:gd name="T4" fmla="*/ 0 w 164"/>
                <a:gd name="T5" fmla="*/ 0 h 150"/>
                <a:gd name="T6" fmla="*/ 32 w 164"/>
                <a:gd name="T7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4" h="150">
                  <a:moveTo>
                    <a:pt x="32" y="31"/>
                  </a:moveTo>
                  <a:cubicBezTo>
                    <a:pt x="76" y="70"/>
                    <a:pt x="120" y="110"/>
                    <a:pt x="164" y="150"/>
                  </a:cubicBezTo>
                  <a:cubicBezTo>
                    <a:pt x="94" y="86"/>
                    <a:pt x="34" y="31"/>
                    <a:pt x="0" y="0"/>
                  </a:cubicBezTo>
                  <a:cubicBezTo>
                    <a:pt x="11" y="10"/>
                    <a:pt x="22" y="21"/>
                    <a:pt x="3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71363184-6D16-4075-98CD-83F76C653E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5" y="3837"/>
              <a:ext cx="11" cy="10"/>
            </a:xfrm>
            <a:custGeom>
              <a:avLst/>
              <a:gdLst>
                <a:gd name="T0" fmla="*/ 254 w 284"/>
                <a:gd name="T1" fmla="*/ 237 h 264"/>
                <a:gd name="T2" fmla="*/ 284 w 284"/>
                <a:gd name="T3" fmla="*/ 264 h 264"/>
                <a:gd name="T4" fmla="*/ 0 w 284"/>
                <a:gd name="T5" fmla="*/ 0 h 264"/>
                <a:gd name="T6" fmla="*/ 254 w 284"/>
                <a:gd name="T7" fmla="*/ 23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264">
                  <a:moveTo>
                    <a:pt x="254" y="237"/>
                  </a:moveTo>
                  <a:cubicBezTo>
                    <a:pt x="254" y="237"/>
                    <a:pt x="265" y="247"/>
                    <a:pt x="284" y="264"/>
                  </a:cubicBezTo>
                  <a:cubicBezTo>
                    <a:pt x="189" y="177"/>
                    <a:pt x="94" y="89"/>
                    <a:pt x="0" y="0"/>
                  </a:cubicBezTo>
                  <a:cubicBezTo>
                    <a:pt x="145" y="136"/>
                    <a:pt x="254" y="237"/>
                    <a:pt x="254" y="2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ECA33077-01A9-44B7-B0C7-8430D0797D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2" y="3853"/>
              <a:ext cx="7" cy="7"/>
            </a:xfrm>
            <a:custGeom>
              <a:avLst/>
              <a:gdLst>
                <a:gd name="T0" fmla="*/ 131 w 180"/>
                <a:gd name="T1" fmla="*/ 119 h 163"/>
                <a:gd name="T2" fmla="*/ 180 w 180"/>
                <a:gd name="T3" fmla="*/ 163 h 163"/>
                <a:gd name="T4" fmla="*/ 0 w 180"/>
                <a:gd name="T5" fmla="*/ 0 h 163"/>
                <a:gd name="T6" fmla="*/ 131 w 180"/>
                <a:gd name="T7" fmla="*/ 11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63">
                  <a:moveTo>
                    <a:pt x="131" y="119"/>
                  </a:moveTo>
                  <a:cubicBezTo>
                    <a:pt x="147" y="134"/>
                    <a:pt x="164" y="148"/>
                    <a:pt x="180" y="163"/>
                  </a:cubicBezTo>
                  <a:cubicBezTo>
                    <a:pt x="120" y="108"/>
                    <a:pt x="60" y="54"/>
                    <a:pt x="0" y="0"/>
                  </a:cubicBezTo>
                  <a:cubicBezTo>
                    <a:pt x="41" y="37"/>
                    <a:pt x="86" y="78"/>
                    <a:pt x="131" y="11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6035F7A4-5E2C-4648-B5CC-9B3EF08757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4" y="3837"/>
              <a:ext cx="1" cy="0"/>
            </a:xfrm>
            <a:custGeom>
              <a:avLst/>
              <a:gdLst>
                <a:gd name="T0" fmla="*/ 9 w 9"/>
                <a:gd name="T1" fmla="*/ 9 h 9"/>
                <a:gd name="T2" fmla="*/ 0 w 9"/>
                <a:gd name="T3" fmla="*/ 0 h 9"/>
                <a:gd name="T4" fmla="*/ 9 w 9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cubicBezTo>
                    <a:pt x="6" y="6"/>
                    <a:pt x="3" y="3"/>
                    <a:pt x="0" y="0"/>
                  </a:cubicBezTo>
                  <a:cubicBezTo>
                    <a:pt x="3" y="3"/>
                    <a:pt x="6" y="6"/>
                    <a:pt x="9" y="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D77C717C-E861-4D49-89DF-545574F4AD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9" y="3860"/>
              <a:ext cx="7" cy="6"/>
            </a:xfrm>
            <a:custGeom>
              <a:avLst/>
              <a:gdLst>
                <a:gd name="T0" fmla="*/ 13 w 172"/>
                <a:gd name="T1" fmla="*/ 11 h 154"/>
                <a:gd name="T2" fmla="*/ 172 w 172"/>
                <a:gd name="T3" fmla="*/ 154 h 154"/>
                <a:gd name="T4" fmla="*/ 0 w 172"/>
                <a:gd name="T5" fmla="*/ 0 h 154"/>
                <a:gd name="T6" fmla="*/ 13 w 172"/>
                <a:gd name="T7" fmla="*/ 1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54">
                  <a:moveTo>
                    <a:pt x="13" y="11"/>
                  </a:moveTo>
                  <a:cubicBezTo>
                    <a:pt x="66" y="59"/>
                    <a:pt x="119" y="106"/>
                    <a:pt x="172" y="154"/>
                  </a:cubicBezTo>
                  <a:cubicBezTo>
                    <a:pt x="123" y="109"/>
                    <a:pt x="63" y="56"/>
                    <a:pt x="0" y="0"/>
                  </a:cubicBezTo>
                  <a:cubicBezTo>
                    <a:pt x="4" y="3"/>
                    <a:pt x="8" y="7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68F141A0-28E4-436B-9599-7DA7F54FD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4" cy="3"/>
            </a:xfrm>
            <a:custGeom>
              <a:avLst/>
              <a:gdLst>
                <a:gd name="T0" fmla="*/ 95 w 95"/>
                <a:gd name="T1" fmla="*/ 86 h 86"/>
                <a:gd name="T2" fmla="*/ 0 w 95"/>
                <a:gd name="T3" fmla="*/ 0 h 86"/>
                <a:gd name="T4" fmla="*/ 95 w 95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86">
                  <a:moveTo>
                    <a:pt x="95" y="86"/>
                  </a:moveTo>
                  <a:cubicBezTo>
                    <a:pt x="63" y="57"/>
                    <a:pt x="32" y="28"/>
                    <a:pt x="0" y="0"/>
                  </a:cubicBezTo>
                  <a:cubicBezTo>
                    <a:pt x="29" y="25"/>
                    <a:pt x="60" y="54"/>
                    <a:pt x="95" y="8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E6614E4-A6B0-4883-85F0-771B8E6B01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840760BF-9FC9-4FBA-9B61-B8C5192D50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" y="3729"/>
              <a:ext cx="9" cy="5"/>
            </a:xfrm>
            <a:custGeom>
              <a:avLst/>
              <a:gdLst>
                <a:gd name="T0" fmla="*/ 0 w 236"/>
                <a:gd name="T1" fmla="*/ 0 h 119"/>
                <a:gd name="T2" fmla="*/ 236 w 236"/>
                <a:gd name="T3" fmla="*/ 119 h 119"/>
                <a:gd name="T4" fmla="*/ 6 w 236"/>
                <a:gd name="T5" fmla="*/ 3 h 119"/>
                <a:gd name="T6" fmla="*/ 0 w 236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6" h="119">
                  <a:moveTo>
                    <a:pt x="0" y="0"/>
                  </a:moveTo>
                  <a:cubicBezTo>
                    <a:pt x="59" y="29"/>
                    <a:pt x="142" y="70"/>
                    <a:pt x="236" y="119"/>
                  </a:cubicBezTo>
                  <a:cubicBezTo>
                    <a:pt x="141" y="69"/>
                    <a:pt x="63" y="30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44486DA1-39E8-46C6-9482-2D0C08E22D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" y="3734"/>
              <a:ext cx="15" cy="8"/>
            </a:xfrm>
            <a:custGeom>
              <a:avLst/>
              <a:gdLst>
                <a:gd name="T0" fmla="*/ 68 w 393"/>
                <a:gd name="T1" fmla="*/ 37 h 220"/>
                <a:gd name="T2" fmla="*/ 393 w 393"/>
                <a:gd name="T3" fmla="*/ 220 h 220"/>
                <a:gd name="T4" fmla="*/ 0 w 393"/>
                <a:gd name="T5" fmla="*/ 0 h 220"/>
                <a:gd name="T6" fmla="*/ 68 w 393"/>
                <a:gd name="T7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3" h="220">
                  <a:moveTo>
                    <a:pt x="68" y="37"/>
                  </a:moveTo>
                  <a:cubicBezTo>
                    <a:pt x="163" y="88"/>
                    <a:pt x="273" y="149"/>
                    <a:pt x="393" y="220"/>
                  </a:cubicBezTo>
                  <a:cubicBezTo>
                    <a:pt x="257" y="139"/>
                    <a:pt x="119" y="63"/>
                    <a:pt x="0" y="0"/>
                  </a:cubicBezTo>
                  <a:cubicBezTo>
                    <a:pt x="22" y="12"/>
                    <a:pt x="44" y="24"/>
                    <a:pt x="68" y="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37E00720-31A7-4B28-A647-BC82FE8D74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9" y="3742"/>
              <a:ext cx="1" cy="1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6CF8F72D-6963-4F88-95B0-601E4CBD9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4" cy="2"/>
            </a:xfrm>
            <a:custGeom>
              <a:avLst/>
              <a:gdLst>
                <a:gd name="T0" fmla="*/ 100 w 100"/>
                <a:gd name="T1" fmla="*/ 48 h 48"/>
                <a:gd name="T2" fmla="*/ 0 w 100"/>
                <a:gd name="T3" fmla="*/ 0 h 48"/>
                <a:gd name="T4" fmla="*/ 100 w 10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48">
                  <a:moveTo>
                    <a:pt x="100" y="48"/>
                  </a:moveTo>
                  <a:cubicBezTo>
                    <a:pt x="40" y="18"/>
                    <a:pt x="3" y="1"/>
                    <a:pt x="0" y="0"/>
                  </a:cubicBezTo>
                  <a:cubicBezTo>
                    <a:pt x="4" y="2"/>
                    <a:pt x="39" y="18"/>
                    <a:pt x="100" y="4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2075A591-0E87-457B-97B6-1A1D7227CE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0" cy="0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5" y="3"/>
                    <a:pt x="3" y="1"/>
                    <a:pt x="0" y="0"/>
                  </a:cubicBezTo>
                  <a:cubicBezTo>
                    <a:pt x="3" y="1"/>
                    <a:pt x="5" y="3"/>
                    <a:pt x="7" y="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D8A1CE88-BE75-49A4-9289-1E77D1647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3" y="3826"/>
              <a:ext cx="11" cy="11"/>
            </a:xfrm>
            <a:custGeom>
              <a:avLst/>
              <a:gdLst>
                <a:gd name="T0" fmla="*/ 50 w 275"/>
                <a:gd name="T1" fmla="*/ 49 h 262"/>
                <a:gd name="T2" fmla="*/ 275 w 275"/>
                <a:gd name="T3" fmla="*/ 262 h 262"/>
                <a:gd name="T4" fmla="*/ 0 w 275"/>
                <a:gd name="T5" fmla="*/ 0 h 262"/>
                <a:gd name="T6" fmla="*/ 50 w 275"/>
                <a:gd name="T7" fmla="*/ 4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2">
                  <a:moveTo>
                    <a:pt x="50" y="49"/>
                  </a:moveTo>
                  <a:cubicBezTo>
                    <a:pt x="128" y="123"/>
                    <a:pt x="205" y="197"/>
                    <a:pt x="275" y="262"/>
                  </a:cubicBezTo>
                  <a:cubicBezTo>
                    <a:pt x="182" y="175"/>
                    <a:pt x="91" y="88"/>
                    <a:pt x="0" y="0"/>
                  </a:cubicBezTo>
                  <a:cubicBezTo>
                    <a:pt x="16" y="16"/>
                    <a:pt x="33" y="33"/>
                    <a:pt x="50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33FA7F97-D5BC-4308-B59A-46AE54E651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0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CEC23706-B427-4E86-9625-FF8B882DF8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6" cy="4"/>
            </a:xfrm>
            <a:custGeom>
              <a:avLst/>
              <a:gdLst>
                <a:gd name="T0" fmla="*/ 138 w 138"/>
                <a:gd name="T1" fmla="*/ 94 h 94"/>
                <a:gd name="T2" fmla="*/ 0 w 138"/>
                <a:gd name="T3" fmla="*/ 0 h 94"/>
                <a:gd name="T4" fmla="*/ 138 w 138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94">
                  <a:moveTo>
                    <a:pt x="138" y="94"/>
                  </a:moveTo>
                  <a:cubicBezTo>
                    <a:pt x="98" y="66"/>
                    <a:pt x="51" y="34"/>
                    <a:pt x="0" y="0"/>
                  </a:cubicBezTo>
                  <a:cubicBezTo>
                    <a:pt x="45" y="30"/>
                    <a:pt x="92" y="62"/>
                    <a:pt x="138" y="9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B4DD35BD-13F9-438A-97E4-8695C52C6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7"/>
              <a:ext cx="1588" cy="781"/>
            </a:xfrm>
            <a:custGeom>
              <a:avLst/>
              <a:gdLst>
                <a:gd name="T0" fmla="*/ 34596 w 40218"/>
                <a:gd name="T1" fmla="*/ 18820 h 19781"/>
                <a:gd name="T2" fmla="*/ 39619 w 40218"/>
                <a:gd name="T3" fmla="*/ 19450 h 19781"/>
                <a:gd name="T4" fmla="*/ 40215 w 40218"/>
                <a:gd name="T5" fmla="*/ 15312 h 19781"/>
                <a:gd name="T6" fmla="*/ 39313 w 40218"/>
                <a:gd name="T7" fmla="*/ 2505 h 19781"/>
                <a:gd name="T8" fmla="*/ 40174 w 40218"/>
                <a:gd name="T9" fmla="*/ 3582 h 19781"/>
                <a:gd name="T10" fmla="*/ 39356 w 40218"/>
                <a:gd name="T11" fmla="*/ 1225 h 19781"/>
                <a:gd name="T12" fmla="*/ 36916 w 40218"/>
                <a:gd name="T13" fmla="*/ 263 h 19781"/>
                <a:gd name="T14" fmla="*/ 33274 w 40218"/>
                <a:gd name="T15" fmla="*/ 624 h 19781"/>
                <a:gd name="T16" fmla="*/ 26770 w 40218"/>
                <a:gd name="T17" fmla="*/ 5843 h 19781"/>
                <a:gd name="T18" fmla="*/ 21260 w 40218"/>
                <a:gd name="T19" fmla="*/ 9411 h 19781"/>
                <a:gd name="T20" fmla="*/ 13271 w 40218"/>
                <a:gd name="T21" fmla="*/ 7249 h 19781"/>
                <a:gd name="T22" fmla="*/ 7582 w 40218"/>
                <a:gd name="T23" fmla="*/ 534 h 19781"/>
                <a:gd name="T24" fmla="*/ 4765 w 40218"/>
                <a:gd name="T25" fmla="*/ 36 h 19781"/>
                <a:gd name="T26" fmla="*/ 663 w 40218"/>
                <a:gd name="T27" fmla="*/ 1219 h 19781"/>
                <a:gd name="T28" fmla="*/ 818 w 40218"/>
                <a:gd name="T29" fmla="*/ 18644 h 19781"/>
                <a:gd name="T30" fmla="*/ 2846 w 40218"/>
                <a:gd name="T31" fmla="*/ 19764 h 19781"/>
                <a:gd name="T32" fmla="*/ 5743 w 40218"/>
                <a:gd name="T33" fmla="*/ 18745 h 19781"/>
                <a:gd name="T34" fmla="*/ 5784 w 40218"/>
                <a:gd name="T35" fmla="*/ 11030 h 19781"/>
                <a:gd name="T36" fmla="*/ 8476 w 40218"/>
                <a:gd name="T37" fmla="*/ 9829 h 19781"/>
                <a:gd name="T38" fmla="*/ 15059 w 40218"/>
                <a:gd name="T39" fmla="*/ 15096 h 19781"/>
                <a:gd name="T40" fmla="*/ 18571 w 40218"/>
                <a:gd name="T41" fmla="*/ 18323 h 19781"/>
                <a:gd name="T42" fmla="*/ 17579 w 40218"/>
                <a:gd name="T43" fmla="*/ 17076 h 19781"/>
                <a:gd name="T44" fmla="*/ 23895 w 40218"/>
                <a:gd name="T45" fmla="*/ 15033 h 19781"/>
                <a:gd name="T46" fmla="*/ 31264 w 40218"/>
                <a:gd name="T47" fmla="*/ 10797 h 19781"/>
                <a:gd name="T48" fmla="*/ 30362 w 40218"/>
                <a:gd name="T49" fmla="*/ 11504 h 19781"/>
                <a:gd name="T50" fmla="*/ 31863 w 40218"/>
                <a:gd name="T51" fmla="*/ 11080 h 19781"/>
                <a:gd name="T52" fmla="*/ 33190 w 40218"/>
                <a:gd name="T53" fmla="*/ 11638 h 19781"/>
                <a:gd name="T54" fmla="*/ 33781 w 40218"/>
                <a:gd name="T55" fmla="*/ 13144 h 19781"/>
                <a:gd name="T56" fmla="*/ 33386 w 40218"/>
                <a:gd name="T57" fmla="*/ 11431 h 19781"/>
                <a:gd name="T58" fmla="*/ 30597 w 40218"/>
                <a:gd name="T59" fmla="*/ 10559 h 19781"/>
                <a:gd name="T60" fmla="*/ 27947 w 40218"/>
                <a:gd name="T61" fmla="*/ 11138 h 19781"/>
                <a:gd name="T62" fmla="*/ 21422 w 40218"/>
                <a:gd name="T63" fmla="*/ 17023 h 19781"/>
                <a:gd name="T64" fmla="*/ 18797 w 40218"/>
                <a:gd name="T65" fmla="*/ 17110 h 19781"/>
                <a:gd name="T66" fmla="*/ 14978 w 40218"/>
                <a:gd name="T67" fmla="*/ 13700 h 19781"/>
                <a:gd name="T68" fmla="*/ 14165 w 40218"/>
                <a:gd name="T69" fmla="*/ 13669 h 19781"/>
                <a:gd name="T70" fmla="*/ 10435 w 40218"/>
                <a:gd name="T71" fmla="*/ 10274 h 19781"/>
                <a:gd name="T72" fmla="*/ 8080 w 40218"/>
                <a:gd name="T73" fmla="*/ 9653 h 19781"/>
                <a:gd name="T74" fmla="*/ 5306 w 40218"/>
                <a:gd name="T75" fmla="*/ 11737 h 19781"/>
                <a:gd name="T76" fmla="*/ 5448 w 40218"/>
                <a:gd name="T77" fmla="*/ 18552 h 19781"/>
                <a:gd name="T78" fmla="*/ 3432 w 40218"/>
                <a:gd name="T79" fmla="*/ 18442 h 19781"/>
                <a:gd name="T80" fmla="*/ 2146 w 40218"/>
                <a:gd name="T81" fmla="*/ 17714 h 19781"/>
                <a:gd name="T82" fmla="*/ 1999 w 40218"/>
                <a:gd name="T83" fmla="*/ 17666 h 19781"/>
                <a:gd name="T84" fmla="*/ 3600 w 40218"/>
                <a:gd name="T85" fmla="*/ 18575 h 19781"/>
                <a:gd name="T86" fmla="*/ 3214 w 40218"/>
                <a:gd name="T87" fmla="*/ 19121 h 19781"/>
                <a:gd name="T88" fmla="*/ 571 w 40218"/>
                <a:gd name="T89" fmla="*/ 17531 h 19781"/>
                <a:gd name="T90" fmla="*/ 1613 w 40218"/>
                <a:gd name="T91" fmla="*/ 8741 h 19781"/>
                <a:gd name="T92" fmla="*/ 4836 w 40218"/>
                <a:gd name="T93" fmla="*/ 265 h 19781"/>
                <a:gd name="T94" fmla="*/ 8183 w 40218"/>
                <a:gd name="T95" fmla="*/ 1683 h 19781"/>
                <a:gd name="T96" fmla="*/ 15104 w 40218"/>
                <a:gd name="T97" fmla="*/ 8838 h 19781"/>
                <a:gd name="T98" fmla="*/ 20406 w 40218"/>
                <a:gd name="T99" fmla="*/ 9909 h 19781"/>
                <a:gd name="T100" fmla="*/ 23836 w 40218"/>
                <a:gd name="T101" fmla="*/ 8627 h 19781"/>
                <a:gd name="T102" fmla="*/ 33532 w 40218"/>
                <a:gd name="T103" fmla="*/ 801 h 19781"/>
                <a:gd name="T104" fmla="*/ 36558 w 40218"/>
                <a:gd name="T105" fmla="*/ 1287 h 19781"/>
                <a:gd name="T106" fmla="*/ 38299 w 40218"/>
                <a:gd name="T107" fmla="*/ 1669 h 19781"/>
                <a:gd name="T108" fmla="*/ 38844 w 40218"/>
                <a:gd name="T109" fmla="*/ 2441 h 19781"/>
                <a:gd name="T110" fmla="*/ 39479 w 40218"/>
                <a:gd name="T111" fmla="*/ 18174 h 19781"/>
                <a:gd name="T112" fmla="*/ 37230 w 40218"/>
                <a:gd name="T113" fmla="*/ 19422 h 19781"/>
                <a:gd name="T114" fmla="*/ 35816 w 40218"/>
                <a:gd name="T115" fmla="*/ 19337 h 19781"/>
                <a:gd name="T116" fmla="*/ 34570 w 40218"/>
                <a:gd name="T117" fmla="*/ 18668 h 19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218" h="19781">
                  <a:moveTo>
                    <a:pt x="34210" y="18439"/>
                  </a:moveTo>
                  <a:cubicBezTo>
                    <a:pt x="34210" y="18439"/>
                    <a:pt x="34256" y="18490"/>
                    <a:pt x="34302" y="18541"/>
                  </a:cubicBezTo>
                  <a:cubicBezTo>
                    <a:pt x="34323" y="18565"/>
                    <a:pt x="34353" y="18595"/>
                    <a:pt x="34372" y="18615"/>
                  </a:cubicBezTo>
                  <a:cubicBezTo>
                    <a:pt x="34392" y="18635"/>
                    <a:pt x="34406" y="18648"/>
                    <a:pt x="34406" y="18648"/>
                  </a:cubicBezTo>
                  <a:cubicBezTo>
                    <a:pt x="34458" y="18701"/>
                    <a:pt x="34458" y="18701"/>
                    <a:pt x="34458" y="18701"/>
                  </a:cubicBezTo>
                  <a:cubicBezTo>
                    <a:pt x="34498" y="18734"/>
                    <a:pt x="34498" y="18734"/>
                    <a:pt x="34498" y="18734"/>
                  </a:cubicBezTo>
                  <a:cubicBezTo>
                    <a:pt x="34537" y="18768"/>
                    <a:pt x="34537" y="18768"/>
                    <a:pt x="34537" y="18768"/>
                  </a:cubicBezTo>
                  <a:cubicBezTo>
                    <a:pt x="34557" y="18784"/>
                    <a:pt x="34557" y="18784"/>
                    <a:pt x="34557" y="18784"/>
                  </a:cubicBezTo>
                  <a:cubicBezTo>
                    <a:pt x="34562" y="18789"/>
                    <a:pt x="34562" y="18789"/>
                    <a:pt x="34562" y="18789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82" y="18809"/>
                    <a:pt x="34582" y="18809"/>
                    <a:pt x="34582" y="18809"/>
                  </a:cubicBezTo>
                  <a:cubicBezTo>
                    <a:pt x="34596" y="18820"/>
                    <a:pt x="34596" y="18820"/>
                    <a:pt x="34596" y="18820"/>
                  </a:cubicBezTo>
                  <a:cubicBezTo>
                    <a:pt x="34703" y="18907"/>
                    <a:pt x="34703" y="18907"/>
                    <a:pt x="34703" y="18907"/>
                  </a:cubicBezTo>
                  <a:cubicBezTo>
                    <a:pt x="34739" y="18935"/>
                    <a:pt x="34778" y="18962"/>
                    <a:pt x="34816" y="18990"/>
                  </a:cubicBezTo>
                  <a:cubicBezTo>
                    <a:pt x="34970" y="19100"/>
                    <a:pt x="35138" y="19200"/>
                    <a:pt x="35317" y="19287"/>
                  </a:cubicBezTo>
                  <a:cubicBezTo>
                    <a:pt x="35781" y="19509"/>
                    <a:pt x="36307" y="19622"/>
                    <a:pt x="36827" y="19646"/>
                  </a:cubicBezTo>
                  <a:cubicBezTo>
                    <a:pt x="36896" y="19648"/>
                    <a:pt x="36965" y="19650"/>
                    <a:pt x="37034" y="19652"/>
                  </a:cubicBezTo>
                  <a:cubicBezTo>
                    <a:pt x="37095" y="19651"/>
                    <a:pt x="37156" y="19651"/>
                    <a:pt x="37217" y="19650"/>
                  </a:cubicBezTo>
                  <a:cubicBezTo>
                    <a:pt x="37333" y="19648"/>
                    <a:pt x="37449" y="19646"/>
                    <a:pt x="37565" y="19643"/>
                  </a:cubicBezTo>
                  <a:cubicBezTo>
                    <a:pt x="37800" y="19639"/>
                    <a:pt x="38038" y="19637"/>
                    <a:pt x="38279" y="19637"/>
                  </a:cubicBezTo>
                  <a:cubicBezTo>
                    <a:pt x="38446" y="19638"/>
                    <a:pt x="38612" y="19639"/>
                    <a:pt x="38776" y="19640"/>
                  </a:cubicBezTo>
                  <a:cubicBezTo>
                    <a:pt x="38899" y="19642"/>
                    <a:pt x="38899" y="19642"/>
                    <a:pt x="38899" y="19642"/>
                  </a:cubicBezTo>
                  <a:cubicBezTo>
                    <a:pt x="38960" y="19643"/>
                    <a:pt x="38960" y="19643"/>
                    <a:pt x="38960" y="19643"/>
                  </a:cubicBezTo>
                  <a:cubicBezTo>
                    <a:pt x="38976" y="19643"/>
                    <a:pt x="38976" y="19643"/>
                    <a:pt x="38976" y="19643"/>
                  </a:cubicBezTo>
                  <a:cubicBezTo>
                    <a:pt x="39003" y="19643"/>
                    <a:pt x="39003" y="19643"/>
                    <a:pt x="39003" y="19643"/>
                  </a:cubicBezTo>
                  <a:cubicBezTo>
                    <a:pt x="39061" y="19641"/>
                    <a:pt x="39061" y="19641"/>
                    <a:pt x="39061" y="19641"/>
                  </a:cubicBezTo>
                  <a:cubicBezTo>
                    <a:pt x="39216" y="19633"/>
                    <a:pt x="39427" y="19589"/>
                    <a:pt x="39619" y="19450"/>
                  </a:cubicBezTo>
                  <a:cubicBezTo>
                    <a:pt x="39715" y="19382"/>
                    <a:pt x="39795" y="19294"/>
                    <a:pt x="39856" y="19204"/>
                  </a:cubicBezTo>
                  <a:cubicBezTo>
                    <a:pt x="39884" y="19160"/>
                    <a:pt x="39912" y="19113"/>
                    <a:pt x="39930" y="19071"/>
                  </a:cubicBezTo>
                  <a:cubicBezTo>
                    <a:pt x="39940" y="19049"/>
                    <a:pt x="39951" y="19026"/>
                    <a:pt x="39959" y="19005"/>
                  </a:cubicBezTo>
                  <a:cubicBezTo>
                    <a:pt x="39981" y="18943"/>
                    <a:pt x="39981" y="18943"/>
                    <a:pt x="39981" y="18943"/>
                  </a:cubicBezTo>
                  <a:cubicBezTo>
                    <a:pt x="39997" y="18900"/>
                    <a:pt x="40004" y="18864"/>
                    <a:pt x="40014" y="18824"/>
                  </a:cubicBezTo>
                  <a:cubicBezTo>
                    <a:pt x="40022" y="18786"/>
                    <a:pt x="40028" y="18751"/>
                    <a:pt x="40034" y="18715"/>
                  </a:cubicBezTo>
                  <a:cubicBezTo>
                    <a:pt x="40039" y="18676"/>
                    <a:pt x="40043" y="18635"/>
                    <a:pt x="40046" y="18597"/>
                  </a:cubicBezTo>
                  <a:cubicBezTo>
                    <a:pt x="40049" y="18539"/>
                    <a:pt x="40049" y="18539"/>
                    <a:pt x="40049" y="18539"/>
                  </a:cubicBezTo>
                  <a:cubicBezTo>
                    <a:pt x="40052" y="18455"/>
                    <a:pt x="40055" y="18372"/>
                    <a:pt x="40058" y="18289"/>
                  </a:cubicBezTo>
                  <a:cubicBezTo>
                    <a:pt x="40062" y="18213"/>
                    <a:pt x="40065" y="18137"/>
                    <a:pt x="40069" y="18062"/>
                  </a:cubicBezTo>
                  <a:cubicBezTo>
                    <a:pt x="40097" y="17462"/>
                    <a:pt x="40140" y="16911"/>
                    <a:pt x="40194" y="16439"/>
                  </a:cubicBezTo>
                  <a:cubicBezTo>
                    <a:pt x="40218" y="16235"/>
                    <a:pt x="40218" y="16235"/>
                    <a:pt x="40218" y="16235"/>
                  </a:cubicBezTo>
                  <a:cubicBezTo>
                    <a:pt x="40218" y="15341"/>
                    <a:pt x="40218" y="15341"/>
                    <a:pt x="40218" y="15341"/>
                  </a:cubicBezTo>
                  <a:cubicBezTo>
                    <a:pt x="40218" y="15282"/>
                    <a:pt x="40218" y="15282"/>
                    <a:pt x="40218" y="15282"/>
                  </a:cubicBezTo>
                  <a:cubicBezTo>
                    <a:pt x="40215" y="15312"/>
                    <a:pt x="40215" y="15312"/>
                    <a:pt x="40215" y="15312"/>
                  </a:cubicBezTo>
                  <a:cubicBezTo>
                    <a:pt x="40049" y="16740"/>
                    <a:pt x="40049" y="16740"/>
                    <a:pt x="40049" y="16740"/>
                  </a:cubicBezTo>
                  <a:cubicBezTo>
                    <a:pt x="40040" y="16811"/>
                    <a:pt x="40032" y="16881"/>
                    <a:pt x="40023" y="16951"/>
                  </a:cubicBezTo>
                  <a:cubicBezTo>
                    <a:pt x="39944" y="17529"/>
                    <a:pt x="39845" y="17846"/>
                    <a:pt x="39741" y="17846"/>
                  </a:cubicBezTo>
                  <a:cubicBezTo>
                    <a:pt x="39624" y="17846"/>
                    <a:pt x="39514" y="17453"/>
                    <a:pt x="39432" y="16740"/>
                  </a:cubicBezTo>
                  <a:cubicBezTo>
                    <a:pt x="38917" y="12289"/>
                    <a:pt x="38917" y="12289"/>
                    <a:pt x="38917" y="12289"/>
                  </a:cubicBezTo>
                  <a:cubicBezTo>
                    <a:pt x="38835" y="11576"/>
                    <a:pt x="38789" y="10628"/>
                    <a:pt x="38789" y="9620"/>
                  </a:cubicBezTo>
                  <a:cubicBezTo>
                    <a:pt x="38789" y="9326"/>
                    <a:pt x="38793" y="9037"/>
                    <a:pt x="38801" y="8758"/>
                  </a:cubicBezTo>
                  <a:cubicBezTo>
                    <a:pt x="38819" y="8079"/>
                    <a:pt x="38859" y="7456"/>
                    <a:pt x="38917" y="6951"/>
                  </a:cubicBezTo>
                  <a:cubicBezTo>
                    <a:pt x="38917" y="6951"/>
                    <a:pt x="39046" y="5839"/>
                    <a:pt x="39175" y="4726"/>
                  </a:cubicBezTo>
                  <a:cubicBezTo>
                    <a:pt x="39207" y="4448"/>
                    <a:pt x="39239" y="4169"/>
                    <a:pt x="39269" y="3909"/>
                  </a:cubicBezTo>
                  <a:cubicBezTo>
                    <a:pt x="39284" y="3778"/>
                    <a:pt x="39299" y="3652"/>
                    <a:pt x="39313" y="3533"/>
                  </a:cubicBezTo>
                  <a:cubicBezTo>
                    <a:pt x="39326" y="3413"/>
                    <a:pt x="39337" y="3304"/>
                    <a:pt x="39342" y="3200"/>
                  </a:cubicBezTo>
                  <a:cubicBezTo>
                    <a:pt x="39354" y="2993"/>
                    <a:pt x="39345" y="2819"/>
                    <a:pt x="39336" y="2697"/>
                  </a:cubicBezTo>
                  <a:cubicBezTo>
                    <a:pt x="39329" y="2635"/>
                    <a:pt x="39324" y="2588"/>
                    <a:pt x="39320" y="2555"/>
                  </a:cubicBezTo>
                  <a:cubicBezTo>
                    <a:pt x="39315" y="2522"/>
                    <a:pt x="39313" y="2505"/>
                    <a:pt x="39313" y="2505"/>
                  </a:cubicBezTo>
                  <a:cubicBezTo>
                    <a:pt x="39299" y="2411"/>
                    <a:pt x="39282" y="2324"/>
                    <a:pt x="39264" y="2241"/>
                  </a:cubicBezTo>
                  <a:cubicBezTo>
                    <a:pt x="39202" y="1967"/>
                    <a:pt x="39125" y="1753"/>
                    <a:pt x="39075" y="1602"/>
                  </a:cubicBezTo>
                  <a:cubicBezTo>
                    <a:pt x="39050" y="1525"/>
                    <a:pt x="39032" y="1464"/>
                    <a:pt x="39027" y="1417"/>
                  </a:cubicBezTo>
                  <a:cubicBezTo>
                    <a:pt x="39019" y="1369"/>
                    <a:pt x="39023" y="1336"/>
                    <a:pt x="39042" y="1319"/>
                  </a:cubicBezTo>
                  <a:cubicBezTo>
                    <a:pt x="39064" y="1300"/>
                    <a:pt x="39107" y="1304"/>
                    <a:pt x="39165" y="1333"/>
                  </a:cubicBezTo>
                  <a:cubicBezTo>
                    <a:pt x="39221" y="1360"/>
                    <a:pt x="39295" y="1411"/>
                    <a:pt x="39379" y="1491"/>
                  </a:cubicBezTo>
                  <a:cubicBezTo>
                    <a:pt x="39463" y="1571"/>
                    <a:pt x="39556" y="1682"/>
                    <a:pt x="39649" y="1824"/>
                  </a:cubicBezTo>
                  <a:cubicBezTo>
                    <a:pt x="39743" y="1965"/>
                    <a:pt x="39832" y="2140"/>
                    <a:pt x="39908" y="2344"/>
                  </a:cubicBezTo>
                  <a:cubicBezTo>
                    <a:pt x="39908" y="2344"/>
                    <a:pt x="39916" y="2363"/>
                    <a:pt x="39929" y="2397"/>
                  </a:cubicBezTo>
                  <a:cubicBezTo>
                    <a:pt x="39940" y="2431"/>
                    <a:pt x="39956" y="2480"/>
                    <a:pt x="39976" y="2538"/>
                  </a:cubicBezTo>
                  <a:cubicBezTo>
                    <a:pt x="39994" y="2596"/>
                    <a:pt x="40013" y="2665"/>
                    <a:pt x="40033" y="2739"/>
                  </a:cubicBezTo>
                  <a:cubicBezTo>
                    <a:pt x="40050" y="2812"/>
                    <a:pt x="40072" y="2891"/>
                    <a:pt x="40086" y="2970"/>
                  </a:cubicBezTo>
                  <a:cubicBezTo>
                    <a:pt x="40102" y="3049"/>
                    <a:pt x="40117" y="3127"/>
                    <a:pt x="40127" y="3201"/>
                  </a:cubicBezTo>
                  <a:cubicBezTo>
                    <a:pt x="40139" y="3275"/>
                    <a:pt x="40147" y="3344"/>
                    <a:pt x="40154" y="3402"/>
                  </a:cubicBezTo>
                  <a:cubicBezTo>
                    <a:pt x="40166" y="3510"/>
                    <a:pt x="40174" y="3582"/>
                    <a:pt x="40174" y="3582"/>
                  </a:cubicBezTo>
                  <a:cubicBezTo>
                    <a:pt x="40218" y="3958"/>
                    <a:pt x="40218" y="3958"/>
                    <a:pt x="40218" y="3958"/>
                  </a:cubicBezTo>
                  <a:cubicBezTo>
                    <a:pt x="40218" y="3958"/>
                    <a:pt x="40218" y="3777"/>
                    <a:pt x="40218" y="3596"/>
                  </a:cubicBezTo>
                  <a:cubicBezTo>
                    <a:pt x="40218" y="3550"/>
                    <a:pt x="40218" y="3504"/>
                    <a:pt x="40218" y="3461"/>
                  </a:cubicBezTo>
                  <a:cubicBezTo>
                    <a:pt x="40217" y="3411"/>
                    <a:pt x="40216" y="3364"/>
                    <a:pt x="40215" y="3324"/>
                  </a:cubicBezTo>
                  <a:cubicBezTo>
                    <a:pt x="40215" y="3285"/>
                    <a:pt x="40213" y="3251"/>
                    <a:pt x="40212" y="3227"/>
                  </a:cubicBezTo>
                  <a:cubicBezTo>
                    <a:pt x="40210" y="3204"/>
                    <a:pt x="40210" y="3190"/>
                    <a:pt x="40210" y="3190"/>
                  </a:cubicBezTo>
                  <a:cubicBezTo>
                    <a:pt x="40210" y="3190"/>
                    <a:pt x="40209" y="3172"/>
                    <a:pt x="40207" y="3146"/>
                  </a:cubicBezTo>
                  <a:cubicBezTo>
                    <a:pt x="40206" y="3119"/>
                    <a:pt x="40204" y="3084"/>
                    <a:pt x="40200" y="3048"/>
                  </a:cubicBezTo>
                  <a:cubicBezTo>
                    <a:pt x="40193" y="2976"/>
                    <a:pt x="40186" y="2904"/>
                    <a:pt x="40186" y="2904"/>
                  </a:cubicBezTo>
                  <a:cubicBezTo>
                    <a:pt x="40186" y="2904"/>
                    <a:pt x="40171" y="2839"/>
                    <a:pt x="40144" y="2725"/>
                  </a:cubicBezTo>
                  <a:cubicBezTo>
                    <a:pt x="40113" y="2611"/>
                    <a:pt x="40070" y="2448"/>
                    <a:pt x="39993" y="2255"/>
                  </a:cubicBezTo>
                  <a:cubicBezTo>
                    <a:pt x="39918" y="2064"/>
                    <a:pt x="39813" y="1843"/>
                    <a:pt x="39669" y="1623"/>
                  </a:cubicBezTo>
                  <a:cubicBezTo>
                    <a:pt x="39634" y="1568"/>
                    <a:pt x="39593" y="1515"/>
                    <a:pt x="39554" y="1460"/>
                  </a:cubicBezTo>
                  <a:cubicBezTo>
                    <a:pt x="39513" y="1407"/>
                    <a:pt x="39470" y="1354"/>
                    <a:pt x="39426" y="1301"/>
                  </a:cubicBezTo>
                  <a:cubicBezTo>
                    <a:pt x="39356" y="1225"/>
                    <a:pt x="39356" y="1225"/>
                    <a:pt x="39356" y="1225"/>
                  </a:cubicBezTo>
                  <a:cubicBezTo>
                    <a:pt x="39321" y="1187"/>
                    <a:pt x="39321" y="1187"/>
                    <a:pt x="39321" y="1187"/>
                  </a:cubicBezTo>
                  <a:cubicBezTo>
                    <a:pt x="39281" y="1146"/>
                    <a:pt x="39281" y="1146"/>
                    <a:pt x="39281" y="1146"/>
                  </a:cubicBezTo>
                  <a:cubicBezTo>
                    <a:pt x="39200" y="1066"/>
                    <a:pt x="39200" y="1066"/>
                    <a:pt x="39200" y="1066"/>
                  </a:cubicBezTo>
                  <a:cubicBezTo>
                    <a:pt x="39193" y="1059"/>
                    <a:pt x="39187" y="1054"/>
                    <a:pt x="39182" y="1050"/>
                  </a:cubicBezTo>
                  <a:cubicBezTo>
                    <a:pt x="39167" y="1037"/>
                    <a:pt x="39167" y="1037"/>
                    <a:pt x="39167" y="1037"/>
                  </a:cubicBezTo>
                  <a:cubicBezTo>
                    <a:pt x="39135" y="1010"/>
                    <a:pt x="39135" y="1010"/>
                    <a:pt x="39135" y="1010"/>
                  </a:cubicBezTo>
                  <a:cubicBezTo>
                    <a:pt x="39031" y="917"/>
                    <a:pt x="38922" y="838"/>
                    <a:pt x="38811" y="762"/>
                  </a:cubicBezTo>
                  <a:cubicBezTo>
                    <a:pt x="38698" y="690"/>
                    <a:pt x="38585" y="624"/>
                    <a:pt x="38471" y="571"/>
                  </a:cubicBezTo>
                  <a:cubicBezTo>
                    <a:pt x="38245" y="462"/>
                    <a:pt x="38025" y="394"/>
                    <a:pt x="37839" y="351"/>
                  </a:cubicBezTo>
                  <a:cubicBezTo>
                    <a:pt x="37745" y="328"/>
                    <a:pt x="37659" y="315"/>
                    <a:pt x="37584" y="302"/>
                  </a:cubicBezTo>
                  <a:cubicBezTo>
                    <a:pt x="37508" y="293"/>
                    <a:pt x="37442" y="283"/>
                    <a:pt x="37388" y="280"/>
                  </a:cubicBezTo>
                  <a:cubicBezTo>
                    <a:pt x="37335" y="275"/>
                    <a:pt x="37292" y="272"/>
                    <a:pt x="37263" y="270"/>
                  </a:cubicBezTo>
                  <a:cubicBezTo>
                    <a:pt x="37235" y="269"/>
                    <a:pt x="37220" y="268"/>
                    <a:pt x="37220" y="268"/>
                  </a:cubicBezTo>
                  <a:cubicBezTo>
                    <a:pt x="37153" y="266"/>
                    <a:pt x="37086" y="262"/>
                    <a:pt x="37018" y="263"/>
                  </a:cubicBezTo>
                  <a:cubicBezTo>
                    <a:pt x="36916" y="263"/>
                    <a:pt x="36916" y="263"/>
                    <a:pt x="36916" y="263"/>
                  </a:cubicBezTo>
                  <a:cubicBezTo>
                    <a:pt x="36808" y="266"/>
                    <a:pt x="36808" y="266"/>
                    <a:pt x="36808" y="266"/>
                  </a:cubicBezTo>
                  <a:cubicBezTo>
                    <a:pt x="36733" y="268"/>
                    <a:pt x="36671" y="273"/>
                    <a:pt x="36605" y="278"/>
                  </a:cubicBezTo>
                  <a:cubicBezTo>
                    <a:pt x="36549" y="281"/>
                    <a:pt x="36549" y="281"/>
                    <a:pt x="36549" y="281"/>
                  </a:cubicBezTo>
                  <a:cubicBezTo>
                    <a:pt x="36499" y="285"/>
                    <a:pt x="36499" y="285"/>
                    <a:pt x="36499" y="285"/>
                  </a:cubicBezTo>
                  <a:cubicBezTo>
                    <a:pt x="36398" y="293"/>
                    <a:pt x="36398" y="293"/>
                    <a:pt x="36398" y="293"/>
                  </a:cubicBezTo>
                  <a:cubicBezTo>
                    <a:pt x="36126" y="314"/>
                    <a:pt x="35838" y="332"/>
                    <a:pt x="35538" y="347"/>
                  </a:cubicBezTo>
                  <a:cubicBezTo>
                    <a:pt x="35238" y="361"/>
                    <a:pt x="34926" y="372"/>
                    <a:pt x="34606" y="379"/>
                  </a:cubicBezTo>
                  <a:cubicBezTo>
                    <a:pt x="34444" y="382"/>
                    <a:pt x="34282" y="385"/>
                    <a:pt x="34118" y="388"/>
                  </a:cubicBezTo>
                  <a:cubicBezTo>
                    <a:pt x="33995" y="389"/>
                    <a:pt x="33995" y="389"/>
                    <a:pt x="33995" y="389"/>
                  </a:cubicBezTo>
                  <a:cubicBezTo>
                    <a:pt x="33926" y="390"/>
                    <a:pt x="33926" y="390"/>
                    <a:pt x="33926" y="390"/>
                  </a:cubicBezTo>
                  <a:cubicBezTo>
                    <a:pt x="33900" y="391"/>
                    <a:pt x="33875" y="392"/>
                    <a:pt x="33849" y="395"/>
                  </a:cubicBezTo>
                  <a:cubicBezTo>
                    <a:pt x="33746" y="405"/>
                    <a:pt x="33641" y="430"/>
                    <a:pt x="33542" y="469"/>
                  </a:cubicBezTo>
                  <a:cubicBezTo>
                    <a:pt x="33520" y="478"/>
                    <a:pt x="33485" y="494"/>
                    <a:pt x="33471" y="501"/>
                  </a:cubicBezTo>
                  <a:cubicBezTo>
                    <a:pt x="33442" y="515"/>
                    <a:pt x="33420" y="527"/>
                    <a:pt x="33397" y="541"/>
                  </a:cubicBezTo>
                  <a:cubicBezTo>
                    <a:pt x="33352" y="568"/>
                    <a:pt x="33312" y="595"/>
                    <a:pt x="33274" y="624"/>
                  </a:cubicBezTo>
                  <a:cubicBezTo>
                    <a:pt x="33198" y="680"/>
                    <a:pt x="33129" y="738"/>
                    <a:pt x="33064" y="797"/>
                  </a:cubicBezTo>
                  <a:cubicBezTo>
                    <a:pt x="33032" y="826"/>
                    <a:pt x="33000" y="856"/>
                    <a:pt x="32968" y="886"/>
                  </a:cubicBezTo>
                  <a:cubicBezTo>
                    <a:pt x="32946" y="908"/>
                    <a:pt x="32946" y="908"/>
                    <a:pt x="32946" y="908"/>
                  </a:cubicBezTo>
                  <a:cubicBezTo>
                    <a:pt x="32929" y="923"/>
                    <a:pt x="32929" y="923"/>
                    <a:pt x="32929" y="923"/>
                  </a:cubicBezTo>
                  <a:cubicBezTo>
                    <a:pt x="32884" y="964"/>
                    <a:pt x="32884" y="964"/>
                    <a:pt x="32884" y="964"/>
                  </a:cubicBezTo>
                  <a:cubicBezTo>
                    <a:pt x="32823" y="1018"/>
                    <a:pt x="32763" y="1072"/>
                    <a:pt x="32703" y="1125"/>
                  </a:cubicBezTo>
                  <a:cubicBezTo>
                    <a:pt x="32463" y="1338"/>
                    <a:pt x="32227" y="1543"/>
                    <a:pt x="31998" y="1737"/>
                  </a:cubicBezTo>
                  <a:cubicBezTo>
                    <a:pt x="31539" y="2124"/>
                    <a:pt x="31107" y="2468"/>
                    <a:pt x="30723" y="2750"/>
                  </a:cubicBezTo>
                  <a:cubicBezTo>
                    <a:pt x="27987" y="4762"/>
                    <a:pt x="27987" y="4762"/>
                    <a:pt x="27987" y="4762"/>
                  </a:cubicBezTo>
                  <a:cubicBezTo>
                    <a:pt x="27891" y="4833"/>
                    <a:pt x="27891" y="4833"/>
                    <a:pt x="27891" y="4833"/>
                  </a:cubicBezTo>
                  <a:cubicBezTo>
                    <a:pt x="27891" y="4833"/>
                    <a:pt x="27655" y="5053"/>
                    <a:pt x="27419" y="5272"/>
                  </a:cubicBezTo>
                  <a:cubicBezTo>
                    <a:pt x="27303" y="5379"/>
                    <a:pt x="27194" y="5479"/>
                    <a:pt x="27107" y="5555"/>
                  </a:cubicBezTo>
                  <a:cubicBezTo>
                    <a:pt x="27022" y="5631"/>
                    <a:pt x="26963" y="5680"/>
                    <a:pt x="26963" y="5680"/>
                  </a:cubicBezTo>
                  <a:cubicBezTo>
                    <a:pt x="26963" y="5680"/>
                    <a:pt x="26939" y="5700"/>
                    <a:pt x="26903" y="5731"/>
                  </a:cubicBezTo>
                  <a:cubicBezTo>
                    <a:pt x="26867" y="5761"/>
                    <a:pt x="26819" y="5803"/>
                    <a:pt x="26770" y="5843"/>
                  </a:cubicBezTo>
                  <a:cubicBezTo>
                    <a:pt x="26721" y="5883"/>
                    <a:pt x="26672" y="5923"/>
                    <a:pt x="26635" y="5953"/>
                  </a:cubicBezTo>
                  <a:cubicBezTo>
                    <a:pt x="26598" y="5982"/>
                    <a:pt x="26574" y="6002"/>
                    <a:pt x="26574" y="6002"/>
                  </a:cubicBezTo>
                  <a:cubicBezTo>
                    <a:pt x="26585" y="6000"/>
                    <a:pt x="26597" y="5998"/>
                    <a:pt x="26607" y="5997"/>
                  </a:cubicBezTo>
                  <a:cubicBezTo>
                    <a:pt x="26677" y="5989"/>
                    <a:pt x="26725" y="5998"/>
                    <a:pt x="26749" y="6028"/>
                  </a:cubicBezTo>
                  <a:cubicBezTo>
                    <a:pt x="26781" y="6068"/>
                    <a:pt x="26771" y="6142"/>
                    <a:pt x="26717" y="6245"/>
                  </a:cubicBezTo>
                  <a:cubicBezTo>
                    <a:pt x="26663" y="6350"/>
                    <a:pt x="26566" y="6483"/>
                    <a:pt x="26423" y="6642"/>
                  </a:cubicBezTo>
                  <a:cubicBezTo>
                    <a:pt x="26278" y="6804"/>
                    <a:pt x="26086" y="6988"/>
                    <a:pt x="25843" y="7190"/>
                  </a:cubicBezTo>
                  <a:cubicBezTo>
                    <a:pt x="25843" y="7190"/>
                    <a:pt x="25825" y="7204"/>
                    <a:pt x="25791" y="7232"/>
                  </a:cubicBezTo>
                  <a:cubicBezTo>
                    <a:pt x="25757" y="7260"/>
                    <a:pt x="25708" y="7301"/>
                    <a:pt x="25644" y="7351"/>
                  </a:cubicBezTo>
                  <a:cubicBezTo>
                    <a:pt x="25516" y="7453"/>
                    <a:pt x="25330" y="7595"/>
                    <a:pt x="25101" y="7759"/>
                  </a:cubicBezTo>
                  <a:cubicBezTo>
                    <a:pt x="24986" y="7839"/>
                    <a:pt x="24860" y="7927"/>
                    <a:pt x="24725" y="8015"/>
                  </a:cubicBezTo>
                  <a:cubicBezTo>
                    <a:pt x="24589" y="8104"/>
                    <a:pt x="24444" y="8197"/>
                    <a:pt x="24292" y="8286"/>
                  </a:cubicBezTo>
                  <a:cubicBezTo>
                    <a:pt x="23987" y="8467"/>
                    <a:pt x="23647" y="8640"/>
                    <a:pt x="23294" y="8791"/>
                  </a:cubicBezTo>
                  <a:cubicBezTo>
                    <a:pt x="22941" y="8942"/>
                    <a:pt x="22576" y="9070"/>
                    <a:pt x="22228" y="9173"/>
                  </a:cubicBezTo>
                  <a:cubicBezTo>
                    <a:pt x="21879" y="9276"/>
                    <a:pt x="21547" y="9353"/>
                    <a:pt x="21260" y="9411"/>
                  </a:cubicBezTo>
                  <a:cubicBezTo>
                    <a:pt x="21188" y="9425"/>
                    <a:pt x="21119" y="9439"/>
                    <a:pt x="21054" y="9452"/>
                  </a:cubicBezTo>
                  <a:cubicBezTo>
                    <a:pt x="20988" y="9463"/>
                    <a:pt x="20925" y="9474"/>
                    <a:pt x="20867" y="9484"/>
                  </a:cubicBezTo>
                  <a:cubicBezTo>
                    <a:pt x="20750" y="9505"/>
                    <a:pt x="20645" y="9520"/>
                    <a:pt x="20559" y="9532"/>
                  </a:cubicBezTo>
                  <a:cubicBezTo>
                    <a:pt x="20473" y="9545"/>
                    <a:pt x="20405" y="9554"/>
                    <a:pt x="20362" y="9559"/>
                  </a:cubicBezTo>
                  <a:cubicBezTo>
                    <a:pt x="20317" y="9565"/>
                    <a:pt x="20294" y="9568"/>
                    <a:pt x="20294" y="9568"/>
                  </a:cubicBezTo>
                  <a:cubicBezTo>
                    <a:pt x="19809" y="9629"/>
                    <a:pt x="19233" y="9655"/>
                    <a:pt x="18605" y="9612"/>
                  </a:cubicBezTo>
                  <a:cubicBezTo>
                    <a:pt x="17977" y="9568"/>
                    <a:pt x="17294" y="9455"/>
                    <a:pt x="16613" y="9238"/>
                  </a:cubicBezTo>
                  <a:cubicBezTo>
                    <a:pt x="16443" y="9184"/>
                    <a:pt x="16276" y="9125"/>
                    <a:pt x="16112" y="9060"/>
                  </a:cubicBezTo>
                  <a:cubicBezTo>
                    <a:pt x="15990" y="9011"/>
                    <a:pt x="15990" y="9011"/>
                    <a:pt x="15990" y="9011"/>
                  </a:cubicBezTo>
                  <a:cubicBezTo>
                    <a:pt x="15865" y="8958"/>
                    <a:pt x="15865" y="8958"/>
                    <a:pt x="15865" y="8958"/>
                  </a:cubicBezTo>
                  <a:cubicBezTo>
                    <a:pt x="15742" y="8904"/>
                    <a:pt x="15742" y="8904"/>
                    <a:pt x="15742" y="8904"/>
                  </a:cubicBezTo>
                  <a:cubicBezTo>
                    <a:pt x="15633" y="8852"/>
                    <a:pt x="15633" y="8852"/>
                    <a:pt x="15633" y="8852"/>
                  </a:cubicBezTo>
                  <a:cubicBezTo>
                    <a:pt x="15326" y="8705"/>
                    <a:pt x="15043" y="8549"/>
                    <a:pt x="14774" y="8387"/>
                  </a:cubicBezTo>
                  <a:cubicBezTo>
                    <a:pt x="14240" y="8060"/>
                    <a:pt x="13781" y="7712"/>
                    <a:pt x="13417" y="7383"/>
                  </a:cubicBezTo>
                  <a:cubicBezTo>
                    <a:pt x="13417" y="7383"/>
                    <a:pt x="13344" y="7316"/>
                    <a:pt x="13271" y="7249"/>
                  </a:cubicBezTo>
                  <a:cubicBezTo>
                    <a:pt x="13199" y="7181"/>
                    <a:pt x="13127" y="7112"/>
                    <a:pt x="13127" y="7112"/>
                  </a:cubicBezTo>
                  <a:cubicBezTo>
                    <a:pt x="13127" y="7112"/>
                    <a:pt x="12962" y="6955"/>
                    <a:pt x="12803" y="6792"/>
                  </a:cubicBezTo>
                  <a:cubicBezTo>
                    <a:pt x="12723" y="6711"/>
                    <a:pt x="12644" y="6629"/>
                    <a:pt x="12586" y="6566"/>
                  </a:cubicBezTo>
                  <a:cubicBezTo>
                    <a:pt x="12528" y="6504"/>
                    <a:pt x="12489" y="6463"/>
                    <a:pt x="12489" y="6463"/>
                  </a:cubicBezTo>
                  <a:cubicBezTo>
                    <a:pt x="12489" y="6463"/>
                    <a:pt x="12438" y="6406"/>
                    <a:pt x="12347" y="6306"/>
                  </a:cubicBezTo>
                  <a:cubicBezTo>
                    <a:pt x="12301" y="6256"/>
                    <a:pt x="12250" y="6196"/>
                    <a:pt x="12190" y="6126"/>
                  </a:cubicBezTo>
                  <a:cubicBezTo>
                    <a:pt x="12130" y="6056"/>
                    <a:pt x="12062" y="5977"/>
                    <a:pt x="11988" y="5891"/>
                  </a:cubicBezTo>
                  <a:cubicBezTo>
                    <a:pt x="11696" y="5548"/>
                    <a:pt x="11307" y="5090"/>
                    <a:pt x="10917" y="4632"/>
                  </a:cubicBezTo>
                  <a:cubicBezTo>
                    <a:pt x="10138" y="3717"/>
                    <a:pt x="9359" y="2801"/>
                    <a:pt x="9359" y="2801"/>
                  </a:cubicBezTo>
                  <a:cubicBezTo>
                    <a:pt x="8742" y="2077"/>
                    <a:pt x="8461" y="1615"/>
                    <a:pt x="8566" y="1502"/>
                  </a:cubicBezTo>
                  <a:cubicBezTo>
                    <a:pt x="8597" y="1469"/>
                    <a:pt x="8658" y="1467"/>
                    <a:pt x="8748" y="1493"/>
                  </a:cubicBezTo>
                  <a:cubicBezTo>
                    <a:pt x="8748" y="1493"/>
                    <a:pt x="8672" y="1423"/>
                    <a:pt x="8558" y="1317"/>
                  </a:cubicBezTo>
                  <a:cubicBezTo>
                    <a:pt x="8406" y="1157"/>
                    <a:pt x="8187" y="954"/>
                    <a:pt x="7946" y="777"/>
                  </a:cubicBezTo>
                  <a:cubicBezTo>
                    <a:pt x="7885" y="734"/>
                    <a:pt x="7825" y="689"/>
                    <a:pt x="7764" y="649"/>
                  </a:cubicBezTo>
                  <a:cubicBezTo>
                    <a:pt x="7702" y="610"/>
                    <a:pt x="7641" y="571"/>
                    <a:pt x="7582" y="534"/>
                  </a:cubicBezTo>
                  <a:cubicBezTo>
                    <a:pt x="7460" y="465"/>
                    <a:pt x="7347" y="399"/>
                    <a:pt x="7246" y="353"/>
                  </a:cubicBezTo>
                  <a:cubicBezTo>
                    <a:pt x="7196" y="329"/>
                    <a:pt x="7150" y="307"/>
                    <a:pt x="7109" y="287"/>
                  </a:cubicBezTo>
                  <a:cubicBezTo>
                    <a:pt x="7068" y="269"/>
                    <a:pt x="7032" y="254"/>
                    <a:pt x="7002" y="242"/>
                  </a:cubicBezTo>
                  <a:cubicBezTo>
                    <a:pt x="6942" y="217"/>
                    <a:pt x="6908" y="202"/>
                    <a:pt x="6908" y="202"/>
                  </a:cubicBezTo>
                  <a:cubicBezTo>
                    <a:pt x="6908" y="202"/>
                    <a:pt x="6893" y="198"/>
                    <a:pt x="6865" y="189"/>
                  </a:cubicBezTo>
                  <a:cubicBezTo>
                    <a:pt x="6836" y="182"/>
                    <a:pt x="6794" y="171"/>
                    <a:pt x="6741" y="158"/>
                  </a:cubicBezTo>
                  <a:cubicBezTo>
                    <a:pt x="6635" y="129"/>
                    <a:pt x="6482" y="97"/>
                    <a:pt x="6300" y="67"/>
                  </a:cubicBezTo>
                  <a:cubicBezTo>
                    <a:pt x="6209" y="55"/>
                    <a:pt x="6110" y="37"/>
                    <a:pt x="6007" y="30"/>
                  </a:cubicBezTo>
                  <a:cubicBezTo>
                    <a:pt x="5955" y="25"/>
                    <a:pt x="5902" y="20"/>
                    <a:pt x="5848" y="15"/>
                  </a:cubicBezTo>
                  <a:cubicBezTo>
                    <a:pt x="5793" y="11"/>
                    <a:pt x="5738" y="9"/>
                    <a:pt x="5682" y="7"/>
                  </a:cubicBezTo>
                  <a:cubicBezTo>
                    <a:pt x="5570" y="0"/>
                    <a:pt x="5456" y="1"/>
                    <a:pt x="5340" y="1"/>
                  </a:cubicBezTo>
                  <a:cubicBezTo>
                    <a:pt x="5224" y="3"/>
                    <a:pt x="5094" y="9"/>
                    <a:pt x="4982" y="16"/>
                  </a:cubicBezTo>
                  <a:cubicBezTo>
                    <a:pt x="4929" y="21"/>
                    <a:pt x="4876" y="26"/>
                    <a:pt x="4824" y="31"/>
                  </a:cubicBezTo>
                  <a:cubicBezTo>
                    <a:pt x="4785" y="35"/>
                    <a:pt x="4785" y="35"/>
                    <a:pt x="4785" y="35"/>
                  </a:cubicBezTo>
                  <a:cubicBezTo>
                    <a:pt x="4765" y="36"/>
                    <a:pt x="4765" y="36"/>
                    <a:pt x="4765" y="36"/>
                  </a:cubicBezTo>
                  <a:cubicBezTo>
                    <a:pt x="4755" y="37"/>
                    <a:pt x="4755" y="37"/>
                    <a:pt x="4755" y="37"/>
                  </a:cubicBezTo>
                  <a:cubicBezTo>
                    <a:pt x="4753" y="38"/>
                    <a:pt x="4753" y="38"/>
                    <a:pt x="4753" y="38"/>
                  </a:cubicBezTo>
                  <a:cubicBezTo>
                    <a:pt x="4752" y="38"/>
                    <a:pt x="4752" y="38"/>
                    <a:pt x="4752" y="38"/>
                  </a:cubicBezTo>
                  <a:cubicBezTo>
                    <a:pt x="4728" y="38"/>
                    <a:pt x="4745" y="38"/>
                    <a:pt x="4739" y="38"/>
                  </a:cubicBezTo>
                  <a:cubicBezTo>
                    <a:pt x="4734" y="38"/>
                    <a:pt x="4734" y="38"/>
                    <a:pt x="4734" y="38"/>
                  </a:cubicBezTo>
                  <a:cubicBezTo>
                    <a:pt x="4656" y="47"/>
                    <a:pt x="4656" y="47"/>
                    <a:pt x="4656" y="47"/>
                  </a:cubicBezTo>
                  <a:cubicBezTo>
                    <a:pt x="4553" y="59"/>
                    <a:pt x="4451" y="71"/>
                    <a:pt x="4353" y="82"/>
                  </a:cubicBezTo>
                  <a:cubicBezTo>
                    <a:pt x="4156" y="105"/>
                    <a:pt x="3972" y="126"/>
                    <a:pt x="3815" y="145"/>
                  </a:cubicBezTo>
                  <a:cubicBezTo>
                    <a:pt x="3499" y="181"/>
                    <a:pt x="3289" y="205"/>
                    <a:pt x="3289" y="205"/>
                  </a:cubicBezTo>
                  <a:cubicBezTo>
                    <a:pt x="2803" y="262"/>
                    <a:pt x="2803" y="262"/>
                    <a:pt x="2803" y="262"/>
                  </a:cubicBezTo>
                  <a:cubicBezTo>
                    <a:pt x="2012" y="353"/>
                    <a:pt x="2012" y="353"/>
                    <a:pt x="2012" y="353"/>
                  </a:cubicBezTo>
                  <a:cubicBezTo>
                    <a:pt x="1776" y="380"/>
                    <a:pt x="1520" y="405"/>
                    <a:pt x="1248" y="426"/>
                  </a:cubicBezTo>
                  <a:cubicBezTo>
                    <a:pt x="1167" y="431"/>
                    <a:pt x="1070" y="444"/>
                    <a:pt x="977" y="489"/>
                  </a:cubicBezTo>
                  <a:cubicBezTo>
                    <a:pt x="883" y="531"/>
                    <a:pt x="793" y="610"/>
                    <a:pt x="743" y="702"/>
                  </a:cubicBezTo>
                  <a:cubicBezTo>
                    <a:pt x="641" y="885"/>
                    <a:pt x="655" y="1073"/>
                    <a:pt x="663" y="1219"/>
                  </a:cubicBezTo>
                  <a:cubicBezTo>
                    <a:pt x="691" y="1818"/>
                    <a:pt x="706" y="2467"/>
                    <a:pt x="706" y="3136"/>
                  </a:cubicBezTo>
                  <a:cubicBezTo>
                    <a:pt x="706" y="4473"/>
                    <a:pt x="646" y="5731"/>
                    <a:pt x="537" y="6677"/>
                  </a:cubicBezTo>
                  <a:cubicBezTo>
                    <a:pt x="8" y="11246"/>
                    <a:pt x="8" y="11246"/>
                    <a:pt x="8" y="11246"/>
                  </a:cubicBezTo>
                  <a:cubicBezTo>
                    <a:pt x="0" y="11314"/>
                    <a:pt x="0" y="11314"/>
                    <a:pt x="0" y="11314"/>
                  </a:cubicBezTo>
                  <a:cubicBezTo>
                    <a:pt x="0" y="11949"/>
                    <a:pt x="0" y="11949"/>
                    <a:pt x="0" y="11949"/>
                  </a:cubicBezTo>
                  <a:cubicBezTo>
                    <a:pt x="0" y="11949"/>
                    <a:pt x="0" y="14002"/>
                    <a:pt x="0" y="16055"/>
                  </a:cubicBezTo>
                  <a:cubicBezTo>
                    <a:pt x="0" y="16151"/>
                    <a:pt x="0" y="16151"/>
                    <a:pt x="0" y="16151"/>
                  </a:cubicBezTo>
                  <a:cubicBezTo>
                    <a:pt x="2" y="16261"/>
                    <a:pt x="2" y="16261"/>
                    <a:pt x="2" y="16261"/>
                  </a:cubicBezTo>
                  <a:cubicBezTo>
                    <a:pt x="2" y="16336"/>
                    <a:pt x="6" y="16412"/>
                    <a:pt x="10" y="16488"/>
                  </a:cubicBezTo>
                  <a:cubicBezTo>
                    <a:pt x="19" y="16640"/>
                    <a:pt x="37" y="16795"/>
                    <a:pt x="61" y="16948"/>
                  </a:cubicBezTo>
                  <a:cubicBezTo>
                    <a:pt x="113" y="17256"/>
                    <a:pt x="196" y="17565"/>
                    <a:pt x="325" y="17854"/>
                  </a:cubicBezTo>
                  <a:cubicBezTo>
                    <a:pt x="387" y="17999"/>
                    <a:pt x="463" y="18137"/>
                    <a:pt x="544" y="18269"/>
                  </a:cubicBezTo>
                  <a:cubicBezTo>
                    <a:pt x="586" y="18334"/>
                    <a:pt x="627" y="18399"/>
                    <a:pt x="673" y="18459"/>
                  </a:cubicBezTo>
                  <a:cubicBezTo>
                    <a:pt x="695" y="18490"/>
                    <a:pt x="718" y="18520"/>
                    <a:pt x="741" y="18550"/>
                  </a:cubicBezTo>
                  <a:cubicBezTo>
                    <a:pt x="762" y="18578"/>
                    <a:pt x="793" y="18613"/>
                    <a:pt x="818" y="18644"/>
                  </a:cubicBezTo>
                  <a:cubicBezTo>
                    <a:pt x="859" y="18691"/>
                    <a:pt x="859" y="18691"/>
                    <a:pt x="859" y="18691"/>
                  </a:cubicBezTo>
                  <a:cubicBezTo>
                    <a:pt x="872" y="18706"/>
                    <a:pt x="888" y="18725"/>
                    <a:pt x="896" y="18732"/>
                  </a:cubicBezTo>
                  <a:cubicBezTo>
                    <a:pt x="914" y="18752"/>
                    <a:pt x="933" y="18772"/>
                    <a:pt x="951" y="18791"/>
                  </a:cubicBezTo>
                  <a:cubicBezTo>
                    <a:pt x="979" y="18820"/>
                    <a:pt x="979" y="18820"/>
                    <a:pt x="979" y="18820"/>
                  </a:cubicBezTo>
                  <a:cubicBezTo>
                    <a:pt x="999" y="18841"/>
                    <a:pt x="999" y="18841"/>
                    <a:pt x="999" y="18841"/>
                  </a:cubicBezTo>
                  <a:cubicBezTo>
                    <a:pt x="1004" y="18845"/>
                    <a:pt x="1004" y="18845"/>
                    <a:pt x="1004" y="18845"/>
                  </a:cubicBezTo>
                  <a:cubicBezTo>
                    <a:pt x="1014" y="18855"/>
                    <a:pt x="1014" y="18855"/>
                    <a:pt x="1014" y="18855"/>
                  </a:cubicBezTo>
                  <a:cubicBezTo>
                    <a:pt x="1033" y="18873"/>
                    <a:pt x="1033" y="18873"/>
                    <a:pt x="1033" y="18873"/>
                  </a:cubicBezTo>
                  <a:cubicBezTo>
                    <a:pt x="1058" y="18897"/>
                    <a:pt x="1084" y="18921"/>
                    <a:pt x="1109" y="18945"/>
                  </a:cubicBezTo>
                  <a:cubicBezTo>
                    <a:pt x="1160" y="18991"/>
                    <a:pt x="1213" y="19035"/>
                    <a:pt x="1265" y="19077"/>
                  </a:cubicBezTo>
                  <a:cubicBezTo>
                    <a:pt x="1318" y="19118"/>
                    <a:pt x="1370" y="19159"/>
                    <a:pt x="1423" y="19195"/>
                  </a:cubicBezTo>
                  <a:cubicBezTo>
                    <a:pt x="1635" y="19343"/>
                    <a:pt x="1845" y="19451"/>
                    <a:pt x="2033" y="19531"/>
                  </a:cubicBezTo>
                  <a:cubicBezTo>
                    <a:pt x="2222" y="19609"/>
                    <a:pt x="2390" y="19659"/>
                    <a:pt x="2527" y="19696"/>
                  </a:cubicBezTo>
                  <a:cubicBezTo>
                    <a:pt x="2596" y="19713"/>
                    <a:pt x="2658" y="19726"/>
                    <a:pt x="2711" y="19739"/>
                  </a:cubicBezTo>
                  <a:cubicBezTo>
                    <a:pt x="2764" y="19748"/>
                    <a:pt x="2810" y="19757"/>
                    <a:pt x="2846" y="19764"/>
                  </a:cubicBezTo>
                  <a:cubicBezTo>
                    <a:pt x="2883" y="19770"/>
                    <a:pt x="2911" y="19775"/>
                    <a:pt x="2930" y="19777"/>
                  </a:cubicBezTo>
                  <a:cubicBezTo>
                    <a:pt x="2949" y="19780"/>
                    <a:pt x="2959" y="19781"/>
                    <a:pt x="2959" y="19781"/>
                  </a:cubicBezTo>
                  <a:cubicBezTo>
                    <a:pt x="2757" y="19712"/>
                    <a:pt x="2608" y="19634"/>
                    <a:pt x="2516" y="19564"/>
                  </a:cubicBezTo>
                  <a:cubicBezTo>
                    <a:pt x="2422" y="19494"/>
                    <a:pt x="2384" y="19434"/>
                    <a:pt x="2398" y="19390"/>
                  </a:cubicBezTo>
                  <a:cubicBezTo>
                    <a:pt x="2398" y="19389"/>
                    <a:pt x="2398" y="19389"/>
                    <a:pt x="2398" y="19389"/>
                  </a:cubicBezTo>
                  <a:cubicBezTo>
                    <a:pt x="2408" y="19357"/>
                    <a:pt x="2447" y="19337"/>
                    <a:pt x="2510" y="19320"/>
                  </a:cubicBezTo>
                  <a:cubicBezTo>
                    <a:pt x="2623" y="19292"/>
                    <a:pt x="2814" y="19285"/>
                    <a:pt x="3071" y="19268"/>
                  </a:cubicBezTo>
                  <a:cubicBezTo>
                    <a:pt x="3136" y="19264"/>
                    <a:pt x="3204" y="19257"/>
                    <a:pt x="3276" y="19251"/>
                  </a:cubicBezTo>
                  <a:cubicBezTo>
                    <a:pt x="3348" y="19246"/>
                    <a:pt x="3429" y="19237"/>
                    <a:pt x="3507" y="19228"/>
                  </a:cubicBezTo>
                  <a:cubicBezTo>
                    <a:pt x="3588" y="19217"/>
                    <a:pt x="3669" y="19207"/>
                    <a:pt x="3751" y="19196"/>
                  </a:cubicBezTo>
                  <a:cubicBezTo>
                    <a:pt x="3839" y="19185"/>
                    <a:pt x="3927" y="19174"/>
                    <a:pt x="4017" y="19163"/>
                  </a:cubicBezTo>
                  <a:cubicBezTo>
                    <a:pt x="4017" y="19163"/>
                    <a:pt x="4394" y="19119"/>
                    <a:pt x="4961" y="19053"/>
                  </a:cubicBezTo>
                  <a:cubicBezTo>
                    <a:pt x="5102" y="19037"/>
                    <a:pt x="5256" y="19019"/>
                    <a:pt x="5418" y="19001"/>
                  </a:cubicBezTo>
                  <a:cubicBezTo>
                    <a:pt x="5497" y="18992"/>
                    <a:pt x="5575" y="18969"/>
                    <a:pt x="5634" y="18926"/>
                  </a:cubicBezTo>
                  <a:cubicBezTo>
                    <a:pt x="5693" y="18882"/>
                    <a:pt x="5728" y="18819"/>
                    <a:pt x="5743" y="18745"/>
                  </a:cubicBezTo>
                  <a:cubicBezTo>
                    <a:pt x="5751" y="18709"/>
                    <a:pt x="5753" y="18670"/>
                    <a:pt x="5754" y="18631"/>
                  </a:cubicBezTo>
                  <a:cubicBezTo>
                    <a:pt x="5754" y="18611"/>
                    <a:pt x="5753" y="18593"/>
                    <a:pt x="5752" y="18573"/>
                  </a:cubicBezTo>
                  <a:cubicBezTo>
                    <a:pt x="5750" y="18552"/>
                    <a:pt x="5748" y="18524"/>
                    <a:pt x="5745" y="18508"/>
                  </a:cubicBezTo>
                  <a:cubicBezTo>
                    <a:pt x="5735" y="18417"/>
                    <a:pt x="5724" y="18325"/>
                    <a:pt x="5713" y="18232"/>
                  </a:cubicBezTo>
                  <a:cubicBezTo>
                    <a:pt x="5692" y="18046"/>
                    <a:pt x="5670" y="17857"/>
                    <a:pt x="5648" y="17668"/>
                  </a:cubicBezTo>
                  <a:cubicBezTo>
                    <a:pt x="5474" y="16158"/>
                    <a:pt x="5299" y="14647"/>
                    <a:pt x="5299" y="14647"/>
                  </a:cubicBezTo>
                  <a:cubicBezTo>
                    <a:pt x="5272" y="14411"/>
                    <a:pt x="5247" y="14155"/>
                    <a:pt x="5226" y="13883"/>
                  </a:cubicBezTo>
                  <a:cubicBezTo>
                    <a:pt x="5216" y="13747"/>
                    <a:pt x="5206" y="13608"/>
                    <a:pt x="5197" y="13464"/>
                  </a:cubicBezTo>
                  <a:cubicBezTo>
                    <a:pt x="5193" y="13392"/>
                    <a:pt x="5189" y="13319"/>
                    <a:pt x="5184" y="13247"/>
                  </a:cubicBezTo>
                  <a:cubicBezTo>
                    <a:pt x="5179" y="13135"/>
                    <a:pt x="5179" y="13135"/>
                    <a:pt x="5179" y="13135"/>
                  </a:cubicBezTo>
                  <a:cubicBezTo>
                    <a:pt x="5176" y="13002"/>
                    <a:pt x="5176" y="13002"/>
                    <a:pt x="5176" y="13002"/>
                  </a:cubicBezTo>
                  <a:cubicBezTo>
                    <a:pt x="5175" y="12824"/>
                    <a:pt x="5185" y="12638"/>
                    <a:pt x="5212" y="12448"/>
                  </a:cubicBezTo>
                  <a:cubicBezTo>
                    <a:pt x="5239" y="12258"/>
                    <a:pt x="5284" y="12063"/>
                    <a:pt x="5350" y="11869"/>
                  </a:cubicBezTo>
                  <a:cubicBezTo>
                    <a:pt x="5415" y="11675"/>
                    <a:pt x="5501" y="11482"/>
                    <a:pt x="5608" y="11298"/>
                  </a:cubicBezTo>
                  <a:cubicBezTo>
                    <a:pt x="5662" y="11206"/>
                    <a:pt x="5721" y="11117"/>
                    <a:pt x="5784" y="11030"/>
                  </a:cubicBezTo>
                  <a:cubicBezTo>
                    <a:pt x="5817" y="10987"/>
                    <a:pt x="5845" y="10947"/>
                    <a:pt x="5885" y="10900"/>
                  </a:cubicBezTo>
                  <a:cubicBezTo>
                    <a:pt x="5943" y="10832"/>
                    <a:pt x="5943" y="10832"/>
                    <a:pt x="5943" y="10832"/>
                  </a:cubicBezTo>
                  <a:cubicBezTo>
                    <a:pt x="5972" y="10798"/>
                    <a:pt x="5972" y="10798"/>
                    <a:pt x="5972" y="10798"/>
                  </a:cubicBezTo>
                  <a:cubicBezTo>
                    <a:pt x="5994" y="10774"/>
                    <a:pt x="5994" y="10774"/>
                    <a:pt x="5994" y="10774"/>
                  </a:cubicBezTo>
                  <a:cubicBezTo>
                    <a:pt x="6044" y="10720"/>
                    <a:pt x="6044" y="10720"/>
                    <a:pt x="6044" y="10720"/>
                  </a:cubicBezTo>
                  <a:cubicBezTo>
                    <a:pt x="6083" y="10679"/>
                    <a:pt x="6083" y="10679"/>
                    <a:pt x="6083" y="10679"/>
                  </a:cubicBezTo>
                  <a:cubicBezTo>
                    <a:pt x="6116" y="10647"/>
                    <a:pt x="6116" y="10647"/>
                    <a:pt x="6116" y="10647"/>
                  </a:cubicBezTo>
                  <a:cubicBezTo>
                    <a:pt x="6161" y="10603"/>
                    <a:pt x="6205" y="10560"/>
                    <a:pt x="6253" y="10519"/>
                  </a:cubicBezTo>
                  <a:cubicBezTo>
                    <a:pt x="6415" y="10382"/>
                    <a:pt x="6616" y="10242"/>
                    <a:pt x="6853" y="10126"/>
                  </a:cubicBezTo>
                  <a:cubicBezTo>
                    <a:pt x="7090" y="10008"/>
                    <a:pt x="7365" y="9919"/>
                    <a:pt x="7656" y="9867"/>
                  </a:cubicBezTo>
                  <a:cubicBezTo>
                    <a:pt x="7801" y="9844"/>
                    <a:pt x="7951" y="9826"/>
                    <a:pt x="8102" y="9822"/>
                  </a:cubicBezTo>
                  <a:cubicBezTo>
                    <a:pt x="8175" y="9818"/>
                    <a:pt x="8265" y="9820"/>
                    <a:pt x="8342" y="9820"/>
                  </a:cubicBezTo>
                  <a:cubicBezTo>
                    <a:pt x="8374" y="9822"/>
                    <a:pt x="8406" y="9824"/>
                    <a:pt x="8439" y="9826"/>
                  </a:cubicBezTo>
                  <a:cubicBezTo>
                    <a:pt x="8463" y="9828"/>
                    <a:pt x="8463" y="9828"/>
                    <a:pt x="8463" y="9828"/>
                  </a:cubicBezTo>
                  <a:cubicBezTo>
                    <a:pt x="8476" y="9829"/>
                    <a:pt x="8476" y="9829"/>
                    <a:pt x="8476" y="9829"/>
                  </a:cubicBezTo>
                  <a:cubicBezTo>
                    <a:pt x="8479" y="9829"/>
                    <a:pt x="8479" y="9829"/>
                    <a:pt x="8479" y="9829"/>
                  </a:cubicBezTo>
                  <a:cubicBezTo>
                    <a:pt x="8492" y="9829"/>
                    <a:pt x="8492" y="9829"/>
                    <a:pt x="8492" y="9829"/>
                  </a:cubicBezTo>
                  <a:cubicBezTo>
                    <a:pt x="8493" y="9829"/>
                    <a:pt x="8493" y="9829"/>
                    <a:pt x="8493" y="9829"/>
                  </a:cubicBezTo>
                  <a:cubicBezTo>
                    <a:pt x="8495" y="9829"/>
                    <a:pt x="8495" y="9829"/>
                    <a:pt x="8495" y="9829"/>
                  </a:cubicBezTo>
                  <a:cubicBezTo>
                    <a:pt x="8502" y="9830"/>
                    <a:pt x="8502" y="9830"/>
                    <a:pt x="8502" y="9830"/>
                  </a:cubicBezTo>
                  <a:cubicBezTo>
                    <a:pt x="8558" y="9834"/>
                    <a:pt x="8558" y="9834"/>
                    <a:pt x="8558" y="9834"/>
                  </a:cubicBezTo>
                  <a:cubicBezTo>
                    <a:pt x="8860" y="9861"/>
                    <a:pt x="9172" y="9920"/>
                    <a:pt x="9478" y="10016"/>
                  </a:cubicBezTo>
                  <a:cubicBezTo>
                    <a:pt x="9712" y="10090"/>
                    <a:pt x="9942" y="10184"/>
                    <a:pt x="10165" y="10297"/>
                  </a:cubicBezTo>
                  <a:cubicBezTo>
                    <a:pt x="10388" y="10410"/>
                    <a:pt x="10592" y="10535"/>
                    <a:pt x="10795" y="10668"/>
                  </a:cubicBezTo>
                  <a:cubicBezTo>
                    <a:pt x="10926" y="10755"/>
                    <a:pt x="11056" y="10846"/>
                    <a:pt x="11183" y="10940"/>
                  </a:cubicBezTo>
                  <a:cubicBezTo>
                    <a:pt x="11305" y="11032"/>
                    <a:pt x="11424" y="11126"/>
                    <a:pt x="11541" y="11224"/>
                  </a:cubicBezTo>
                  <a:cubicBezTo>
                    <a:pt x="11700" y="11356"/>
                    <a:pt x="11854" y="11495"/>
                    <a:pt x="12000" y="11635"/>
                  </a:cubicBezTo>
                  <a:cubicBezTo>
                    <a:pt x="12453" y="12069"/>
                    <a:pt x="12872" y="12525"/>
                    <a:pt x="13241" y="12976"/>
                  </a:cubicBezTo>
                  <a:cubicBezTo>
                    <a:pt x="13589" y="13401"/>
                    <a:pt x="13926" y="13800"/>
                    <a:pt x="14240" y="14156"/>
                  </a:cubicBezTo>
                  <a:cubicBezTo>
                    <a:pt x="14552" y="14507"/>
                    <a:pt x="14828" y="14831"/>
                    <a:pt x="15059" y="15096"/>
                  </a:cubicBezTo>
                  <a:cubicBezTo>
                    <a:pt x="15074" y="15118"/>
                    <a:pt x="15074" y="15118"/>
                    <a:pt x="15074" y="15118"/>
                  </a:cubicBezTo>
                  <a:cubicBezTo>
                    <a:pt x="15302" y="15381"/>
                    <a:pt x="15523" y="15635"/>
                    <a:pt x="15715" y="15856"/>
                  </a:cubicBezTo>
                  <a:cubicBezTo>
                    <a:pt x="15722" y="15864"/>
                    <a:pt x="15729" y="15872"/>
                    <a:pt x="15736" y="15880"/>
                  </a:cubicBezTo>
                  <a:cubicBezTo>
                    <a:pt x="15736" y="15880"/>
                    <a:pt x="15943" y="16118"/>
                    <a:pt x="16159" y="16349"/>
                  </a:cubicBezTo>
                  <a:cubicBezTo>
                    <a:pt x="16374" y="16582"/>
                    <a:pt x="16599" y="16807"/>
                    <a:pt x="16599" y="16807"/>
                  </a:cubicBezTo>
                  <a:cubicBezTo>
                    <a:pt x="16599" y="16807"/>
                    <a:pt x="16641" y="16849"/>
                    <a:pt x="16704" y="16913"/>
                  </a:cubicBezTo>
                  <a:cubicBezTo>
                    <a:pt x="16768" y="16975"/>
                    <a:pt x="16854" y="17058"/>
                    <a:pt x="16939" y="17141"/>
                  </a:cubicBezTo>
                  <a:cubicBezTo>
                    <a:pt x="17029" y="17226"/>
                    <a:pt x="17121" y="17310"/>
                    <a:pt x="17192" y="17372"/>
                  </a:cubicBezTo>
                  <a:cubicBezTo>
                    <a:pt x="17263" y="17433"/>
                    <a:pt x="17310" y="17474"/>
                    <a:pt x="17310" y="17474"/>
                  </a:cubicBezTo>
                  <a:cubicBezTo>
                    <a:pt x="17310" y="17474"/>
                    <a:pt x="17589" y="17712"/>
                    <a:pt x="17901" y="17925"/>
                  </a:cubicBezTo>
                  <a:cubicBezTo>
                    <a:pt x="17979" y="17978"/>
                    <a:pt x="18058" y="18030"/>
                    <a:pt x="18134" y="18077"/>
                  </a:cubicBezTo>
                  <a:cubicBezTo>
                    <a:pt x="18209" y="18122"/>
                    <a:pt x="18278" y="18165"/>
                    <a:pt x="18338" y="18201"/>
                  </a:cubicBezTo>
                  <a:cubicBezTo>
                    <a:pt x="18374" y="18220"/>
                    <a:pt x="18406" y="18238"/>
                    <a:pt x="18435" y="18254"/>
                  </a:cubicBezTo>
                  <a:cubicBezTo>
                    <a:pt x="18463" y="18268"/>
                    <a:pt x="18487" y="18281"/>
                    <a:pt x="18507" y="18291"/>
                  </a:cubicBezTo>
                  <a:cubicBezTo>
                    <a:pt x="18548" y="18312"/>
                    <a:pt x="18571" y="18323"/>
                    <a:pt x="18571" y="18323"/>
                  </a:cubicBezTo>
                  <a:cubicBezTo>
                    <a:pt x="18571" y="18323"/>
                    <a:pt x="18639" y="18350"/>
                    <a:pt x="18709" y="18373"/>
                  </a:cubicBezTo>
                  <a:cubicBezTo>
                    <a:pt x="18778" y="18398"/>
                    <a:pt x="18848" y="18418"/>
                    <a:pt x="18848" y="18418"/>
                  </a:cubicBezTo>
                  <a:cubicBezTo>
                    <a:pt x="18848" y="18418"/>
                    <a:pt x="18902" y="18434"/>
                    <a:pt x="18982" y="18457"/>
                  </a:cubicBezTo>
                  <a:cubicBezTo>
                    <a:pt x="19064" y="18478"/>
                    <a:pt x="19172" y="18505"/>
                    <a:pt x="19282" y="18526"/>
                  </a:cubicBezTo>
                  <a:cubicBezTo>
                    <a:pt x="19501" y="18569"/>
                    <a:pt x="19723" y="18587"/>
                    <a:pt x="19723" y="18587"/>
                  </a:cubicBezTo>
                  <a:cubicBezTo>
                    <a:pt x="19723" y="18587"/>
                    <a:pt x="19609" y="18567"/>
                    <a:pt x="19496" y="18539"/>
                  </a:cubicBezTo>
                  <a:cubicBezTo>
                    <a:pt x="19383" y="18513"/>
                    <a:pt x="19273" y="18479"/>
                    <a:pt x="19273" y="18479"/>
                  </a:cubicBezTo>
                  <a:cubicBezTo>
                    <a:pt x="19273" y="18479"/>
                    <a:pt x="19193" y="18457"/>
                    <a:pt x="19076" y="18416"/>
                  </a:cubicBezTo>
                  <a:cubicBezTo>
                    <a:pt x="18959" y="18375"/>
                    <a:pt x="18806" y="18314"/>
                    <a:pt x="18659" y="18243"/>
                  </a:cubicBezTo>
                  <a:cubicBezTo>
                    <a:pt x="18515" y="18174"/>
                    <a:pt x="18365" y="18090"/>
                    <a:pt x="18281" y="18037"/>
                  </a:cubicBezTo>
                  <a:cubicBezTo>
                    <a:pt x="18229" y="18006"/>
                    <a:pt x="18188" y="17981"/>
                    <a:pt x="18161" y="17963"/>
                  </a:cubicBezTo>
                  <a:cubicBezTo>
                    <a:pt x="18133" y="17946"/>
                    <a:pt x="18117" y="17936"/>
                    <a:pt x="18117" y="17936"/>
                  </a:cubicBezTo>
                  <a:cubicBezTo>
                    <a:pt x="17767" y="17708"/>
                    <a:pt x="17536" y="17496"/>
                    <a:pt x="17402" y="17338"/>
                  </a:cubicBezTo>
                  <a:cubicBezTo>
                    <a:pt x="17282" y="17197"/>
                    <a:pt x="17240" y="17098"/>
                    <a:pt x="17272" y="17054"/>
                  </a:cubicBezTo>
                  <a:cubicBezTo>
                    <a:pt x="17305" y="17009"/>
                    <a:pt x="17409" y="17021"/>
                    <a:pt x="17579" y="17076"/>
                  </a:cubicBezTo>
                  <a:cubicBezTo>
                    <a:pt x="17722" y="17122"/>
                    <a:pt x="17911" y="17198"/>
                    <a:pt x="18148" y="17290"/>
                  </a:cubicBezTo>
                  <a:cubicBezTo>
                    <a:pt x="18230" y="17321"/>
                    <a:pt x="18312" y="17353"/>
                    <a:pt x="18396" y="17385"/>
                  </a:cubicBezTo>
                  <a:cubicBezTo>
                    <a:pt x="18396" y="17385"/>
                    <a:pt x="18462" y="17410"/>
                    <a:pt x="18578" y="17449"/>
                  </a:cubicBezTo>
                  <a:cubicBezTo>
                    <a:pt x="18695" y="17488"/>
                    <a:pt x="18861" y="17540"/>
                    <a:pt x="19064" y="17578"/>
                  </a:cubicBezTo>
                  <a:cubicBezTo>
                    <a:pt x="19267" y="17617"/>
                    <a:pt x="19505" y="17643"/>
                    <a:pt x="19758" y="17637"/>
                  </a:cubicBezTo>
                  <a:cubicBezTo>
                    <a:pt x="20009" y="17632"/>
                    <a:pt x="20277" y="17598"/>
                    <a:pt x="20529" y="17534"/>
                  </a:cubicBezTo>
                  <a:cubicBezTo>
                    <a:pt x="20783" y="17471"/>
                    <a:pt x="21023" y="17375"/>
                    <a:pt x="21234" y="17263"/>
                  </a:cubicBezTo>
                  <a:cubicBezTo>
                    <a:pt x="21287" y="17235"/>
                    <a:pt x="21329" y="17210"/>
                    <a:pt x="21388" y="17177"/>
                  </a:cubicBezTo>
                  <a:cubicBezTo>
                    <a:pt x="21434" y="17148"/>
                    <a:pt x="21487" y="17116"/>
                    <a:pt x="21533" y="17086"/>
                  </a:cubicBezTo>
                  <a:cubicBezTo>
                    <a:pt x="21628" y="17025"/>
                    <a:pt x="21716" y="16965"/>
                    <a:pt x="21796" y="16907"/>
                  </a:cubicBezTo>
                  <a:cubicBezTo>
                    <a:pt x="21955" y="16792"/>
                    <a:pt x="22083" y="16689"/>
                    <a:pt x="22170" y="16615"/>
                  </a:cubicBezTo>
                  <a:cubicBezTo>
                    <a:pt x="22258" y="16541"/>
                    <a:pt x="22307" y="16497"/>
                    <a:pt x="22307" y="16497"/>
                  </a:cubicBezTo>
                  <a:cubicBezTo>
                    <a:pt x="22485" y="16341"/>
                    <a:pt x="22682" y="16158"/>
                    <a:pt x="22901" y="15958"/>
                  </a:cubicBezTo>
                  <a:cubicBezTo>
                    <a:pt x="23118" y="15759"/>
                    <a:pt x="23350" y="15545"/>
                    <a:pt x="23591" y="15319"/>
                  </a:cubicBezTo>
                  <a:cubicBezTo>
                    <a:pt x="23691" y="15224"/>
                    <a:pt x="23793" y="15129"/>
                    <a:pt x="23895" y="15033"/>
                  </a:cubicBezTo>
                  <a:cubicBezTo>
                    <a:pt x="24001" y="14935"/>
                    <a:pt x="24108" y="14836"/>
                    <a:pt x="24216" y="14737"/>
                  </a:cubicBezTo>
                  <a:cubicBezTo>
                    <a:pt x="24402" y="14567"/>
                    <a:pt x="24588" y="14402"/>
                    <a:pt x="24770" y="14243"/>
                  </a:cubicBezTo>
                  <a:cubicBezTo>
                    <a:pt x="24861" y="14165"/>
                    <a:pt x="24952" y="14088"/>
                    <a:pt x="25042" y="14010"/>
                  </a:cubicBezTo>
                  <a:cubicBezTo>
                    <a:pt x="25133" y="13934"/>
                    <a:pt x="25223" y="13858"/>
                    <a:pt x="25313" y="13782"/>
                  </a:cubicBezTo>
                  <a:cubicBezTo>
                    <a:pt x="25660" y="13506"/>
                    <a:pt x="25981" y="13251"/>
                    <a:pt x="26265" y="13039"/>
                  </a:cubicBezTo>
                  <a:cubicBezTo>
                    <a:pt x="26265" y="13039"/>
                    <a:pt x="26320" y="12997"/>
                    <a:pt x="26417" y="12924"/>
                  </a:cubicBezTo>
                  <a:cubicBezTo>
                    <a:pt x="26514" y="12850"/>
                    <a:pt x="26653" y="12744"/>
                    <a:pt x="26820" y="12616"/>
                  </a:cubicBezTo>
                  <a:cubicBezTo>
                    <a:pt x="27162" y="12354"/>
                    <a:pt x="27631" y="12024"/>
                    <a:pt x="28115" y="11727"/>
                  </a:cubicBezTo>
                  <a:cubicBezTo>
                    <a:pt x="28176" y="11690"/>
                    <a:pt x="28237" y="11653"/>
                    <a:pt x="28297" y="11617"/>
                  </a:cubicBezTo>
                  <a:cubicBezTo>
                    <a:pt x="28359" y="11580"/>
                    <a:pt x="28419" y="11544"/>
                    <a:pt x="28481" y="11509"/>
                  </a:cubicBezTo>
                  <a:cubicBezTo>
                    <a:pt x="28603" y="11440"/>
                    <a:pt x="28725" y="11374"/>
                    <a:pt x="28844" y="11313"/>
                  </a:cubicBezTo>
                  <a:cubicBezTo>
                    <a:pt x="29082" y="11192"/>
                    <a:pt x="29308" y="11091"/>
                    <a:pt x="29504" y="11012"/>
                  </a:cubicBezTo>
                  <a:cubicBezTo>
                    <a:pt x="29897" y="10855"/>
                    <a:pt x="30166" y="10780"/>
                    <a:pt x="30166" y="10780"/>
                  </a:cubicBezTo>
                  <a:cubicBezTo>
                    <a:pt x="30510" y="10681"/>
                    <a:pt x="30786" y="10661"/>
                    <a:pt x="30972" y="10676"/>
                  </a:cubicBezTo>
                  <a:cubicBezTo>
                    <a:pt x="31159" y="10692"/>
                    <a:pt x="31256" y="10740"/>
                    <a:pt x="31264" y="10797"/>
                  </a:cubicBezTo>
                  <a:cubicBezTo>
                    <a:pt x="31270" y="10849"/>
                    <a:pt x="31205" y="10907"/>
                    <a:pt x="31083" y="10978"/>
                  </a:cubicBezTo>
                  <a:cubicBezTo>
                    <a:pt x="30961" y="11050"/>
                    <a:pt x="30783" y="11136"/>
                    <a:pt x="30564" y="11258"/>
                  </a:cubicBezTo>
                  <a:cubicBezTo>
                    <a:pt x="30513" y="11286"/>
                    <a:pt x="30460" y="11316"/>
                    <a:pt x="30405" y="11349"/>
                  </a:cubicBezTo>
                  <a:cubicBezTo>
                    <a:pt x="30405" y="11349"/>
                    <a:pt x="30389" y="11359"/>
                    <a:pt x="30360" y="11376"/>
                  </a:cubicBezTo>
                  <a:cubicBezTo>
                    <a:pt x="30329" y="11395"/>
                    <a:pt x="30286" y="11422"/>
                    <a:pt x="30234" y="11454"/>
                  </a:cubicBezTo>
                  <a:cubicBezTo>
                    <a:pt x="30203" y="11472"/>
                    <a:pt x="30180" y="11489"/>
                    <a:pt x="30151" y="11507"/>
                  </a:cubicBezTo>
                  <a:cubicBezTo>
                    <a:pt x="30122" y="11527"/>
                    <a:pt x="30091" y="11547"/>
                    <a:pt x="30060" y="11568"/>
                  </a:cubicBezTo>
                  <a:cubicBezTo>
                    <a:pt x="29996" y="11611"/>
                    <a:pt x="29929" y="11658"/>
                    <a:pt x="29862" y="11706"/>
                  </a:cubicBezTo>
                  <a:cubicBezTo>
                    <a:pt x="29596" y="11897"/>
                    <a:pt x="29350" y="12112"/>
                    <a:pt x="29350" y="12112"/>
                  </a:cubicBezTo>
                  <a:cubicBezTo>
                    <a:pt x="29330" y="12130"/>
                    <a:pt x="29330" y="12130"/>
                    <a:pt x="29330" y="12130"/>
                  </a:cubicBezTo>
                  <a:cubicBezTo>
                    <a:pt x="29374" y="12100"/>
                    <a:pt x="29374" y="12100"/>
                    <a:pt x="29374" y="12100"/>
                  </a:cubicBezTo>
                  <a:cubicBezTo>
                    <a:pt x="29374" y="12100"/>
                    <a:pt x="29543" y="11988"/>
                    <a:pt x="29717" y="11887"/>
                  </a:cubicBezTo>
                  <a:cubicBezTo>
                    <a:pt x="29891" y="11785"/>
                    <a:pt x="30070" y="11693"/>
                    <a:pt x="30070" y="11693"/>
                  </a:cubicBezTo>
                  <a:cubicBezTo>
                    <a:pt x="30220" y="11592"/>
                    <a:pt x="30220" y="11592"/>
                    <a:pt x="30220" y="11592"/>
                  </a:cubicBezTo>
                  <a:cubicBezTo>
                    <a:pt x="30255" y="11567"/>
                    <a:pt x="30325" y="11528"/>
                    <a:pt x="30362" y="11504"/>
                  </a:cubicBezTo>
                  <a:cubicBezTo>
                    <a:pt x="30406" y="11477"/>
                    <a:pt x="30452" y="11451"/>
                    <a:pt x="30498" y="11425"/>
                  </a:cubicBezTo>
                  <a:cubicBezTo>
                    <a:pt x="30592" y="11375"/>
                    <a:pt x="30692" y="11327"/>
                    <a:pt x="30796" y="11285"/>
                  </a:cubicBezTo>
                  <a:cubicBezTo>
                    <a:pt x="31006" y="11201"/>
                    <a:pt x="31237" y="11137"/>
                    <a:pt x="31485" y="11104"/>
                  </a:cubicBezTo>
                  <a:cubicBezTo>
                    <a:pt x="31515" y="11100"/>
                    <a:pt x="31548" y="11096"/>
                    <a:pt x="31575" y="11093"/>
                  </a:cubicBezTo>
                  <a:cubicBezTo>
                    <a:pt x="31618" y="11089"/>
                    <a:pt x="31618" y="11089"/>
                    <a:pt x="31618" y="11089"/>
                  </a:cubicBezTo>
                  <a:cubicBezTo>
                    <a:pt x="31631" y="11087"/>
                    <a:pt x="31654" y="11087"/>
                    <a:pt x="31672" y="11085"/>
                  </a:cubicBezTo>
                  <a:cubicBezTo>
                    <a:pt x="31729" y="11082"/>
                    <a:pt x="31729" y="11082"/>
                    <a:pt x="31729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35" y="11082"/>
                    <a:pt x="31735" y="11082"/>
                    <a:pt x="31735" y="11082"/>
                  </a:cubicBezTo>
                  <a:cubicBezTo>
                    <a:pt x="31717" y="11082"/>
                    <a:pt x="31730" y="11082"/>
                    <a:pt x="31727" y="11082"/>
                  </a:cubicBezTo>
                  <a:cubicBezTo>
                    <a:pt x="31727" y="11082"/>
                    <a:pt x="31727" y="11082"/>
                    <a:pt x="31727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45" y="11082"/>
                    <a:pt x="31745" y="11082"/>
                    <a:pt x="31745" y="11082"/>
                  </a:cubicBezTo>
                  <a:cubicBezTo>
                    <a:pt x="31768" y="11081"/>
                    <a:pt x="31768" y="11081"/>
                    <a:pt x="31768" y="11081"/>
                  </a:cubicBezTo>
                  <a:cubicBezTo>
                    <a:pt x="31800" y="11081"/>
                    <a:pt x="31832" y="11078"/>
                    <a:pt x="31863" y="11080"/>
                  </a:cubicBezTo>
                  <a:cubicBezTo>
                    <a:pt x="31988" y="11079"/>
                    <a:pt x="32112" y="11091"/>
                    <a:pt x="32233" y="11113"/>
                  </a:cubicBezTo>
                  <a:cubicBezTo>
                    <a:pt x="32476" y="11158"/>
                    <a:pt x="32705" y="11249"/>
                    <a:pt x="32909" y="11392"/>
                  </a:cubicBezTo>
                  <a:cubicBezTo>
                    <a:pt x="32947" y="11418"/>
                    <a:pt x="32982" y="11446"/>
                    <a:pt x="33017" y="11474"/>
                  </a:cubicBezTo>
                  <a:cubicBezTo>
                    <a:pt x="33036" y="11489"/>
                    <a:pt x="33048" y="11501"/>
                    <a:pt x="33063" y="11514"/>
                  </a:cubicBezTo>
                  <a:cubicBezTo>
                    <a:pt x="33085" y="11533"/>
                    <a:pt x="33085" y="11533"/>
                    <a:pt x="33085" y="11533"/>
                  </a:cubicBezTo>
                  <a:cubicBezTo>
                    <a:pt x="33096" y="11542"/>
                    <a:pt x="33096" y="11542"/>
                    <a:pt x="33096" y="11542"/>
                  </a:cubicBezTo>
                  <a:cubicBezTo>
                    <a:pt x="33111" y="11557"/>
                    <a:pt x="33111" y="11557"/>
                    <a:pt x="33111" y="11557"/>
                  </a:cubicBezTo>
                  <a:cubicBezTo>
                    <a:pt x="33174" y="11620"/>
                    <a:pt x="33174" y="11620"/>
                    <a:pt x="33174" y="11620"/>
                  </a:cubicBezTo>
                  <a:cubicBezTo>
                    <a:pt x="33190" y="11636"/>
                    <a:pt x="33190" y="11636"/>
                    <a:pt x="33190" y="11636"/>
                  </a:cubicBezTo>
                  <a:cubicBezTo>
                    <a:pt x="33185" y="11631"/>
                    <a:pt x="33201" y="11647"/>
                    <a:pt x="33179" y="11625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2" y="11628"/>
                    <a:pt x="33182" y="11628"/>
                    <a:pt x="33182" y="11628"/>
                  </a:cubicBezTo>
                  <a:cubicBezTo>
                    <a:pt x="33185" y="11631"/>
                    <a:pt x="33185" y="11631"/>
                    <a:pt x="33185" y="11631"/>
                  </a:cubicBezTo>
                  <a:cubicBezTo>
                    <a:pt x="33190" y="11638"/>
                    <a:pt x="33190" y="11638"/>
                    <a:pt x="33190" y="11638"/>
                  </a:cubicBezTo>
                  <a:cubicBezTo>
                    <a:pt x="33213" y="11663"/>
                    <a:pt x="33213" y="11663"/>
                    <a:pt x="33213" y="11663"/>
                  </a:cubicBezTo>
                  <a:cubicBezTo>
                    <a:pt x="33244" y="11696"/>
                    <a:pt x="33271" y="11731"/>
                    <a:pt x="33300" y="11766"/>
                  </a:cubicBezTo>
                  <a:cubicBezTo>
                    <a:pt x="33408" y="11907"/>
                    <a:pt x="33491" y="12057"/>
                    <a:pt x="33550" y="12215"/>
                  </a:cubicBezTo>
                  <a:cubicBezTo>
                    <a:pt x="33608" y="12373"/>
                    <a:pt x="33646" y="12537"/>
                    <a:pt x="33661" y="12703"/>
                  </a:cubicBezTo>
                  <a:cubicBezTo>
                    <a:pt x="33663" y="12745"/>
                    <a:pt x="33669" y="12786"/>
                    <a:pt x="33669" y="12828"/>
                  </a:cubicBezTo>
                  <a:cubicBezTo>
                    <a:pt x="33670" y="12869"/>
                    <a:pt x="33672" y="12912"/>
                    <a:pt x="33670" y="12947"/>
                  </a:cubicBezTo>
                  <a:cubicBezTo>
                    <a:pt x="33669" y="13000"/>
                    <a:pt x="33664" y="13147"/>
                    <a:pt x="33656" y="13211"/>
                  </a:cubicBezTo>
                  <a:cubicBezTo>
                    <a:pt x="33634" y="13519"/>
                    <a:pt x="33607" y="13809"/>
                    <a:pt x="33577" y="14073"/>
                  </a:cubicBezTo>
                  <a:cubicBezTo>
                    <a:pt x="33553" y="14277"/>
                    <a:pt x="33553" y="14277"/>
                    <a:pt x="33553" y="14277"/>
                  </a:cubicBezTo>
                  <a:cubicBezTo>
                    <a:pt x="33553" y="16173"/>
                    <a:pt x="33553" y="16173"/>
                    <a:pt x="33553" y="16173"/>
                  </a:cubicBezTo>
                  <a:cubicBezTo>
                    <a:pt x="33577" y="15274"/>
                    <a:pt x="33630" y="14449"/>
                    <a:pt x="33707" y="13779"/>
                  </a:cubicBezTo>
                  <a:cubicBezTo>
                    <a:pt x="33707" y="13779"/>
                    <a:pt x="33736" y="13531"/>
                    <a:pt x="33765" y="13283"/>
                  </a:cubicBezTo>
                  <a:cubicBezTo>
                    <a:pt x="33768" y="13252"/>
                    <a:pt x="33772" y="13221"/>
                    <a:pt x="33775" y="13190"/>
                  </a:cubicBezTo>
                  <a:cubicBezTo>
                    <a:pt x="33777" y="13175"/>
                    <a:pt x="33779" y="13160"/>
                    <a:pt x="33781" y="13145"/>
                  </a:cubicBezTo>
                  <a:cubicBezTo>
                    <a:pt x="33781" y="13144"/>
                    <a:pt x="33781" y="13144"/>
                    <a:pt x="33781" y="13144"/>
                  </a:cubicBezTo>
                  <a:cubicBezTo>
                    <a:pt x="33781" y="13143"/>
                    <a:pt x="33781" y="13143"/>
                    <a:pt x="33781" y="13143"/>
                  </a:cubicBezTo>
                  <a:cubicBezTo>
                    <a:pt x="33781" y="13140"/>
                    <a:pt x="33781" y="13165"/>
                    <a:pt x="33781" y="13154"/>
                  </a:cubicBezTo>
                  <a:cubicBezTo>
                    <a:pt x="33781" y="13154"/>
                    <a:pt x="33781" y="13154"/>
                    <a:pt x="33781" y="13154"/>
                  </a:cubicBezTo>
                  <a:cubicBezTo>
                    <a:pt x="33781" y="13151"/>
                    <a:pt x="33781" y="13151"/>
                    <a:pt x="33781" y="13151"/>
                  </a:cubicBezTo>
                  <a:cubicBezTo>
                    <a:pt x="33782" y="13145"/>
                    <a:pt x="33782" y="13145"/>
                    <a:pt x="33782" y="13145"/>
                  </a:cubicBezTo>
                  <a:cubicBezTo>
                    <a:pt x="33783" y="13134"/>
                    <a:pt x="33783" y="13134"/>
                    <a:pt x="33783" y="13134"/>
                  </a:cubicBezTo>
                  <a:cubicBezTo>
                    <a:pt x="33785" y="13112"/>
                    <a:pt x="33785" y="13112"/>
                    <a:pt x="33785" y="13112"/>
                  </a:cubicBezTo>
                  <a:cubicBezTo>
                    <a:pt x="33790" y="13059"/>
                    <a:pt x="33795" y="13009"/>
                    <a:pt x="33799" y="12966"/>
                  </a:cubicBezTo>
                  <a:cubicBezTo>
                    <a:pt x="33806" y="12896"/>
                    <a:pt x="33807" y="12842"/>
                    <a:pt x="33807" y="12842"/>
                  </a:cubicBezTo>
                  <a:cubicBezTo>
                    <a:pt x="33807" y="12842"/>
                    <a:pt x="33813" y="12740"/>
                    <a:pt x="33804" y="12590"/>
                  </a:cubicBezTo>
                  <a:cubicBezTo>
                    <a:pt x="33796" y="12440"/>
                    <a:pt x="33768" y="12241"/>
                    <a:pt x="33706" y="12050"/>
                  </a:cubicBezTo>
                  <a:cubicBezTo>
                    <a:pt x="33647" y="11857"/>
                    <a:pt x="33550" y="11675"/>
                    <a:pt x="33464" y="11543"/>
                  </a:cubicBezTo>
                  <a:cubicBezTo>
                    <a:pt x="33444" y="11510"/>
                    <a:pt x="33421" y="11481"/>
                    <a:pt x="33403" y="11455"/>
                  </a:cubicBezTo>
                  <a:cubicBezTo>
                    <a:pt x="33398" y="11448"/>
                    <a:pt x="33394" y="11442"/>
                    <a:pt x="33389" y="11435"/>
                  </a:cubicBezTo>
                  <a:cubicBezTo>
                    <a:pt x="33386" y="11431"/>
                    <a:pt x="33386" y="11431"/>
                    <a:pt x="33386" y="11431"/>
                  </a:cubicBezTo>
                  <a:cubicBezTo>
                    <a:pt x="33385" y="11429"/>
                    <a:pt x="33385" y="11429"/>
                    <a:pt x="33385" y="11429"/>
                  </a:cubicBezTo>
                  <a:cubicBezTo>
                    <a:pt x="33384" y="11427"/>
                    <a:pt x="33384" y="11427"/>
                    <a:pt x="33384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6" y="11429"/>
                    <a:pt x="33377" y="11420"/>
                    <a:pt x="33389" y="11432"/>
                  </a:cubicBezTo>
                  <a:cubicBezTo>
                    <a:pt x="33381" y="11423"/>
                    <a:pt x="33381" y="11423"/>
                    <a:pt x="33381" y="11423"/>
                  </a:cubicBezTo>
                  <a:cubicBezTo>
                    <a:pt x="33371" y="11410"/>
                    <a:pt x="33362" y="11399"/>
                    <a:pt x="33354" y="11389"/>
                  </a:cubicBezTo>
                  <a:cubicBezTo>
                    <a:pt x="33321" y="11348"/>
                    <a:pt x="33302" y="11325"/>
                    <a:pt x="33302" y="11325"/>
                  </a:cubicBezTo>
                  <a:cubicBezTo>
                    <a:pt x="33302" y="11325"/>
                    <a:pt x="33275" y="11295"/>
                    <a:pt x="33228" y="11241"/>
                  </a:cubicBezTo>
                  <a:cubicBezTo>
                    <a:pt x="33176" y="11187"/>
                    <a:pt x="33100" y="11107"/>
                    <a:pt x="32997" y="11026"/>
                  </a:cubicBezTo>
                  <a:cubicBezTo>
                    <a:pt x="32894" y="10943"/>
                    <a:pt x="32765" y="10856"/>
                    <a:pt x="32613" y="10780"/>
                  </a:cubicBezTo>
                  <a:cubicBezTo>
                    <a:pt x="32462" y="10704"/>
                    <a:pt x="32287" y="10640"/>
                    <a:pt x="32105" y="10595"/>
                  </a:cubicBezTo>
                  <a:cubicBezTo>
                    <a:pt x="31739" y="10504"/>
                    <a:pt x="31345" y="10488"/>
                    <a:pt x="31052" y="10506"/>
                  </a:cubicBezTo>
                  <a:cubicBezTo>
                    <a:pt x="30905" y="10515"/>
                    <a:pt x="30782" y="10530"/>
                    <a:pt x="30697" y="10543"/>
                  </a:cubicBezTo>
                  <a:cubicBezTo>
                    <a:pt x="30654" y="10549"/>
                    <a:pt x="30620" y="10555"/>
                    <a:pt x="30597" y="10559"/>
                  </a:cubicBezTo>
                  <a:cubicBezTo>
                    <a:pt x="30574" y="10563"/>
                    <a:pt x="30562" y="10565"/>
                    <a:pt x="30562" y="10565"/>
                  </a:cubicBezTo>
                  <a:cubicBezTo>
                    <a:pt x="30325" y="10608"/>
                    <a:pt x="30115" y="10662"/>
                    <a:pt x="29933" y="10713"/>
                  </a:cubicBezTo>
                  <a:cubicBezTo>
                    <a:pt x="29753" y="10761"/>
                    <a:pt x="29596" y="10804"/>
                    <a:pt x="29468" y="10834"/>
                  </a:cubicBezTo>
                  <a:cubicBezTo>
                    <a:pt x="29210" y="10894"/>
                    <a:pt x="29055" y="10902"/>
                    <a:pt x="29015" y="10835"/>
                  </a:cubicBezTo>
                  <a:cubicBezTo>
                    <a:pt x="28982" y="10781"/>
                    <a:pt x="29030" y="10677"/>
                    <a:pt x="29163" y="10536"/>
                  </a:cubicBezTo>
                  <a:cubicBezTo>
                    <a:pt x="29230" y="10465"/>
                    <a:pt x="29318" y="10386"/>
                    <a:pt x="29429" y="10299"/>
                  </a:cubicBezTo>
                  <a:cubicBezTo>
                    <a:pt x="29457" y="10278"/>
                    <a:pt x="29484" y="10256"/>
                    <a:pt x="29516" y="10233"/>
                  </a:cubicBezTo>
                  <a:cubicBezTo>
                    <a:pt x="29549" y="10210"/>
                    <a:pt x="29582" y="10187"/>
                    <a:pt x="29615" y="10163"/>
                  </a:cubicBezTo>
                  <a:cubicBezTo>
                    <a:pt x="29670" y="10123"/>
                    <a:pt x="29754" y="10070"/>
                    <a:pt x="29837" y="10022"/>
                  </a:cubicBezTo>
                  <a:cubicBezTo>
                    <a:pt x="29837" y="10022"/>
                    <a:pt x="29810" y="10033"/>
                    <a:pt x="29760" y="10055"/>
                  </a:cubicBezTo>
                  <a:cubicBezTo>
                    <a:pt x="29735" y="10066"/>
                    <a:pt x="29705" y="10080"/>
                    <a:pt x="29668" y="10096"/>
                  </a:cubicBezTo>
                  <a:cubicBezTo>
                    <a:pt x="29637" y="10111"/>
                    <a:pt x="29601" y="10128"/>
                    <a:pt x="29561" y="10147"/>
                  </a:cubicBezTo>
                  <a:cubicBezTo>
                    <a:pt x="29469" y="10190"/>
                    <a:pt x="29368" y="10241"/>
                    <a:pt x="29250" y="10302"/>
                  </a:cubicBezTo>
                  <a:cubicBezTo>
                    <a:pt x="29134" y="10364"/>
                    <a:pt x="29003" y="10436"/>
                    <a:pt x="28864" y="10519"/>
                  </a:cubicBezTo>
                  <a:cubicBezTo>
                    <a:pt x="28583" y="10684"/>
                    <a:pt x="28270" y="10891"/>
                    <a:pt x="27947" y="11138"/>
                  </a:cubicBezTo>
                  <a:cubicBezTo>
                    <a:pt x="27642" y="11370"/>
                    <a:pt x="27318" y="11635"/>
                    <a:pt x="27009" y="11909"/>
                  </a:cubicBezTo>
                  <a:cubicBezTo>
                    <a:pt x="26854" y="12046"/>
                    <a:pt x="26702" y="12187"/>
                    <a:pt x="26554" y="12328"/>
                  </a:cubicBezTo>
                  <a:cubicBezTo>
                    <a:pt x="26415" y="12462"/>
                    <a:pt x="26277" y="12595"/>
                    <a:pt x="26144" y="12723"/>
                  </a:cubicBezTo>
                  <a:cubicBezTo>
                    <a:pt x="25883" y="12973"/>
                    <a:pt x="25635" y="13202"/>
                    <a:pt x="25421" y="13395"/>
                  </a:cubicBezTo>
                  <a:cubicBezTo>
                    <a:pt x="25311" y="13495"/>
                    <a:pt x="25209" y="13586"/>
                    <a:pt x="25119" y="13667"/>
                  </a:cubicBezTo>
                  <a:cubicBezTo>
                    <a:pt x="25030" y="13747"/>
                    <a:pt x="24952" y="13818"/>
                    <a:pt x="24889" y="13876"/>
                  </a:cubicBezTo>
                  <a:cubicBezTo>
                    <a:pt x="24761" y="13992"/>
                    <a:pt x="24688" y="14058"/>
                    <a:pt x="24688" y="14058"/>
                  </a:cubicBezTo>
                  <a:cubicBezTo>
                    <a:pt x="23977" y="14706"/>
                    <a:pt x="23977" y="14706"/>
                    <a:pt x="23977" y="14706"/>
                  </a:cubicBezTo>
                  <a:cubicBezTo>
                    <a:pt x="23544" y="15100"/>
                    <a:pt x="23544" y="15100"/>
                    <a:pt x="23544" y="15100"/>
                  </a:cubicBezTo>
                  <a:cubicBezTo>
                    <a:pt x="23544" y="15100"/>
                    <a:pt x="23216" y="15476"/>
                    <a:pt x="22866" y="15833"/>
                  </a:cubicBezTo>
                  <a:cubicBezTo>
                    <a:pt x="22779" y="15923"/>
                    <a:pt x="22691" y="16011"/>
                    <a:pt x="22607" y="16093"/>
                  </a:cubicBezTo>
                  <a:cubicBezTo>
                    <a:pt x="22523" y="16176"/>
                    <a:pt x="22445" y="16251"/>
                    <a:pt x="22382" y="16310"/>
                  </a:cubicBezTo>
                  <a:cubicBezTo>
                    <a:pt x="22250" y="16432"/>
                    <a:pt x="22158" y="16509"/>
                    <a:pt x="22158" y="16509"/>
                  </a:cubicBezTo>
                  <a:cubicBezTo>
                    <a:pt x="21991" y="16652"/>
                    <a:pt x="21800" y="16795"/>
                    <a:pt x="21587" y="16926"/>
                  </a:cubicBezTo>
                  <a:cubicBezTo>
                    <a:pt x="21533" y="16959"/>
                    <a:pt x="21479" y="16991"/>
                    <a:pt x="21422" y="17023"/>
                  </a:cubicBezTo>
                  <a:cubicBezTo>
                    <a:pt x="21380" y="17046"/>
                    <a:pt x="21380" y="17046"/>
                    <a:pt x="21380" y="17046"/>
                  </a:cubicBezTo>
                  <a:cubicBezTo>
                    <a:pt x="21369" y="17052"/>
                    <a:pt x="21369" y="17052"/>
                    <a:pt x="21369" y="17052"/>
                  </a:cubicBezTo>
                  <a:cubicBezTo>
                    <a:pt x="21364" y="17055"/>
                    <a:pt x="21364" y="17055"/>
                    <a:pt x="21364" y="17055"/>
                  </a:cubicBezTo>
                  <a:cubicBezTo>
                    <a:pt x="21361" y="17056"/>
                    <a:pt x="21361" y="17056"/>
                    <a:pt x="21361" y="17056"/>
                  </a:cubicBezTo>
                  <a:cubicBezTo>
                    <a:pt x="21360" y="17057"/>
                    <a:pt x="21360" y="17057"/>
                    <a:pt x="21360" y="17057"/>
                  </a:cubicBezTo>
                  <a:cubicBezTo>
                    <a:pt x="21359" y="17057"/>
                    <a:pt x="21359" y="17057"/>
                    <a:pt x="21359" y="17057"/>
                  </a:cubicBezTo>
                  <a:cubicBezTo>
                    <a:pt x="21354" y="17060"/>
                    <a:pt x="21365" y="17055"/>
                    <a:pt x="21364" y="17055"/>
                  </a:cubicBezTo>
                  <a:cubicBezTo>
                    <a:pt x="21340" y="17068"/>
                    <a:pt x="21340" y="17068"/>
                    <a:pt x="21340" y="17068"/>
                  </a:cubicBezTo>
                  <a:cubicBezTo>
                    <a:pt x="21252" y="17112"/>
                    <a:pt x="21252" y="17112"/>
                    <a:pt x="21252" y="17112"/>
                  </a:cubicBezTo>
                  <a:cubicBezTo>
                    <a:pt x="21146" y="17164"/>
                    <a:pt x="21023" y="17215"/>
                    <a:pt x="20899" y="17255"/>
                  </a:cubicBezTo>
                  <a:cubicBezTo>
                    <a:pt x="20652" y="17336"/>
                    <a:pt x="20374" y="17383"/>
                    <a:pt x="20094" y="17388"/>
                  </a:cubicBezTo>
                  <a:cubicBezTo>
                    <a:pt x="19802" y="17394"/>
                    <a:pt x="19514" y="17359"/>
                    <a:pt x="19229" y="17275"/>
                  </a:cubicBezTo>
                  <a:cubicBezTo>
                    <a:pt x="19110" y="17241"/>
                    <a:pt x="18994" y="17198"/>
                    <a:pt x="18882" y="17149"/>
                  </a:cubicBezTo>
                  <a:cubicBezTo>
                    <a:pt x="18840" y="17130"/>
                    <a:pt x="18840" y="17130"/>
                    <a:pt x="18840" y="17130"/>
                  </a:cubicBezTo>
                  <a:cubicBezTo>
                    <a:pt x="18797" y="17110"/>
                    <a:pt x="18797" y="17110"/>
                    <a:pt x="18797" y="17110"/>
                  </a:cubicBezTo>
                  <a:cubicBezTo>
                    <a:pt x="18751" y="17088"/>
                    <a:pt x="18751" y="17088"/>
                    <a:pt x="18751" y="17088"/>
                  </a:cubicBezTo>
                  <a:cubicBezTo>
                    <a:pt x="18709" y="17067"/>
                    <a:pt x="18709" y="17067"/>
                    <a:pt x="18709" y="17067"/>
                  </a:cubicBezTo>
                  <a:cubicBezTo>
                    <a:pt x="18655" y="17041"/>
                    <a:pt x="18597" y="17010"/>
                    <a:pt x="18542" y="16980"/>
                  </a:cubicBezTo>
                  <a:cubicBezTo>
                    <a:pt x="18320" y="16859"/>
                    <a:pt x="18110" y="16723"/>
                    <a:pt x="17915" y="16579"/>
                  </a:cubicBezTo>
                  <a:cubicBezTo>
                    <a:pt x="17778" y="16479"/>
                    <a:pt x="17652" y="16376"/>
                    <a:pt x="17526" y="16267"/>
                  </a:cubicBezTo>
                  <a:cubicBezTo>
                    <a:pt x="17399" y="16158"/>
                    <a:pt x="17280" y="16050"/>
                    <a:pt x="17165" y="15942"/>
                  </a:cubicBezTo>
                  <a:cubicBezTo>
                    <a:pt x="16936" y="15726"/>
                    <a:pt x="16732" y="15513"/>
                    <a:pt x="16553" y="15311"/>
                  </a:cubicBezTo>
                  <a:cubicBezTo>
                    <a:pt x="15192" y="13751"/>
                    <a:pt x="15192" y="13751"/>
                    <a:pt x="15192" y="13751"/>
                  </a:cubicBezTo>
                  <a:cubicBezTo>
                    <a:pt x="15192" y="13751"/>
                    <a:pt x="15151" y="13713"/>
                    <a:pt x="15088" y="13656"/>
                  </a:cubicBezTo>
                  <a:cubicBezTo>
                    <a:pt x="15024" y="13599"/>
                    <a:pt x="14939" y="13522"/>
                    <a:pt x="14853" y="13446"/>
                  </a:cubicBezTo>
                  <a:cubicBezTo>
                    <a:pt x="14691" y="13298"/>
                    <a:pt x="14528" y="13150"/>
                    <a:pt x="14528" y="13150"/>
                  </a:cubicBezTo>
                  <a:cubicBezTo>
                    <a:pt x="14583" y="13214"/>
                    <a:pt x="14583" y="13214"/>
                    <a:pt x="14583" y="13214"/>
                  </a:cubicBezTo>
                  <a:cubicBezTo>
                    <a:pt x="14689" y="13338"/>
                    <a:pt x="14783" y="13451"/>
                    <a:pt x="14863" y="13552"/>
                  </a:cubicBezTo>
                  <a:cubicBezTo>
                    <a:pt x="14901" y="13600"/>
                    <a:pt x="14938" y="13648"/>
                    <a:pt x="14975" y="13696"/>
                  </a:cubicBezTo>
                  <a:cubicBezTo>
                    <a:pt x="14978" y="13700"/>
                    <a:pt x="14978" y="13700"/>
                    <a:pt x="14978" y="13700"/>
                  </a:cubicBezTo>
                  <a:cubicBezTo>
                    <a:pt x="14979" y="13702"/>
                    <a:pt x="14979" y="13702"/>
                    <a:pt x="14979" y="13702"/>
                  </a:cubicBezTo>
                  <a:cubicBezTo>
                    <a:pt x="14980" y="13702"/>
                    <a:pt x="14980" y="13702"/>
                    <a:pt x="14980" y="13702"/>
                  </a:cubicBezTo>
                  <a:cubicBezTo>
                    <a:pt x="14978" y="13701"/>
                    <a:pt x="14994" y="13715"/>
                    <a:pt x="14987" y="13709"/>
                  </a:cubicBezTo>
                  <a:cubicBezTo>
                    <a:pt x="14987" y="13710"/>
                    <a:pt x="14987" y="13710"/>
                    <a:pt x="14987" y="13710"/>
                  </a:cubicBezTo>
                  <a:cubicBezTo>
                    <a:pt x="14988" y="13711"/>
                    <a:pt x="14988" y="13711"/>
                    <a:pt x="14988" y="13711"/>
                  </a:cubicBezTo>
                  <a:cubicBezTo>
                    <a:pt x="14994" y="13719"/>
                    <a:pt x="14994" y="13719"/>
                    <a:pt x="14994" y="13719"/>
                  </a:cubicBezTo>
                  <a:cubicBezTo>
                    <a:pt x="15006" y="13736"/>
                    <a:pt x="15006" y="13736"/>
                    <a:pt x="15006" y="13736"/>
                  </a:cubicBezTo>
                  <a:cubicBezTo>
                    <a:pt x="15030" y="13769"/>
                    <a:pt x="15030" y="13769"/>
                    <a:pt x="15030" y="13769"/>
                  </a:cubicBezTo>
                  <a:cubicBezTo>
                    <a:pt x="15072" y="13832"/>
                    <a:pt x="15072" y="13832"/>
                    <a:pt x="15072" y="13832"/>
                  </a:cubicBezTo>
                  <a:cubicBezTo>
                    <a:pt x="15177" y="13992"/>
                    <a:pt x="15222" y="14104"/>
                    <a:pt x="15203" y="14160"/>
                  </a:cubicBezTo>
                  <a:cubicBezTo>
                    <a:pt x="15201" y="14168"/>
                    <a:pt x="15197" y="14175"/>
                    <a:pt x="15192" y="14181"/>
                  </a:cubicBezTo>
                  <a:cubicBezTo>
                    <a:pt x="15176" y="14199"/>
                    <a:pt x="15147" y="14205"/>
                    <a:pt x="15107" y="14200"/>
                  </a:cubicBezTo>
                  <a:cubicBezTo>
                    <a:pt x="15052" y="14193"/>
                    <a:pt x="14991" y="14191"/>
                    <a:pt x="14909" y="14166"/>
                  </a:cubicBezTo>
                  <a:cubicBezTo>
                    <a:pt x="14824" y="14141"/>
                    <a:pt x="14721" y="14092"/>
                    <a:pt x="14566" y="13988"/>
                  </a:cubicBezTo>
                  <a:cubicBezTo>
                    <a:pt x="14457" y="13915"/>
                    <a:pt x="14325" y="13813"/>
                    <a:pt x="14165" y="13669"/>
                  </a:cubicBezTo>
                  <a:cubicBezTo>
                    <a:pt x="13933" y="13459"/>
                    <a:pt x="13706" y="13235"/>
                    <a:pt x="13483" y="13000"/>
                  </a:cubicBezTo>
                  <a:cubicBezTo>
                    <a:pt x="13263" y="12764"/>
                    <a:pt x="13033" y="12517"/>
                    <a:pt x="12799" y="12276"/>
                  </a:cubicBezTo>
                  <a:cubicBezTo>
                    <a:pt x="12724" y="12199"/>
                    <a:pt x="12648" y="12121"/>
                    <a:pt x="12570" y="12042"/>
                  </a:cubicBezTo>
                  <a:cubicBezTo>
                    <a:pt x="12386" y="11856"/>
                    <a:pt x="12199" y="11672"/>
                    <a:pt x="12007" y="11490"/>
                  </a:cubicBezTo>
                  <a:cubicBezTo>
                    <a:pt x="11971" y="11456"/>
                    <a:pt x="11935" y="11422"/>
                    <a:pt x="11899" y="11388"/>
                  </a:cubicBezTo>
                  <a:cubicBezTo>
                    <a:pt x="11861" y="11353"/>
                    <a:pt x="11822" y="11319"/>
                    <a:pt x="11784" y="11284"/>
                  </a:cubicBezTo>
                  <a:cubicBezTo>
                    <a:pt x="11709" y="11217"/>
                    <a:pt x="11632" y="11150"/>
                    <a:pt x="11554" y="11084"/>
                  </a:cubicBezTo>
                  <a:cubicBezTo>
                    <a:pt x="11373" y="10931"/>
                    <a:pt x="11185" y="10784"/>
                    <a:pt x="10992" y="10644"/>
                  </a:cubicBezTo>
                  <a:cubicBezTo>
                    <a:pt x="10889" y="10570"/>
                    <a:pt x="10785" y="10498"/>
                    <a:pt x="10679" y="10429"/>
                  </a:cubicBezTo>
                  <a:cubicBezTo>
                    <a:pt x="10548" y="10344"/>
                    <a:pt x="10548" y="10344"/>
                    <a:pt x="10548" y="10344"/>
                  </a:cubicBezTo>
                  <a:cubicBezTo>
                    <a:pt x="10481" y="10302"/>
                    <a:pt x="10481" y="10302"/>
                    <a:pt x="10481" y="10302"/>
                  </a:cubicBezTo>
                  <a:cubicBezTo>
                    <a:pt x="10448" y="10282"/>
                    <a:pt x="10448" y="10282"/>
                    <a:pt x="10448" y="10282"/>
                  </a:cubicBezTo>
                  <a:cubicBezTo>
                    <a:pt x="10440" y="10276"/>
                    <a:pt x="10440" y="10276"/>
                    <a:pt x="10440" y="10276"/>
                  </a:cubicBezTo>
                  <a:cubicBezTo>
                    <a:pt x="10436" y="10274"/>
                    <a:pt x="10436" y="10274"/>
                    <a:pt x="10436" y="10274"/>
                  </a:cubicBezTo>
                  <a:cubicBezTo>
                    <a:pt x="10435" y="10274"/>
                    <a:pt x="10435" y="10274"/>
                    <a:pt x="10435" y="10274"/>
                  </a:cubicBezTo>
                  <a:cubicBezTo>
                    <a:pt x="10428" y="10270"/>
                    <a:pt x="10428" y="10270"/>
                    <a:pt x="10428" y="10270"/>
                  </a:cubicBezTo>
                  <a:cubicBezTo>
                    <a:pt x="10427" y="10270"/>
                    <a:pt x="10427" y="10270"/>
                    <a:pt x="10427" y="10270"/>
                  </a:cubicBezTo>
                  <a:cubicBezTo>
                    <a:pt x="10425" y="10269"/>
                    <a:pt x="10425" y="10269"/>
                    <a:pt x="10425" y="10269"/>
                  </a:cubicBezTo>
                  <a:cubicBezTo>
                    <a:pt x="10410" y="10259"/>
                    <a:pt x="10410" y="10259"/>
                    <a:pt x="10410" y="10259"/>
                  </a:cubicBezTo>
                  <a:cubicBezTo>
                    <a:pt x="10337" y="10212"/>
                    <a:pt x="10219" y="10149"/>
                    <a:pt x="10126" y="10102"/>
                  </a:cubicBezTo>
                  <a:cubicBezTo>
                    <a:pt x="9931" y="10001"/>
                    <a:pt x="9726" y="9915"/>
                    <a:pt x="9517" y="9842"/>
                  </a:cubicBezTo>
                  <a:cubicBezTo>
                    <a:pt x="9234" y="9746"/>
                    <a:pt x="8941" y="9677"/>
                    <a:pt x="8649" y="9639"/>
                  </a:cubicBezTo>
                  <a:cubicBezTo>
                    <a:pt x="8623" y="9634"/>
                    <a:pt x="8623" y="9634"/>
                    <a:pt x="8623" y="9634"/>
                  </a:cubicBezTo>
                  <a:cubicBezTo>
                    <a:pt x="8603" y="9633"/>
                    <a:pt x="8603" y="9633"/>
                    <a:pt x="8603" y="9633"/>
                  </a:cubicBezTo>
                  <a:cubicBezTo>
                    <a:pt x="8588" y="9632"/>
                    <a:pt x="8554" y="9631"/>
                    <a:pt x="8505" y="9630"/>
                  </a:cubicBezTo>
                  <a:cubicBezTo>
                    <a:pt x="8489" y="9630"/>
                    <a:pt x="8472" y="9631"/>
                    <a:pt x="8453" y="9631"/>
                  </a:cubicBezTo>
                  <a:cubicBezTo>
                    <a:pt x="8441" y="9631"/>
                    <a:pt x="8429" y="9632"/>
                    <a:pt x="8416" y="9632"/>
                  </a:cubicBezTo>
                  <a:cubicBezTo>
                    <a:pt x="8389" y="9633"/>
                    <a:pt x="8360" y="9634"/>
                    <a:pt x="8328" y="9635"/>
                  </a:cubicBezTo>
                  <a:cubicBezTo>
                    <a:pt x="8328" y="9635"/>
                    <a:pt x="8253" y="9640"/>
                    <a:pt x="8178" y="9644"/>
                  </a:cubicBezTo>
                  <a:cubicBezTo>
                    <a:pt x="8139" y="9646"/>
                    <a:pt x="8106" y="9650"/>
                    <a:pt x="8080" y="9653"/>
                  </a:cubicBezTo>
                  <a:cubicBezTo>
                    <a:pt x="8054" y="9656"/>
                    <a:pt x="8037" y="9658"/>
                    <a:pt x="8037" y="9658"/>
                  </a:cubicBezTo>
                  <a:cubicBezTo>
                    <a:pt x="8037" y="9658"/>
                    <a:pt x="8017" y="9660"/>
                    <a:pt x="7980" y="9664"/>
                  </a:cubicBezTo>
                  <a:cubicBezTo>
                    <a:pt x="7943" y="9669"/>
                    <a:pt x="7888" y="9678"/>
                    <a:pt x="7819" y="9688"/>
                  </a:cubicBezTo>
                  <a:cubicBezTo>
                    <a:pt x="7681" y="9714"/>
                    <a:pt x="7481" y="9755"/>
                    <a:pt x="7246" y="9840"/>
                  </a:cubicBezTo>
                  <a:cubicBezTo>
                    <a:pt x="7012" y="9925"/>
                    <a:pt x="6743" y="10052"/>
                    <a:pt x="6488" y="10235"/>
                  </a:cubicBezTo>
                  <a:cubicBezTo>
                    <a:pt x="6359" y="10324"/>
                    <a:pt x="6236" y="10427"/>
                    <a:pt x="6119" y="10537"/>
                  </a:cubicBezTo>
                  <a:cubicBezTo>
                    <a:pt x="6090" y="10565"/>
                    <a:pt x="6061" y="10594"/>
                    <a:pt x="6032" y="10622"/>
                  </a:cubicBezTo>
                  <a:cubicBezTo>
                    <a:pt x="6000" y="10655"/>
                    <a:pt x="6000" y="10655"/>
                    <a:pt x="6000" y="10655"/>
                  </a:cubicBezTo>
                  <a:cubicBezTo>
                    <a:pt x="5984" y="10672"/>
                    <a:pt x="5984" y="10672"/>
                    <a:pt x="5984" y="10672"/>
                  </a:cubicBezTo>
                  <a:cubicBezTo>
                    <a:pt x="5953" y="10706"/>
                    <a:pt x="5953" y="10706"/>
                    <a:pt x="5953" y="10706"/>
                  </a:cubicBezTo>
                  <a:cubicBezTo>
                    <a:pt x="5921" y="10741"/>
                    <a:pt x="5921" y="10741"/>
                    <a:pt x="5921" y="10741"/>
                  </a:cubicBezTo>
                  <a:cubicBezTo>
                    <a:pt x="5877" y="10792"/>
                    <a:pt x="5877" y="10792"/>
                    <a:pt x="5877" y="10792"/>
                  </a:cubicBezTo>
                  <a:cubicBezTo>
                    <a:pt x="5847" y="10826"/>
                    <a:pt x="5816" y="10862"/>
                    <a:pt x="5789" y="10896"/>
                  </a:cubicBezTo>
                  <a:cubicBezTo>
                    <a:pt x="5687" y="11026"/>
                    <a:pt x="5594" y="11164"/>
                    <a:pt x="5512" y="11305"/>
                  </a:cubicBezTo>
                  <a:cubicBezTo>
                    <a:pt x="5432" y="11448"/>
                    <a:pt x="5361" y="11593"/>
                    <a:pt x="5306" y="11737"/>
                  </a:cubicBezTo>
                  <a:cubicBezTo>
                    <a:pt x="5191" y="12024"/>
                    <a:pt x="5131" y="12302"/>
                    <a:pt x="5097" y="12535"/>
                  </a:cubicBezTo>
                  <a:cubicBezTo>
                    <a:pt x="5063" y="12769"/>
                    <a:pt x="5055" y="12962"/>
                    <a:pt x="5054" y="13094"/>
                  </a:cubicBezTo>
                  <a:cubicBezTo>
                    <a:pt x="5054" y="13209"/>
                    <a:pt x="5053" y="13275"/>
                    <a:pt x="5053" y="13275"/>
                  </a:cubicBezTo>
                  <a:cubicBezTo>
                    <a:pt x="5228" y="14785"/>
                    <a:pt x="5228" y="14785"/>
                    <a:pt x="5228" y="14785"/>
                  </a:cubicBezTo>
                  <a:cubicBezTo>
                    <a:pt x="5337" y="15730"/>
                    <a:pt x="5397" y="16988"/>
                    <a:pt x="5397" y="18326"/>
                  </a:cubicBezTo>
                  <a:cubicBezTo>
                    <a:pt x="5397" y="18451"/>
                    <a:pt x="5397" y="18451"/>
                    <a:pt x="5397" y="18451"/>
                  </a:cubicBezTo>
                  <a:cubicBezTo>
                    <a:pt x="5397" y="18513"/>
                    <a:pt x="5397" y="18513"/>
                    <a:pt x="5397" y="18513"/>
                  </a:cubicBezTo>
                  <a:cubicBezTo>
                    <a:pt x="5395" y="18562"/>
                    <a:pt x="5395" y="18562"/>
                    <a:pt x="5395" y="18562"/>
                  </a:cubicBezTo>
                  <a:cubicBezTo>
                    <a:pt x="5394" y="18574"/>
                    <a:pt x="5393" y="18574"/>
                    <a:pt x="5393" y="18581"/>
                  </a:cubicBezTo>
                  <a:cubicBezTo>
                    <a:pt x="5391" y="18588"/>
                    <a:pt x="5390" y="18597"/>
                    <a:pt x="5389" y="18602"/>
                  </a:cubicBezTo>
                  <a:cubicBezTo>
                    <a:pt x="5386" y="18613"/>
                    <a:pt x="5383" y="18619"/>
                    <a:pt x="5384" y="18614"/>
                  </a:cubicBezTo>
                  <a:cubicBezTo>
                    <a:pt x="5385" y="18610"/>
                    <a:pt x="5392" y="18600"/>
                    <a:pt x="5404" y="18586"/>
                  </a:cubicBezTo>
                  <a:cubicBezTo>
                    <a:pt x="5415" y="18574"/>
                    <a:pt x="5432" y="18563"/>
                    <a:pt x="5440" y="18558"/>
                  </a:cubicBezTo>
                  <a:cubicBezTo>
                    <a:pt x="5447" y="18556"/>
                    <a:pt x="5447" y="18553"/>
                    <a:pt x="5450" y="18553"/>
                  </a:cubicBezTo>
                  <a:cubicBezTo>
                    <a:pt x="5450" y="18552"/>
                    <a:pt x="5451" y="18553"/>
                    <a:pt x="5448" y="18552"/>
                  </a:cubicBezTo>
                  <a:cubicBezTo>
                    <a:pt x="5396" y="18551"/>
                    <a:pt x="5396" y="18551"/>
                    <a:pt x="5396" y="18551"/>
                  </a:cubicBezTo>
                  <a:cubicBezTo>
                    <a:pt x="5075" y="18544"/>
                    <a:pt x="4763" y="18533"/>
                    <a:pt x="4463" y="18519"/>
                  </a:cubicBezTo>
                  <a:cubicBezTo>
                    <a:pt x="4316" y="18511"/>
                    <a:pt x="4169" y="18503"/>
                    <a:pt x="4023" y="18495"/>
                  </a:cubicBezTo>
                  <a:cubicBezTo>
                    <a:pt x="3810" y="18481"/>
                    <a:pt x="3810" y="18481"/>
                    <a:pt x="3810" y="18481"/>
                  </a:cubicBezTo>
                  <a:cubicBezTo>
                    <a:pt x="3706" y="18473"/>
                    <a:pt x="3706" y="18473"/>
                    <a:pt x="3706" y="18473"/>
                  </a:cubicBezTo>
                  <a:cubicBezTo>
                    <a:pt x="3681" y="18471"/>
                    <a:pt x="3681" y="18471"/>
                    <a:pt x="3681" y="18471"/>
                  </a:cubicBezTo>
                  <a:cubicBezTo>
                    <a:pt x="3668" y="18470"/>
                    <a:pt x="3668" y="18470"/>
                    <a:pt x="3668" y="18470"/>
                  </a:cubicBezTo>
                  <a:cubicBezTo>
                    <a:pt x="3661" y="18470"/>
                    <a:pt x="3661" y="18470"/>
                    <a:pt x="3661" y="18470"/>
                  </a:cubicBezTo>
                  <a:cubicBezTo>
                    <a:pt x="3658" y="18470"/>
                    <a:pt x="3658" y="18470"/>
                    <a:pt x="3658" y="18470"/>
                  </a:cubicBezTo>
                  <a:cubicBezTo>
                    <a:pt x="3656" y="18470"/>
                    <a:pt x="3677" y="18470"/>
                    <a:pt x="3667" y="18470"/>
                  </a:cubicBezTo>
                  <a:cubicBezTo>
                    <a:pt x="3667" y="18470"/>
                    <a:pt x="3667" y="18470"/>
                    <a:pt x="3667" y="18470"/>
                  </a:cubicBezTo>
                  <a:cubicBezTo>
                    <a:pt x="3665" y="18469"/>
                    <a:pt x="3665" y="18469"/>
                    <a:pt x="3665" y="18469"/>
                  </a:cubicBezTo>
                  <a:cubicBezTo>
                    <a:pt x="3614" y="18465"/>
                    <a:pt x="3614" y="18465"/>
                    <a:pt x="3614" y="18465"/>
                  </a:cubicBezTo>
                  <a:cubicBezTo>
                    <a:pt x="3513" y="18455"/>
                    <a:pt x="3513" y="18455"/>
                    <a:pt x="3513" y="18455"/>
                  </a:cubicBezTo>
                  <a:cubicBezTo>
                    <a:pt x="3482" y="18451"/>
                    <a:pt x="3459" y="18446"/>
                    <a:pt x="3432" y="18442"/>
                  </a:cubicBezTo>
                  <a:cubicBezTo>
                    <a:pt x="3381" y="18434"/>
                    <a:pt x="3325" y="18422"/>
                    <a:pt x="3272" y="18411"/>
                  </a:cubicBezTo>
                  <a:cubicBezTo>
                    <a:pt x="3219" y="18400"/>
                    <a:pt x="3169" y="18385"/>
                    <a:pt x="3119" y="18372"/>
                  </a:cubicBezTo>
                  <a:cubicBezTo>
                    <a:pt x="3071" y="18356"/>
                    <a:pt x="3023" y="18343"/>
                    <a:pt x="2979" y="18325"/>
                  </a:cubicBezTo>
                  <a:cubicBezTo>
                    <a:pt x="2979" y="18325"/>
                    <a:pt x="2961" y="18318"/>
                    <a:pt x="2930" y="18306"/>
                  </a:cubicBezTo>
                  <a:cubicBezTo>
                    <a:pt x="2899" y="18295"/>
                    <a:pt x="2856" y="18275"/>
                    <a:pt x="2806" y="18253"/>
                  </a:cubicBezTo>
                  <a:cubicBezTo>
                    <a:pt x="2706" y="18206"/>
                    <a:pt x="2581" y="18135"/>
                    <a:pt x="2474" y="18053"/>
                  </a:cubicBezTo>
                  <a:cubicBezTo>
                    <a:pt x="2365" y="17971"/>
                    <a:pt x="2274" y="17878"/>
                    <a:pt x="2212" y="17804"/>
                  </a:cubicBezTo>
                  <a:cubicBezTo>
                    <a:pt x="2180" y="17768"/>
                    <a:pt x="2158" y="17734"/>
                    <a:pt x="2141" y="17712"/>
                  </a:cubicBezTo>
                  <a:cubicBezTo>
                    <a:pt x="2138" y="17709"/>
                    <a:pt x="2136" y="17707"/>
                    <a:pt x="2135" y="17704"/>
                  </a:cubicBezTo>
                  <a:cubicBezTo>
                    <a:pt x="2132" y="17701"/>
                    <a:pt x="2132" y="17701"/>
                    <a:pt x="2132" y="17701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17" y="17686"/>
                    <a:pt x="2150" y="17719"/>
                    <a:pt x="2147" y="17716"/>
                  </a:cubicBezTo>
                  <a:cubicBezTo>
                    <a:pt x="2146" y="17714"/>
                    <a:pt x="2146" y="17714"/>
                    <a:pt x="2146" y="17714"/>
                  </a:cubicBezTo>
                  <a:cubicBezTo>
                    <a:pt x="2144" y="17712"/>
                    <a:pt x="2144" y="17712"/>
                    <a:pt x="2144" y="17712"/>
                  </a:cubicBezTo>
                  <a:cubicBezTo>
                    <a:pt x="2139" y="17705"/>
                    <a:pt x="2135" y="17700"/>
                    <a:pt x="2131" y="17695"/>
                  </a:cubicBezTo>
                  <a:cubicBezTo>
                    <a:pt x="2125" y="17687"/>
                    <a:pt x="2121" y="17682"/>
                    <a:pt x="2121" y="17682"/>
                  </a:cubicBezTo>
                  <a:cubicBezTo>
                    <a:pt x="2121" y="17682"/>
                    <a:pt x="2113" y="17673"/>
                    <a:pt x="2098" y="17658"/>
                  </a:cubicBezTo>
                  <a:cubicBezTo>
                    <a:pt x="2091" y="17650"/>
                    <a:pt x="2082" y="17641"/>
                    <a:pt x="2072" y="17630"/>
                  </a:cubicBezTo>
                  <a:cubicBezTo>
                    <a:pt x="2068" y="17625"/>
                    <a:pt x="2063" y="17620"/>
                    <a:pt x="2057" y="17614"/>
                  </a:cubicBezTo>
                  <a:cubicBezTo>
                    <a:pt x="2055" y="17611"/>
                    <a:pt x="2052" y="17607"/>
                    <a:pt x="2050" y="17604"/>
                  </a:cubicBezTo>
                  <a:cubicBezTo>
                    <a:pt x="2038" y="17588"/>
                    <a:pt x="2026" y="17577"/>
                    <a:pt x="2009" y="17554"/>
                  </a:cubicBezTo>
                  <a:cubicBezTo>
                    <a:pt x="1992" y="17530"/>
                    <a:pt x="1971" y="17506"/>
                    <a:pt x="1953" y="17479"/>
                  </a:cubicBezTo>
                  <a:cubicBezTo>
                    <a:pt x="1880" y="17374"/>
                    <a:pt x="1824" y="17256"/>
                    <a:pt x="1824" y="17256"/>
                  </a:cubicBezTo>
                  <a:cubicBezTo>
                    <a:pt x="1824" y="17256"/>
                    <a:pt x="1825" y="17263"/>
                    <a:pt x="1830" y="17275"/>
                  </a:cubicBezTo>
                  <a:cubicBezTo>
                    <a:pt x="1834" y="17288"/>
                    <a:pt x="1840" y="17307"/>
                    <a:pt x="1848" y="17331"/>
                  </a:cubicBezTo>
                  <a:cubicBezTo>
                    <a:pt x="1863" y="17379"/>
                    <a:pt x="1889" y="17445"/>
                    <a:pt x="1925" y="17524"/>
                  </a:cubicBezTo>
                  <a:cubicBezTo>
                    <a:pt x="1944" y="17559"/>
                    <a:pt x="1964" y="17598"/>
                    <a:pt x="1986" y="17638"/>
                  </a:cubicBezTo>
                  <a:cubicBezTo>
                    <a:pt x="1990" y="17647"/>
                    <a:pt x="1995" y="17656"/>
                    <a:pt x="1999" y="17666"/>
                  </a:cubicBezTo>
                  <a:cubicBezTo>
                    <a:pt x="2005" y="17676"/>
                    <a:pt x="2020" y="17694"/>
                    <a:pt x="2030" y="17708"/>
                  </a:cubicBezTo>
                  <a:cubicBezTo>
                    <a:pt x="2042" y="17724"/>
                    <a:pt x="2053" y="17739"/>
                    <a:pt x="2065" y="17754"/>
                  </a:cubicBezTo>
                  <a:cubicBezTo>
                    <a:pt x="2073" y="17766"/>
                    <a:pt x="2073" y="17766"/>
                    <a:pt x="2073" y="17766"/>
                  </a:cubicBezTo>
                  <a:cubicBezTo>
                    <a:pt x="2078" y="17772"/>
                    <a:pt x="2078" y="17772"/>
                    <a:pt x="2078" y="17772"/>
                  </a:cubicBezTo>
                  <a:cubicBezTo>
                    <a:pt x="2080" y="17775"/>
                    <a:pt x="2080" y="17775"/>
                    <a:pt x="2080" y="17775"/>
                  </a:cubicBezTo>
                  <a:cubicBezTo>
                    <a:pt x="2081" y="17776"/>
                    <a:pt x="2081" y="17776"/>
                    <a:pt x="2081" y="17776"/>
                  </a:cubicBezTo>
                  <a:cubicBezTo>
                    <a:pt x="2082" y="17777"/>
                    <a:pt x="2082" y="17777"/>
                    <a:pt x="2082" y="17777"/>
                  </a:cubicBezTo>
                  <a:cubicBezTo>
                    <a:pt x="2054" y="17749"/>
                    <a:pt x="2074" y="17769"/>
                    <a:pt x="2068" y="17763"/>
                  </a:cubicBezTo>
                  <a:cubicBezTo>
                    <a:pt x="2081" y="17780"/>
                    <a:pt x="2081" y="17780"/>
                    <a:pt x="2081" y="17780"/>
                  </a:cubicBezTo>
                  <a:cubicBezTo>
                    <a:pt x="2147" y="17870"/>
                    <a:pt x="2227" y="17960"/>
                    <a:pt x="2320" y="18041"/>
                  </a:cubicBezTo>
                  <a:cubicBezTo>
                    <a:pt x="2503" y="18205"/>
                    <a:pt x="2739" y="18331"/>
                    <a:pt x="2936" y="18403"/>
                  </a:cubicBezTo>
                  <a:cubicBezTo>
                    <a:pt x="3033" y="18441"/>
                    <a:pt x="3119" y="18466"/>
                    <a:pt x="3180" y="18482"/>
                  </a:cubicBezTo>
                  <a:cubicBezTo>
                    <a:pt x="3241" y="18500"/>
                    <a:pt x="3277" y="18507"/>
                    <a:pt x="3277" y="18507"/>
                  </a:cubicBezTo>
                  <a:cubicBezTo>
                    <a:pt x="3355" y="18526"/>
                    <a:pt x="3423" y="18540"/>
                    <a:pt x="3489" y="18555"/>
                  </a:cubicBezTo>
                  <a:cubicBezTo>
                    <a:pt x="3523" y="18563"/>
                    <a:pt x="3565" y="18568"/>
                    <a:pt x="3600" y="18575"/>
                  </a:cubicBezTo>
                  <a:cubicBezTo>
                    <a:pt x="3654" y="18584"/>
                    <a:pt x="3654" y="18584"/>
                    <a:pt x="3654" y="18584"/>
                  </a:cubicBezTo>
                  <a:cubicBezTo>
                    <a:pt x="3661" y="18586"/>
                    <a:pt x="3661" y="18586"/>
                    <a:pt x="3661" y="18586"/>
                  </a:cubicBezTo>
                  <a:cubicBezTo>
                    <a:pt x="3664" y="18586"/>
                    <a:pt x="3664" y="18586"/>
                    <a:pt x="3664" y="18586"/>
                  </a:cubicBezTo>
                  <a:cubicBezTo>
                    <a:pt x="3665" y="18586"/>
                    <a:pt x="3665" y="18586"/>
                    <a:pt x="3665" y="18586"/>
                  </a:cubicBezTo>
                  <a:cubicBezTo>
                    <a:pt x="3666" y="18586"/>
                    <a:pt x="3666" y="18586"/>
                    <a:pt x="3666" y="18586"/>
                  </a:cubicBezTo>
                  <a:cubicBezTo>
                    <a:pt x="3667" y="18587"/>
                    <a:pt x="3651" y="18586"/>
                    <a:pt x="3658" y="18586"/>
                  </a:cubicBezTo>
                  <a:cubicBezTo>
                    <a:pt x="3660" y="18587"/>
                    <a:pt x="3660" y="18587"/>
                    <a:pt x="3660" y="18587"/>
                  </a:cubicBezTo>
                  <a:cubicBezTo>
                    <a:pt x="3673" y="18589"/>
                    <a:pt x="3673" y="18589"/>
                    <a:pt x="3673" y="18589"/>
                  </a:cubicBezTo>
                  <a:cubicBezTo>
                    <a:pt x="3699" y="18593"/>
                    <a:pt x="3699" y="18593"/>
                    <a:pt x="3699" y="18593"/>
                  </a:cubicBezTo>
                  <a:cubicBezTo>
                    <a:pt x="3836" y="18617"/>
                    <a:pt x="3952" y="18642"/>
                    <a:pt x="4045" y="18668"/>
                  </a:cubicBezTo>
                  <a:cubicBezTo>
                    <a:pt x="4232" y="18721"/>
                    <a:pt x="4330" y="18777"/>
                    <a:pt x="4330" y="18835"/>
                  </a:cubicBezTo>
                  <a:cubicBezTo>
                    <a:pt x="4330" y="18894"/>
                    <a:pt x="4232" y="18950"/>
                    <a:pt x="4045" y="19003"/>
                  </a:cubicBezTo>
                  <a:cubicBezTo>
                    <a:pt x="3952" y="19029"/>
                    <a:pt x="3836" y="19054"/>
                    <a:pt x="3699" y="19077"/>
                  </a:cubicBezTo>
                  <a:cubicBezTo>
                    <a:pt x="3628" y="19089"/>
                    <a:pt x="3556" y="19099"/>
                    <a:pt x="3475" y="19108"/>
                  </a:cubicBezTo>
                  <a:cubicBezTo>
                    <a:pt x="3394" y="19115"/>
                    <a:pt x="3306" y="19121"/>
                    <a:pt x="3214" y="19121"/>
                  </a:cubicBezTo>
                  <a:cubicBezTo>
                    <a:pt x="3214" y="19121"/>
                    <a:pt x="3102" y="19125"/>
                    <a:pt x="2933" y="19113"/>
                  </a:cubicBezTo>
                  <a:cubicBezTo>
                    <a:pt x="2764" y="19103"/>
                    <a:pt x="2535" y="19072"/>
                    <a:pt x="2309" y="19009"/>
                  </a:cubicBezTo>
                  <a:cubicBezTo>
                    <a:pt x="2083" y="18947"/>
                    <a:pt x="1861" y="18850"/>
                    <a:pt x="1703" y="18759"/>
                  </a:cubicBezTo>
                  <a:cubicBezTo>
                    <a:pt x="1625" y="18713"/>
                    <a:pt x="1559" y="18673"/>
                    <a:pt x="1516" y="18642"/>
                  </a:cubicBezTo>
                  <a:cubicBezTo>
                    <a:pt x="1472" y="18611"/>
                    <a:pt x="1447" y="18594"/>
                    <a:pt x="1447" y="18594"/>
                  </a:cubicBezTo>
                  <a:cubicBezTo>
                    <a:pt x="1447" y="18594"/>
                    <a:pt x="1429" y="18580"/>
                    <a:pt x="1398" y="18557"/>
                  </a:cubicBezTo>
                  <a:cubicBezTo>
                    <a:pt x="1383" y="18545"/>
                    <a:pt x="1364" y="18530"/>
                    <a:pt x="1343" y="18514"/>
                  </a:cubicBezTo>
                  <a:cubicBezTo>
                    <a:pt x="1322" y="18496"/>
                    <a:pt x="1298" y="18476"/>
                    <a:pt x="1272" y="18454"/>
                  </a:cubicBezTo>
                  <a:cubicBezTo>
                    <a:pt x="1261" y="18445"/>
                    <a:pt x="1249" y="18435"/>
                    <a:pt x="1237" y="18425"/>
                  </a:cubicBezTo>
                  <a:cubicBezTo>
                    <a:pt x="1231" y="18420"/>
                    <a:pt x="1225" y="18415"/>
                    <a:pt x="1219" y="18409"/>
                  </a:cubicBezTo>
                  <a:cubicBezTo>
                    <a:pt x="1211" y="18402"/>
                    <a:pt x="1204" y="18395"/>
                    <a:pt x="1197" y="18388"/>
                  </a:cubicBezTo>
                  <a:cubicBezTo>
                    <a:pt x="1167" y="18359"/>
                    <a:pt x="1136" y="18329"/>
                    <a:pt x="1104" y="18298"/>
                  </a:cubicBezTo>
                  <a:cubicBezTo>
                    <a:pt x="1045" y="18236"/>
                    <a:pt x="984" y="18169"/>
                    <a:pt x="927" y="18097"/>
                  </a:cubicBezTo>
                  <a:cubicBezTo>
                    <a:pt x="812" y="17955"/>
                    <a:pt x="713" y="17800"/>
                    <a:pt x="647" y="17679"/>
                  </a:cubicBezTo>
                  <a:cubicBezTo>
                    <a:pt x="614" y="17618"/>
                    <a:pt x="589" y="17567"/>
                    <a:pt x="571" y="17531"/>
                  </a:cubicBezTo>
                  <a:cubicBezTo>
                    <a:pt x="553" y="17495"/>
                    <a:pt x="544" y="17474"/>
                    <a:pt x="544" y="17474"/>
                  </a:cubicBezTo>
                  <a:cubicBezTo>
                    <a:pt x="544" y="17474"/>
                    <a:pt x="497" y="17376"/>
                    <a:pt x="441" y="17224"/>
                  </a:cubicBezTo>
                  <a:cubicBezTo>
                    <a:pt x="385" y="17072"/>
                    <a:pt x="324" y="16865"/>
                    <a:pt x="282" y="16657"/>
                  </a:cubicBezTo>
                  <a:cubicBezTo>
                    <a:pt x="260" y="16552"/>
                    <a:pt x="244" y="16448"/>
                    <a:pt x="229" y="16350"/>
                  </a:cubicBezTo>
                  <a:cubicBezTo>
                    <a:pt x="218" y="16256"/>
                    <a:pt x="208" y="16168"/>
                    <a:pt x="199" y="16093"/>
                  </a:cubicBezTo>
                  <a:cubicBezTo>
                    <a:pt x="183" y="15954"/>
                    <a:pt x="172" y="15862"/>
                    <a:pt x="172" y="15862"/>
                  </a:cubicBezTo>
                  <a:cubicBezTo>
                    <a:pt x="90" y="15149"/>
                    <a:pt x="44" y="14201"/>
                    <a:pt x="44" y="13193"/>
                  </a:cubicBezTo>
                  <a:cubicBezTo>
                    <a:pt x="44" y="12927"/>
                    <a:pt x="47" y="12665"/>
                    <a:pt x="54" y="12410"/>
                  </a:cubicBezTo>
                  <a:cubicBezTo>
                    <a:pt x="59" y="12206"/>
                    <a:pt x="65" y="12007"/>
                    <a:pt x="74" y="11815"/>
                  </a:cubicBezTo>
                  <a:cubicBezTo>
                    <a:pt x="96" y="11337"/>
                    <a:pt x="129" y="10898"/>
                    <a:pt x="172" y="10525"/>
                  </a:cubicBezTo>
                  <a:cubicBezTo>
                    <a:pt x="687" y="6073"/>
                    <a:pt x="687" y="6073"/>
                    <a:pt x="687" y="6073"/>
                  </a:cubicBezTo>
                  <a:cubicBezTo>
                    <a:pt x="769" y="5360"/>
                    <a:pt x="879" y="4968"/>
                    <a:pt x="996" y="4968"/>
                  </a:cubicBezTo>
                  <a:cubicBezTo>
                    <a:pt x="1112" y="4968"/>
                    <a:pt x="1222" y="5360"/>
                    <a:pt x="1304" y="6073"/>
                  </a:cubicBezTo>
                  <a:cubicBezTo>
                    <a:pt x="1539" y="8103"/>
                    <a:pt x="1539" y="8103"/>
                    <a:pt x="1539" y="8103"/>
                  </a:cubicBezTo>
                  <a:cubicBezTo>
                    <a:pt x="1613" y="8741"/>
                    <a:pt x="1613" y="8741"/>
                    <a:pt x="1613" y="8741"/>
                  </a:cubicBezTo>
                  <a:cubicBezTo>
                    <a:pt x="1613" y="6887"/>
                    <a:pt x="1613" y="6887"/>
                    <a:pt x="1613" y="6887"/>
                  </a:cubicBezTo>
                  <a:cubicBezTo>
                    <a:pt x="1598" y="6864"/>
                    <a:pt x="1583" y="6836"/>
                    <a:pt x="1569" y="6803"/>
                  </a:cubicBezTo>
                  <a:cubicBezTo>
                    <a:pt x="1470" y="6581"/>
                    <a:pt x="1380" y="6137"/>
                    <a:pt x="1307" y="5500"/>
                  </a:cubicBezTo>
                  <a:cubicBezTo>
                    <a:pt x="1307" y="5500"/>
                    <a:pt x="1132" y="3989"/>
                    <a:pt x="957" y="2479"/>
                  </a:cubicBezTo>
                  <a:cubicBezTo>
                    <a:pt x="914" y="2101"/>
                    <a:pt x="870" y="1723"/>
                    <a:pt x="829" y="1369"/>
                  </a:cubicBezTo>
                  <a:cubicBezTo>
                    <a:pt x="813" y="1192"/>
                    <a:pt x="770" y="1023"/>
                    <a:pt x="814" y="850"/>
                  </a:cubicBezTo>
                  <a:cubicBezTo>
                    <a:pt x="837" y="766"/>
                    <a:pt x="886" y="682"/>
                    <a:pt x="961" y="628"/>
                  </a:cubicBezTo>
                  <a:cubicBezTo>
                    <a:pt x="1035" y="572"/>
                    <a:pt x="1122" y="547"/>
                    <a:pt x="1201" y="535"/>
                  </a:cubicBezTo>
                  <a:cubicBezTo>
                    <a:pt x="1770" y="468"/>
                    <a:pt x="2150" y="424"/>
                    <a:pt x="2150" y="424"/>
                  </a:cubicBezTo>
                  <a:cubicBezTo>
                    <a:pt x="2418" y="393"/>
                    <a:pt x="2712" y="366"/>
                    <a:pt x="3026" y="343"/>
                  </a:cubicBezTo>
                  <a:cubicBezTo>
                    <a:pt x="3335" y="321"/>
                    <a:pt x="3662" y="302"/>
                    <a:pt x="4004" y="288"/>
                  </a:cubicBezTo>
                  <a:cubicBezTo>
                    <a:pt x="4139" y="283"/>
                    <a:pt x="4275" y="278"/>
                    <a:pt x="4411" y="274"/>
                  </a:cubicBezTo>
                  <a:cubicBezTo>
                    <a:pt x="4480" y="272"/>
                    <a:pt x="4549" y="270"/>
                    <a:pt x="4619" y="268"/>
                  </a:cubicBezTo>
                  <a:cubicBezTo>
                    <a:pt x="4723" y="265"/>
                    <a:pt x="4723" y="265"/>
                    <a:pt x="4723" y="265"/>
                  </a:cubicBezTo>
                  <a:cubicBezTo>
                    <a:pt x="4836" y="265"/>
                    <a:pt x="4836" y="265"/>
                    <a:pt x="4836" y="265"/>
                  </a:cubicBezTo>
                  <a:cubicBezTo>
                    <a:pt x="4942" y="265"/>
                    <a:pt x="4942" y="265"/>
                    <a:pt x="4942" y="265"/>
                  </a:cubicBezTo>
                  <a:cubicBezTo>
                    <a:pt x="4977" y="265"/>
                    <a:pt x="5013" y="265"/>
                    <a:pt x="5053" y="267"/>
                  </a:cubicBezTo>
                  <a:cubicBezTo>
                    <a:pt x="5130" y="271"/>
                    <a:pt x="5208" y="274"/>
                    <a:pt x="5286" y="279"/>
                  </a:cubicBezTo>
                  <a:cubicBezTo>
                    <a:pt x="5362" y="287"/>
                    <a:pt x="5439" y="294"/>
                    <a:pt x="5516" y="301"/>
                  </a:cubicBezTo>
                  <a:cubicBezTo>
                    <a:pt x="5593" y="312"/>
                    <a:pt x="5670" y="323"/>
                    <a:pt x="5747" y="334"/>
                  </a:cubicBezTo>
                  <a:cubicBezTo>
                    <a:pt x="6101" y="392"/>
                    <a:pt x="6447" y="491"/>
                    <a:pt x="6768" y="630"/>
                  </a:cubicBezTo>
                  <a:cubicBezTo>
                    <a:pt x="7088" y="768"/>
                    <a:pt x="7383" y="946"/>
                    <a:pt x="7638" y="1149"/>
                  </a:cubicBezTo>
                  <a:cubicBezTo>
                    <a:pt x="7766" y="1250"/>
                    <a:pt x="7884" y="1358"/>
                    <a:pt x="7991" y="1469"/>
                  </a:cubicBezTo>
                  <a:cubicBezTo>
                    <a:pt x="8047" y="1523"/>
                    <a:pt x="8095" y="1582"/>
                    <a:pt x="8145" y="1638"/>
                  </a:cubicBezTo>
                  <a:cubicBezTo>
                    <a:pt x="8182" y="1680"/>
                    <a:pt x="8182" y="1680"/>
                    <a:pt x="8182" y="1680"/>
                  </a:cubicBezTo>
                  <a:cubicBezTo>
                    <a:pt x="8191" y="1691"/>
                    <a:pt x="8191" y="1691"/>
                    <a:pt x="8191" y="1691"/>
                  </a:cubicBezTo>
                  <a:cubicBezTo>
                    <a:pt x="8192" y="1692"/>
                    <a:pt x="8192" y="1692"/>
                    <a:pt x="8192" y="1692"/>
                  </a:cubicBezTo>
                  <a:cubicBezTo>
                    <a:pt x="8204" y="1704"/>
                    <a:pt x="8177" y="1677"/>
                    <a:pt x="8180" y="1680"/>
                  </a:cubicBezTo>
                  <a:cubicBezTo>
                    <a:pt x="8181" y="1681"/>
                    <a:pt x="8181" y="1681"/>
                    <a:pt x="8181" y="1681"/>
                  </a:cubicBezTo>
                  <a:cubicBezTo>
                    <a:pt x="8183" y="1683"/>
                    <a:pt x="8183" y="1683"/>
                    <a:pt x="8183" y="1683"/>
                  </a:cubicBezTo>
                  <a:cubicBezTo>
                    <a:pt x="8187" y="1688"/>
                    <a:pt x="8187" y="1688"/>
                    <a:pt x="8187" y="1688"/>
                  </a:cubicBezTo>
                  <a:cubicBezTo>
                    <a:pt x="8205" y="1707"/>
                    <a:pt x="8205" y="1707"/>
                    <a:pt x="8205" y="1707"/>
                  </a:cubicBezTo>
                  <a:cubicBezTo>
                    <a:pt x="8275" y="1783"/>
                    <a:pt x="8275" y="1783"/>
                    <a:pt x="8275" y="1783"/>
                  </a:cubicBezTo>
                  <a:cubicBezTo>
                    <a:pt x="8459" y="1983"/>
                    <a:pt x="8630" y="2176"/>
                    <a:pt x="8784" y="2357"/>
                  </a:cubicBezTo>
                  <a:cubicBezTo>
                    <a:pt x="11794" y="5894"/>
                    <a:pt x="11794" y="5894"/>
                    <a:pt x="11794" y="5894"/>
                  </a:cubicBezTo>
                  <a:cubicBezTo>
                    <a:pt x="11794" y="5894"/>
                    <a:pt x="11849" y="5960"/>
                    <a:pt x="11933" y="6058"/>
                  </a:cubicBezTo>
                  <a:cubicBezTo>
                    <a:pt x="11976" y="6107"/>
                    <a:pt x="12026" y="6165"/>
                    <a:pt x="12079" y="6228"/>
                  </a:cubicBezTo>
                  <a:cubicBezTo>
                    <a:pt x="12133" y="6289"/>
                    <a:pt x="12186" y="6353"/>
                    <a:pt x="12247" y="6419"/>
                  </a:cubicBezTo>
                  <a:cubicBezTo>
                    <a:pt x="12367" y="6553"/>
                    <a:pt x="12489" y="6682"/>
                    <a:pt x="12580" y="6779"/>
                  </a:cubicBezTo>
                  <a:cubicBezTo>
                    <a:pt x="12673" y="6874"/>
                    <a:pt x="12735" y="6938"/>
                    <a:pt x="12735" y="6938"/>
                  </a:cubicBezTo>
                  <a:cubicBezTo>
                    <a:pt x="12780" y="6984"/>
                    <a:pt x="12780" y="6984"/>
                    <a:pt x="12780" y="6984"/>
                  </a:cubicBezTo>
                  <a:cubicBezTo>
                    <a:pt x="13320" y="7523"/>
                    <a:pt x="13685" y="7881"/>
                    <a:pt x="13780" y="8082"/>
                  </a:cubicBezTo>
                  <a:cubicBezTo>
                    <a:pt x="13780" y="8082"/>
                    <a:pt x="13844" y="8123"/>
                    <a:pt x="13955" y="8193"/>
                  </a:cubicBezTo>
                  <a:cubicBezTo>
                    <a:pt x="14067" y="8263"/>
                    <a:pt x="14227" y="8361"/>
                    <a:pt x="14423" y="8474"/>
                  </a:cubicBezTo>
                  <a:cubicBezTo>
                    <a:pt x="14620" y="8585"/>
                    <a:pt x="14851" y="8713"/>
                    <a:pt x="15104" y="8838"/>
                  </a:cubicBezTo>
                  <a:cubicBezTo>
                    <a:pt x="15166" y="8871"/>
                    <a:pt x="15232" y="8901"/>
                    <a:pt x="15297" y="8933"/>
                  </a:cubicBezTo>
                  <a:cubicBezTo>
                    <a:pt x="15330" y="8948"/>
                    <a:pt x="15363" y="8964"/>
                    <a:pt x="15396" y="8980"/>
                  </a:cubicBezTo>
                  <a:cubicBezTo>
                    <a:pt x="15431" y="8996"/>
                    <a:pt x="15466" y="9012"/>
                    <a:pt x="15502" y="9029"/>
                  </a:cubicBezTo>
                  <a:cubicBezTo>
                    <a:pt x="15534" y="9043"/>
                    <a:pt x="15566" y="9058"/>
                    <a:pt x="15598" y="9072"/>
                  </a:cubicBezTo>
                  <a:cubicBezTo>
                    <a:pt x="15646" y="9094"/>
                    <a:pt x="15646" y="9094"/>
                    <a:pt x="15646" y="9094"/>
                  </a:cubicBezTo>
                  <a:cubicBezTo>
                    <a:pt x="15701" y="9117"/>
                    <a:pt x="15701" y="9117"/>
                    <a:pt x="15701" y="9117"/>
                  </a:cubicBezTo>
                  <a:cubicBezTo>
                    <a:pt x="15776" y="9148"/>
                    <a:pt x="15851" y="9179"/>
                    <a:pt x="15926" y="9210"/>
                  </a:cubicBezTo>
                  <a:cubicBezTo>
                    <a:pt x="16216" y="9324"/>
                    <a:pt x="16510" y="9423"/>
                    <a:pt x="16788" y="9504"/>
                  </a:cubicBezTo>
                  <a:cubicBezTo>
                    <a:pt x="17066" y="9584"/>
                    <a:pt x="17328" y="9646"/>
                    <a:pt x="17553" y="9694"/>
                  </a:cubicBezTo>
                  <a:cubicBezTo>
                    <a:pt x="17778" y="9740"/>
                    <a:pt x="17966" y="9773"/>
                    <a:pt x="18098" y="9793"/>
                  </a:cubicBezTo>
                  <a:cubicBezTo>
                    <a:pt x="18230" y="9815"/>
                    <a:pt x="18306" y="9823"/>
                    <a:pt x="18306" y="9823"/>
                  </a:cubicBezTo>
                  <a:cubicBezTo>
                    <a:pt x="18587" y="9854"/>
                    <a:pt x="18877" y="9871"/>
                    <a:pt x="19173" y="9888"/>
                  </a:cubicBezTo>
                  <a:cubicBezTo>
                    <a:pt x="19468" y="9902"/>
                    <a:pt x="19769" y="9909"/>
                    <a:pt x="20073" y="9911"/>
                  </a:cubicBezTo>
                  <a:cubicBezTo>
                    <a:pt x="20148" y="9910"/>
                    <a:pt x="20224" y="9910"/>
                    <a:pt x="20299" y="9909"/>
                  </a:cubicBezTo>
                  <a:cubicBezTo>
                    <a:pt x="20406" y="9909"/>
                    <a:pt x="20406" y="9909"/>
                    <a:pt x="20406" y="9909"/>
                  </a:cubicBezTo>
                  <a:cubicBezTo>
                    <a:pt x="20520" y="9906"/>
                    <a:pt x="20520" y="9906"/>
                    <a:pt x="20520" y="9906"/>
                  </a:cubicBezTo>
                  <a:cubicBezTo>
                    <a:pt x="20597" y="9905"/>
                    <a:pt x="20674" y="9903"/>
                    <a:pt x="20750" y="9901"/>
                  </a:cubicBezTo>
                  <a:cubicBezTo>
                    <a:pt x="20825" y="9898"/>
                    <a:pt x="20899" y="9895"/>
                    <a:pt x="20973" y="9892"/>
                  </a:cubicBezTo>
                  <a:cubicBezTo>
                    <a:pt x="21268" y="9879"/>
                    <a:pt x="21558" y="9861"/>
                    <a:pt x="21840" y="9833"/>
                  </a:cubicBezTo>
                  <a:cubicBezTo>
                    <a:pt x="21840" y="9833"/>
                    <a:pt x="22245" y="9782"/>
                    <a:pt x="22649" y="9697"/>
                  </a:cubicBezTo>
                  <a:cubicBezTo>
                    <a:pt x="22850" y="9656"/>
                    <a:pt x="23051" y="9606"/>
                    <a:pt x="23201" y="9568"/>
                  </a:cubicBezTo>
                  <a:cubicBezTo>
                    <a:pt x="23351" y="9526"/>
                    <a:pt x="23451" y="9498"/>
                    <a:pt x="23451" y="9498"/>
                  </a:cubicBezTo>
                  <a:cubicBezTo>
                    <a:pt x="23359" y="9514"/>
                    <a:pt x="23359" y="9514"/>
                    <a:pt x="23359" y="9514"/>
                  </a:cubicBezTo>
                  <a:cubicBezTo>
                    <a:pt x="22975" y="9579"/>
                    <a:pt x="22674" y="9593"/>
                    <a:pt x="22469" y="9578"/>
                  </a:cubicBezTo>
                  <a:cubicBezTo>
                    <a:pt x="22263" y="9565"/>
                    <a:pt x="22152" y="9524"/>
                    <a:pt x="22143" y="9466"/>
                  </a:cubicBezTo>
                  <a:cubicBezTo>
                    <a:pt x="22134" y="9409"/>
                    <a:pt x="22226" y="9338"/>
                    <a:pt x="22405" y="9250"/>
                  </a:cubicBezTo>
                  <a:cubicBezTo>
                    <a:pt x="22585" y="9163"/>
                    <a:pt x="22853" y="9058"/>
                    <a:pt x="23191" y="8920"/>
                  </a:cubicBezTo>
                  <a:cubicBezTo>
                    <a:pt x="23191" y="8920"/>
                    <a:pt x="23208" y="8913"/>
                    <a:pt x="23239" y="8900"/>
                  </a:cubicBezTo>
                  <a:cubicBezTo>
                    <a:pt x="23269" y="8888"/>
                    <a:pt x="23314" y="8869"/>
                    <a:pt x="23371" y="8844"/>
                  </a:cubicBezTo>
                  <a:cubicBezTo>
                    <a:pt x="23485" y="8795"/>
                    <a:pt x="23647" y="8722"/>
                    <a:pt x="23836" y="8627"/>
                  </a:cubicBezTo>
                  <a:cubicBezTo>
                    <a:pt x="24025" y="8532"/>
                    <a:pt x="24241" y="8413"/>
                    <a:pt x="24464" y="8276"/>
                  </a:cubicBezTo>
                  <a:cubicBezTo>
                    <a:pt x="24687" y="8138"/>
                    <a:pt x="24919" y="7985"/>
                    <a:pt x="25145" y="7825"/>
                  </a:cubicBezTo>
                  <a:cubicBezTo>
                    <a:pt x="25598" y="7504"/>
                    <a:pt x="26023" y="7153"/>
                    <a:pt x="26327" y="6877"/>
                  </a:cubicBezTo>
                  <a:cubicBezTo>
                    <a:pt x="26403" y="6808"/>
                    <a:pt x="26472" y="6744"/>
                    <a:pt x="26533" y="6688"/>
                  </a:cubicBezTo>
                  <a:cubicBezTo>
                    <a:pt x="26593" y="6630"/>
                    <a:pt x="26646" y="6580"/>
                    <a:pt x="26689" y="6539"/>
                  </a:cubicBezTo>
                  <a:cubicBezTo>
                    <a:pt x="26775" y="6456"/>
                    <a:pt x="26822" y="6407"/>
                    <a:pt x="26822" y="6407"/>
                  </a:cubicBezTo>
                  <a:cubicBezTo>
                    <a:pt x="26834" y="6395"/>
                    <a:pt x="26834" y="6395"/>
                    <a:pt x="26834" y="6395"/>
                  </a:cubicBezTo>
                  <a:cubicBezTo>
                    <a:pt x="27033" y="6196"/>
                    <a:pt x="27258" y="5973"/>
                    <a:pt x="27497" y="5729"/>
                  </a:cubicBezTo>
                  <a:cubicBezTo>
                    <a:pt x="27589" y="5635"/>
                    <a:pt x="27682" y="5540"/>
                    <a:pt x="27775" y="5445"/>
                  </a:cubicBezTo>
                  <a:cubicBezTo>
                    <a:pt x="27873" y="5347"/>
                    <a:pt x="27973" y="5248"/>
                    <a:pt x="28073" y="5148"/>
                  </a:cubicBezTo>
                  <a:cubicBezTo>
                    <a:pt x="28277" y="4948"/>
                    <a:pt x="28491" y="4743"/>
                    <a:pt x="28711" y="4538"/>
                  </a:cubicBezTo>
                  <a:cubicBezTo>
                    <a:pt x="29450" y="3851"/>
                    <a:pt x="30175" y="3239"/>
                    <a:pt x="30753" y="2814"/>
                  </a:cubicBezTo>
                  <a:cubicBezTo>
                    <a:pt x="30753" y="2814"/>
                    <a:pt x="31655" y="2150"/>
                    <a:pt x="32558" y="1486"/>
                  </a:cubicBezTo>
                  <a:cubicBezTo>
                    <a:pt x="32783" y="1319"/>
                    <a:pt x="33011" y="1157"/>
                    <a:pt x="33219" y="997"/>
                  </a:cubicBezTo>
                  <a:cubicBezTo>
                    <a:pt x="33324" y="919"/>
                    <a:pt x="33429" y="849"/>
                    <a:pt x="33532" y="801"/>
                  </a:cubicBezTo>
                  <a:cubicBezTo>
                    <a:pt x="33633" y="753"/>
                    <a:pt x="33737" y="734"/>
                    <a:pt x="33830" y="732"/>
                  </a:cubicBezTo>
                  <a:cubicBezTo>
                    <a:pt x="33877" y="730"/>
                    <a:pt x="33922" y="733"/>
                    <a:pt x="33964" y="739"/>
                  </a:cubicBezTo>
                  <a:cubicBezTo>
                    <a:pt x="34012" y="744"/>
                    <a:pt x="34057" y="749"/>
                    <a:pt x="34099" y="754"/>
                  </a:cubicBezTo>
                  <a:cubicBezTo>
                    <a:pt x="34184" y="764"/>
                    <a:pt x="34258" y="773"/>
                    <a:pt x="34319" y="780"/>
                  </a:cubicBezTo>
                  <a:cubicBezTo>
                    <a:pt x="34441" y="794"/>
                    <a:pt x="34510" y="802"/>
                    <a:pt x="34510" y="802"/>
                  </a:cubicBezTo>
                  <a:cubicBezTo>
                    <a:pt x="35076" y="867"/>
                    <a:pt x="35439" y="950"/>
                    <a:pt x="35565" y="1040"/>
                  </a:cubicBezTo>
                  <a:cubicBezTo>
                    <a:pt x="35598" y="1063"/>
                    <a:pt x="35615" y="1086"/>
                    <a:pt x="35615" y="1111"/>
                  </a:cubicBezTo>
                  <a:cubicBezTo>
                    <a:pt x="35615" y="1118"/>
                    <a:pt x="35613" y="1126"/>
                    <a:pt x="35610" y="1134"/>
                  </a:cubicBezTo>
                  <a:cubicBezTo>
                    <a:pt x="35561" y="1242"/>
                    <a:pt x="35176" y="1342"/>
                    <a:pt x="34510" y="1419"/>
                  </a:cubicBezTo>
                  <a:cubicBezTo>
                    <a:pt x="34425" y="1429"/>
                    <a:pt x="34425" y="1429"/>
                    <a:pt x="34425" y="1429"/>
                  </a:cubicBezTo>
                  <a:cubicBezTo>
                    <a:pt x="35326" y="1429"/>
                    <a:pt x="35326" y="1429"/>
                    <a:pt x="35326" y="1429"/>
                  </a:cubicBezTo>
                  <a:cubicBezTo>
                    <a:pt x="35326" y="1429"/>
                    <a:pt x="35841" y="1369"/>
                    <a:pt x="36357" y="1310"/>
                  </a:cubicBezTo>
                  <a:cubicBezTo>
                    <a:pt x="36422" y="1302"/>
                    <a:pt x="36486" y="1295"/>
                    <a:pt x="36549" y="1288"/>
                  </a:cubicBezTo>
                  <a:cubicBezTo>
                    <a:pt x="36555" y="1287"/>
                    <a:pt x="36555" y="1287"/>
                    <a:pt x="36555" y="1287"/>
                  </a:cubicBezTo>
                  <a:cubicBezTo>
                    <a:pt x="36558" y="1287"/>
                    <a:pt x="36558" y="1287"/>
                    <a:pt x="36558" y="1287"/>
                  </a:cubicBezTo>
                  <a:cubicBezTo>
                    <a:pt x="36560" y="1286"/>
                    <a:pt x="36560" y="1286"/>
                    <a:pt x="36560" y="1286"/>
                  </a:cubicBezTo>
                  <a:cubicBezTo>
                    <a:pt x="36561" y="1286"/>
                    <a:pt x="36561" y="1286"/>
                    <a:pt x="36561" y="1286"/>
                  </a:cubicBezTo>
                  <a:cubicBezTo>
                    <a:pt x="36537" y="1286"/>
                    <a:pt x="36554" y="1286"/>
                    <a:pt x="36549" y="1286"/>
                  </a:cubicBezTo>
                  <a:cubicBezTo>
                    <a:pt x="36561" y="1285"/>
                    <a:pt x="36561" y="1285"/>
                    <a:pt x="36561" y="1285"/>
                  </a:cubicBezTo>
                  <a:cubicBezTo>
                    <a:pt x="36585" y="1283"/>
                    <a:pt x="36585" y="1283"/>
                    <a:pt x="36585" y="1283"/>
                  </a:cubicBezTo>
                  <a:cubicBezTo>
                    <a:pt x="36632" y="1278"/>
                    <a:pt x="36632" y="1278"/>
                    <a:pt x="36632" y="1278"/>
                  </a:cubicBezTo>
                  <a:cubicBezTo>
                    <a:pt x="36662" y="1275"/>
                    <a:pt x="36692" y="1272"/>
                    <a:pt x="36722" y="1269"/>
                  </a:cubicBezTo>
                  <a:cubicBezTo>
                    <a:pt x="36769" y="1266"/>
                    <a:pt x="36813" y="1260"/>
                    <a:pt x="36859" y="1258"/>
                  </a:cubicBezTo>
                  <a:cubicBezTo>
                    <a:pt x="36906" y="1257"/>
                    <a:pt x="36951" y="1253"/>
                    <a:pt x="36991" y="1253"/>
                  </a:cubicBezTo>
                  <a:cubicBezTo>
                    <a:pt x="37032" y="1253"/>
                    <a:pt x="37069" y="1253"/>
                    <a:pt x="37102" y="1253"/>
                  </a:cubicBezTo>
                  <a:cubicBezTo>
                    <a:pt x="37135" y="1255"/>
                    <a:pt x="37164" y="1256"/>
                    <a:pt x="37187" y="1257"/>
                  </a:cubicBezTo>
                  <a:cubicBezTo>
                    <a:pt x="37235" y="1258"/>
                    <a:pt x="37260" y="1261"/>
                    <a:pt x="37260" y="1261"/>
                  </a:cubicBezTo>
                  <a:cubicBezTo>
                    <a:pt x="37456" y="1276"/>
                    <a:pt x="37662" y="1319"/>
                    <a:pt x="37863" y="1403"/>
                  </a:cubicBezTo>
                  <a:cubicBezTo>
                    <a:pt x="37963" y="1447"/>
                    <a:pt x="38063" y="1498"/>
                    <a:pt x="38159" y="1563"/>
                  </a:cubicBezTo>
                  <a:cubicBezTo>
                    <a:pt x="38206" y="1597"/>
                    <a:pt x="38254" y="1630"/>
                    <a:pt x="38299" y="1669"/>
                  </a:cubicBezTo>
                  <a:cubicBezTo>
                    <a:pt x="38334" y="1698"/>
                    <a:pt x="38334" y="1698"/>
                    <a:pt x="38334" y="1698"/>
                  </a:cubicBezTo>
                  <a:cubicBezTo>
                    <a:pt x="38335" y="1699"/>
                    <a:pt x="38335" y="1699"/>
                    <a:pt x="38335" y="1699"/>
                  </a:cubicBezTo>
                  <a:cubicBezTo>
                    <a:pt x="38332" y="1695"/>
                    <a:pt x="38344" y="1708"/>
                    <a:pt x="38327" y="1690"/>
                  </a:cubicBezTo>
                  <a:cubicBezTo>
                    <a:pt x="38328" y="1691"/>
                    <a:pt x="38328" y="1691"/>
                    <a:pt x="38328" y="1691"/>
                  </a:cubicBezTo>
                  <a:cubicBezTo>
                    <a:pt x="38330" y="1693"/>
                    <a:pt x="38330" y="1693"/>
                    <a:pt x="38330" y="1693"/>
                  </a:cubicBezTo>
                  <a:cubicBezTo>
                    <a:pt x="38335" y="1698"/>
                    <a:pt x="38335" y="1698"/>
                    <a:pt x="38335" y="1698"/>
                  </a:cubicBezTo>
                  <a:cubicBezTo>
                    <a:pt x="38345" y="1707"/>
                    <a:pt x="38345" y="1707"/>
                    <a:pt x="38345" y="1707"/>
                  </a:cubicBezTo>
                  <a:cubicBezTo>
                    <a:pt x="38365" y="1727"/>
                    <a:pt x="38365" y="1727"/>
                    <a:pt x="38365" y="1727"/>
                  </a:cubicBezTo>
                  <a:cubicBezTo>
                    <a:pt x="38406" y="1765"/>
                    <a:pt x="38406" y="1765"/>
                    <a:pt x="38406" y="1765"/>
                  </a:cubicBezTo>
                  <a:cubicBezTo>
                    <a:pt x="38425" y="1784"/>
                    <a:pt x="38425" y="1784"/>
                    <a:pt x="38425" y="1784"/>
                  </a:cubicBezTo>
                  <a:cubicBezTo>
                    <a:pt x="38439" y="1799"/>
                    <a:pt x="38439" y="1799"/>
                    <a:pt x="38439" y="1799"/>
                  </a:cubicBezTo>
                  <a:cubicBezTo>
                    <a:pt x="38458" y="1819"/>
                    <a:pt x="38476" y="1837"/>
                    <a:pt x="38496" y="1859"/>
                  </a:cubicBezTo>
                  <a:cubicBezTo>
                    <a:pt x="38556" y="1931"/>
                    <a:pt x="38556" y="1931"/>
                    <a:pt x="38556" y="1931"/>
                  </a:cubicBezTo>
                  <a:cubicBezTo>
                    <a:pt x="38594" y="1981"/>
                    <a:pt x="38632" y="2031"/>
                    <a:pt x="38666" y="2086"/>
                  </a:cubicBezTo>
                  <a:cubicBezTo>
                    <a:pt x="38735" y="2195"/>
                    <a:pt x="38794" y="2314"/>
                    <a:pt x="38844" y="2441"/>
                  </a:cubicBezTo>
                  <a:cubicBezTo>
                    <a:pt x="38942" y="2696"/>
                    <a:pt x="38995" y="2985"/>
                    <a:pt x="39009" y="3288"/>
                  </a:cubicBezTo>
                  <a:cubicBezTo>
                    <a:pt x="39012" y="3326"/>
                    <a:pt x="39011" y="3364"/>
                    <a:pt x="39012" y="3402"/>
                  </a:cubicBezTo>
                  <a:cubicBezTo>
                    <a:pt x="39013" y="3440"/>
                    <a:pt x="39014" y="3477"/>
                    <a:pt x="39013" y="3520"/>
                  </a:cubicBezTo>
                  <a:cubicBezTo>
                    <a:pt x="39012" y="3603"/>
                    <a:pt x="39012" y="3685"/>
                    <a:pt x="39011" y="3767"/>
                  </a:cubicBezTo>
                  <a:cubicBezTo>
                    <a:pt x="39008" y="3931"/>
                    <a:pt x="39005" y="4093"/>
                    <a:pt x="39003" y="4255"/>
                  </a:cubicBezTo>
                  <a:cubicBezTo>
                    <a:pt x="38995" y="4575"/>
                    <a:pt x="38984" y="4888"/>
                    <a:pt x="38970" y="5187"/>
                  </a:cubicBezTo>
                  <a:cubicBezTo>
                    <a:pt x="38941" y="5787"/>
                    <a:pt x="38899" y="6338"/>
                    <a:pt x="38844" y="6811"/>
                  </a:cubicBezTo>
                  <a:cubicBezTo>
                    <a:pt x="38606" y="8873"/>
                    <a:pt x="38606" y="8873"/>
                    <a:pt x="38606" y="8873"/>
                  </a:cubicBezTo>
                  <a:cubicBezTo>
                    <a:pt x="38606" y="9464"/>
                    <a:pt x="38606" y="9464"/>
                    <a:pt x="38606" y="9464"/>
                  </a:cubicBezTo>
                  <a:cubicBezTo>
                    <a:pt x="38606" y="10426"/>
                    <a:pt x="38606" y="10426"/>
                    <a:pt x="38606" y="10426"/>
                  </a:cubicBezTo>
                  <a:cubicBezTo>
                    <a:pt x="38606" y="16732"/>
                    <a:pt x="38606" y="16732"/>
                    <a:pt x="38606" y="16732"/>
                  </a:cubicBezTo>
                  <a:cubicBezTo>
                    <a:pt x="38706" y="16074"/>
                    <a:pt x="38827" y="15717"/>
                    <a:pt x="38955" y="15717"/>
                  </a:cubicBezTo>
                  <a:cubicBezTo>
                    <a:pt x="39110" y="15717"/>
                    <a:pt x="39255" y="16238"/>
                    <a:pt x="39365" y="17184"/>
                  </a:cubicBezTo>
                  <a:cubicBezTo>
                    <a:pt x="39365" y="17184"/>
                    <a:pt x="39387" y="17380"/>
                    <a:pt x="39421" y="17673"/>
                  </a:cubicBezTo>
                  <a:cubicBezTo>
                    <a:pt x="39438" y="17820"/>
                    <a:pt x="39458" y="17991"/>
                    <a:pt x="39479" y="18174"/>
                  </a:cubicBezTo>
                  <a:cubicBezTo>
                    <a:pt x="39490" y="18266"/>
                    <a:pt x="39501" y="18360"/>
                    <a:pt x="39512" y="18457"/>
                  </a:cubicBezTo>
                  <a:cubicBezTo>
                    <a:pt x="39514" y="18482"/>
                    <a:pt x="39518" y="18502"/>
                    <a:pt x="39520" y="18532"/>
                  </a:cubicBezTo>
                  <a:cubicBezTo>
                    <a:pt x="39522" y="18557"/>
                    <a:pt x="39525" y="18578"/>
                    <a:pt x="39525" y="18609"/>
                  </a:cubicBezTo>
                  <a:cubicBezTo>
                    <a:pt x="39527" y="18668"/>
                    <a:pt x="39522" y="18724"/>
                    <a:pt x="39511" y="18784"/>
                  </a:cubicBezTo>
                  <a:cubicBezTo>
                    <a:pt x="39499" y="18844"/>
                    <a:pt x="39477" y="18907"/>
                    <a:pt x="39440" y="18967"/>
                  </a:cubicBezTo>
                  <a:cubicBezTo>
                    <a:pt x="39404" y="19026"/>
                    <a:pt x="39352" y="19081"/>
                    <a:pt x="39291" y="19120"/>
                  </a:cubicBezTo>
                  <a:cubicBezTo>
                    <a:pt x="39231" y="19158"/>
                    <a:pt x="39166" y="19183"/>
                    <a:pt x="39104" y="19199"/>
                  </a:cubicBezTo>
                  <a:cubicBezTo>
                    <a:pt x="39073" y="19205"/>
                    <a:pt x="39042" y="19212"/>
                    <a:pt x="39013" y="19215"/>
                  </a:cubicBezTo>
                  <a:cubicBezTo>
                    <a:pt x="38987" y="19218"/>
                    <a:pt x="38961" y="19222"/>
                    <a:pt x="38936" y="19225"/>
                  </a:cubicBezTo>
                  <a:cubicBezTo>
                    <a:pt x="38752" y="19246"/>
                    <a:pt x="38581" y="19266"/>
                    <a:pt x="38435" y="19283"/>
                  </a:cubicBezTo>
                  <a:cubicBezTo>
                    <a:pt x="38142" y="19316"/>
                    <a:pt x="37946" y="19339"/>
                    <a:pt x="37946" y="19339"/>
                  </a:cubicBezTo>
                  <a:cubicBezTo>
                    <a:pt x="37946" y="19339"/>
                    <a:pt x="37826" y="19353"/>
                    <a:pt x="37646" y="19374"/>
                  </a:cubicBezTo>
                  <a:cubicBezTo>
                    <a:pt x="37556" y="19384"/>
                    <a:pt x="37451" y="19396"/>
                    <a:pt x="37338" y="19409"/>
                  </a:cubicBezTo>
                  <a:cubicBezTo>
                    <a:pt x="37310" y="19413"/>
                    <a:pt x="37281" y="19416"/>
                    <a:pt x="37252" y="19419"/>
                  </a:cubicBezTo>
                  <a:cubicBezTo>
                    <a:pt x="37230" y="19422"/>
                    <a:pt x="37230" y="19422"/>
                    <a:pt x="37230" y="19422"/>
                  </a:cubicBezTo>
                  <a:cubicBezTo>
                    <a:pt x="37219" y="19423"/>
                    <a:pt x="37219" y="19423"/>
                    <a:pt x="37219" y="19423"/>
                  </a:cubicBezTo>
                  <a:cubicBezTo>
                    <a:pt x="37214" y="19424"/>
                    <a:pt x="37214" y="19424"/>
                    <a:pt x="37214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03" y="19424"/>
                    <a:pt x="37203" y="19424"/>
                    <a:pt x="37203" y="19424"/>
                  </a:cubicBezTo>
                  <a:cubicBezTo>
                    <a:pt x="37201" y="19424"/>
                    <a:pt x="37201" y="19424"/>
                    <a:pt x="37201" y="19424"/>
                  </a:cubicBezTo>
                  <a:cubicBezTo>
                    <a:pt x="37157" y="19429"/>
                    <a:pt x="37157" y="19429"/>
                    <a:pt x="37157" y="19429"/>
                  </a:cubicBezTo>
                  <a:cubicBezTo>
                    <a:pt x="37097" y="19434"/>
                    <a:pt x="37042" y="19441"/>
                    <a:pt x="36968" y="19444"/>
                  </a:cubicBezTo>
                  <a:cubicBezTo>
                    <a:pt x="36899" y="19447"/>
                    <a:pt x="36829" y="19450"/>
                    <a:pt x="36764" y="19450"/>
                  </a:cubicBezTo>
                  <a:cubicBezTo>
                    <a:pt x="36698" y="19451"/>
                    <a:pt x="36632" y="19449"/>
                    <a:pt x="36568" y="19447"/>
                  </a:cubicBezTo>
                  <a:cubicBezTo>
                    <a:pt x="36440" y="19442"/>
                    <a:pt x="36319" y="19430"/>
                    <a:pt x="36215" y="19416"/>
                  </a:cubicBezTo>
                  <a:cubicBezTo>
                    <a:pt x="36162" y="19410"/>
                    <a:pt x="36115" y="19400"/>
                    <a:pt x="36072" y="19393"/>
                  </a:cubicBezTo>
                  <a:cubicBezTo>
                    <a:pt x="36029" y="19386"/>
                    <a:pt x="35992" y="19379"/>
                    <a:pt x="35962" y="19372"/>
                  </a:cubicBezTo>
                  <a:cubicBezTo>
                    <a:pt x="35900" y="19358"/>
                    <a:pt x="35865" y="19349"/>
                    <a:pt x="35865" y="19349"/>
                  </a:cubicBezTo>
                  <a:cubicBezTo>
                    <a:pt x="35865" y="19349"/>
                    <a:pt x="35847" y="19346"/>
                    <a:pt x="35816" y="19337"/>
                  </a:cubicBezTo>
                  <a:cubicBezTo>
                    <a:pt x="35784" y="19328"/>
                    <a:pt x="35739" y="19315"/>
                    <a:pt x="35685" y="19300"/>
                  </a:cubicBezTo>
                  <a:cubicBezTo>
                    <a:pt x="35577" y="19265"/>
                    <a:pt x="35432" y="19214"/>
                    <a:pt x="35292" y="19147"/>
                  </a:cubicBezTo>
                  <a:cubicBezTo>
                    <a:pt x="35151" y="19082"/>
                    <a:pt x="35017" y="19001"/>
                    <a:pt x="34917" y="18937"/>
                  </a:cubicBezTo>
                  <a:cubicBezTo>
                    <a:pt x="34868" y="18903"/>
                    <a:pt x="34828" y="18874"/>
                    <a:pt x="34800" y="18855"/>
                  </a:cubicBezTo>
                  <a:cubicBezTo>
                    <a:pt x="34771" y="18835"/>
                    <a:pt x="34756" y="18822"/>
                    <a:pt x="34756" y="18822"/>
                  </a:cubicBezTo>
                  <a:cubicBezTo>
                    <a:pt x="34693" y="18772"/>
                    <a:pt x="34693" y="18772"/>
                    <a:pt x="34693" y="18772"/>
                  </a:cubicBezTo>
                  <a:cubicBezTo>
                    <a:pt x="34661" y="18746"/>
                    <a:pt x="34661" y="18746"/>
                    <a:pt x="34661" y="18746"/>
                  </a:cubicBezTo>
                  <a:cubicBezTo>
                    <a:pt x="34653" y="18740"/>
                    <a:pt x="34653" y="18740"/>
                    <a:pt x="34653" y="18740"/>
                  </a:cubicBezTo>
                  <a:cubicBezTo>
                    <a:pt x="34649" y="18737"/>
                    <a:pt x="34649" y="18737"/>
                    <a:pt x="34649" y="18737"/>
                  </a:cubicBezTo>
                  <a:cubicBezTo>
                    <a:pt x="34648" y="18736"/>
                    <a:pt x="34648" y="18736"/>
                    <a:pt x="34648" y="18736"/>
                  </a:cubicBezTo>
                  <a:cubicBezTo>
                    <a:pt x="34642" y="18730"/>
                    <a:pt x="34661" y="18749"/>
                    <a:pt x="34635" y="18723"/>
                  </a:cubicBezTo>
                  <a:cubicBezTo>
                    <a:pt x="34634" y="18722"/>
                    <a:pt x="34634" y="18722"/>
                    <a:pt x="34634" y="18722"/>
                  </a:cubicBezTo>
                  <a:cubicBezTo>
                    <a:pt x="34632" y="18721"/>
                    <a:pt x="34632" y="18721"/>
                    <a:pt x="34632" y="18721"/>
                  </a:cubicBezTo>
                  <a:cubicBezTo>
                    <a:pt x="34620" y="18710"/>
                    <a:pt x="34620" y="18710"/>
                    <a:pt x="34620" y="18710"/>
                  </a:cubicBezTo>
                  <a:cubicBezTo>
                    <a:pt x="34570" y="18668"/>
                    <a:pt x="34570" y="18668"/>
                    <a:pt x="34570" y="18668"/>
                  </a:cubicBezTo>
                  <a:cubicBezTo>
                    <a:pt x="34545" y="18646"/>
                    <a:pt x="34545" y="18646"/>
                    <a:pt x="34545" y="18646"/>
                  </a:cubicBezTo>
                  <a:cubicBezTo>
                    <a:pt x="34533" y="18635"/>
                    <a:pt x="34533" y="18635"/>
                    <a:pt x="34533" y="18635"/>
                  </a:cubicBezTo>
                  <a:cubicBezTo>
                    <a:pt x="34516" y="18619"/>
                    <a:pt x="34516" y="18619"/>
                    <a:pt x="34516" y="18619"/>
                  </a:cubicBezTo>
                  <a:cubicBezTo>
                    <a:pt x="34472" y="18575"/>
                    <a:pt x="34424" y="18527"/>
                    <a:pt x="34384" y="18482"/>
                  </a:cubicBezTo>
                  <a:cubicBezTo>
                    <a:pt x="34346" y="18438"/>
                    <a:pt x="34305" y="18393"/>
                    <a:pt x="34268" y="18346"/>
                  </a:cubicBezTo>
                  <a:cubicBezTo>
                    <a:pt x="34117" y="18158"/>
                    <a:pt x="33984" y="17940"/>
                    <a:pt x="33878" y="17705"/>
                  </a:cubicBezTo>
                  <a:cubicBezTo>
                    <a:pt x="33663" y="17233"/>
                    <a:pt x="33564" y="16699"/>
                    <a:pt x="33553" y="16173"/>
                  </a:cubicBezTo>
                  <a:cubicBezTo>
                    <a:pt x="33553" y="16173"/>
                    <a:pt x="33554" y="16208"/>
                    <a:pt x="33555" y="16269"/>
                  </a:cubicBezTo>
                  <a:cubicBezTo>
                    <a:pt x="33555" y="16330"/>
                    <a:pt x="33558" y="16418"/>
                    <a:pt x="33565" y="16524"/>
                  </a:cubicBezTo>
                  <a:cubicBezTo>
                    <a:pt x="33580" y="16737"/>
                    <a:pt x="33614" y="17025"/>
                    <a:pt x="33691" y="17316"/>
                  </a:cubicBezTo>
                  <a:cubicBezTo>
                    <a:pt x="33766" y="17608"/>
                    <a:pt x="33886" y="17897"/>
                    <a:pt x="34000" y="18104"/>
                  </a:cubicBezTo>
                  <a:cubicBezTo>
                    <a:pt x="34058" y="18207"/>
                    <a:pt x="34109" y="18292"/>
                    <a:pt x="34149" y="18349"/>
                  </a:cubicBezTo>
                  <a:cubicBezTo>
                    <a:pt x="34187" y="18407"/>
                    <a:pt x="34210" y="18439"/>
                    <a:pt x="34210" y="184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8" name="Group 12">
            <a:extLst>
              <a:ext uri="{FF2B5EF4-FFF2-40B4-BE49-F238E27FC236}">
                <a16:creationId xmlns:a16="http://schemas.microsoft.com/office/drawing/2014/main" id="{E2BEEC67-AC26-434E-84D8-1BA1F7B7D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453808" y="4027124"/>
            <a:ext cx="4114800" cy="2066172"/>
            <a:chOff x="-85296375" y="18191163"/>
            <a:chExt cx="195448238" cy="98140837"/>
          </a:xfrm>
        </p:grpSpPr>
        <p:sp>
          <p:nvSpPr>
            <p:cNvPr id="20" name="Freeform 33">
              <a:extLst>
                <a:ext uri="{FF2B5EF4-FFF2-40B4-BE49-F238E27FC236}">
                  <a16:creationId xmlns:a16="http://schemas.microsoft.com/office/drawing/2014/main" id="{6930301F-806F-4F03-8045-5A79D317F3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CFA39C8A-ADAB-4360-99B5-0A5E77C9E6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43C68E99-E23B-4F90-B6EB-1E41A19F26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6">
              <a:extLst>
                <a:ext uri="{FF2B5EF4-FFF2-40B4-BE49-F238E27FC236}">
                  <a16:creationId xmlns:a16="http://schemas.microsoft.com/office/drawing/2014/main" id="{20D7B921-A9AF-45DF-8880-5199584F4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7">
              <a:extLst>
                <a:ext uri="{FF2B5EF4-FFF2-40B4-BE49-F238E27FC236}">
                  <a16:creationId xmlns:a16="http://schemas.microsoft.com/office/drawing/2014/main" id="{8F60F127-DE01-460C-ABC3-CEDCB99CE3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8">
              <a:extLst>
                <a:ext uri="{FF2B5EF4-FFF2-40B4-BE49-F238E27FC236}">
                  <a16:creationId xmlns:a16="http://schemas.microsoft.com/office/drawing/2014/main" id="{8C189357-2A20-4B80-9778-D49432AA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9">
              <a:extLst>
                <a:ext uri="{FF2B5EF4-FFF2-40B4-BE49-F238E27FC236}">
                  <a16:creationId xmlns:a16="http://schemas.microsoft.com/office/drawing/2014/main" id="{D3C5A244-4736-436C-9321-21FDE3AF1F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0">
              <a:extLst>
                <a:ext uri="{FF2B5EF4-FFF2-40B4-BE49-F238E27FC236}">
                  <a16:creationId xmlns:a16="http://schemas.microsoft.com/office/drawing/2014/main" id="{B08AD53C-0771-4D72-9EA3-5918429A3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41">
              <a:extLst>
                <a:ext uri="{FF2B5EF4-FFF2-40B4-BE49-F238E27FC236}">
                  <a16:creationId xmlns:a16="http://schemas.microsoft.com/office/drawing/2014/main" id="{641635D9-E94C-4A17-A2A4-84857B27EB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2">
              <a:extLst>
                <a:ext uri="{FF2B5EF4-FFF2-40B4-BE49-F238E27FC236}">
                  <a16:creationId xmlns:a16="http://schemas.microsoft.com/office/drawing/2014/main" id="{3C89BB79-CC0D-4B01-8411-318A204B9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6AC261-C38A-4A6F-BB9E-B27F49777DA5}"/>
              </a:ext>
            </a:extLst>
          </p:cNvPr>
          <p:cNvGrpSpPr/>
          <p:nvPr userDrawn="1"/>
        </p:nvGrpSpPr>
        <p:grpSpPr>
          <a:xfrm>
            <a:off x="4038600" y="2482850"/>
            <a:ext cx="4103961" cy="2045507"/>
            <a:chOff x="7391400" y="2420938"/>
            <a:chExt cx="2516188" cy="1254125"/>
          </a:xfrm>
        </p:grpSpPr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EEA824DF-AA9D-4934-800C-822BA0E477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1400" y="2420938"/>
              <a:ext cx="2516188" cy="1254125"/>
            </a:xfrm>
            <a:custGeom>
              <a:avLst/>
              <a:gdLst>
                <a:gd name="T0" fmla="*/ 4981 w 5404"/>
                <a:gd name="T1" fmla="*/ 6 h 2694"/>
                <a:gd name="T2" fmla="*/ 4791 w 5404"/>
                <a:gd name="T3" fmla="*/ 4 h 2694"/>
                <a:gd name="T4" fmla="*/ 3966 w 5404"/>
                <a:gd name="T5" fmla="*/ 489 h 2694"/>
                <a:gd name="T6" fmla="*/ 3500 w 5404"/>
                <a:gd name="T7" fmla="*/ 906 h 2694"/>
                <a:gd name="T8" fmla="*/ 1820 w 5404"/>
                <a:gd name="T9" fmla="*/ 844 h 2694"/>
                <a:gd name="T10" fmla="*/ 1356 w 5404"/>
                <a:gd name="T11" fmla="*/ 412 h 2694"/>
                <a:gd name="T12" fmla="*/ 1152 w 5404"/>
                <a:gd name="T13" fmla="*/ 220 h 2694"/>
                <a:gd name="T14" fmla="*/ 795 w 5404"/>
                <a:gd name="T15" fmla="*/ 24 h 2694"/>
                <a:gd name="T16" fmla="*/ 647 w 5404"/>
                <a:gd name="T17" fmla="*/ 4 h 2694"/>
                <a:gd name="T18" fmla="*/ 91 w 5404"/>
                <a:gd name="T19" fmla="*/ 4 h 2694"/>
                <a:gd name="T20" fmla="*/ 0 w 5404"/>
                <a:gd name="T21" fmla="*/ 2049 h 2694"/>
                <a:gd name="T22" fmla="*/ 255 w 5404"/>
                <a:gd name="T23" fmla="*/ 2616 h 2694"/>
                <a:gd name="T24" fmla="*/ 574 w 5404"/>
                <a:gd name="T25" fmla="*/ 2694 h 2694"/>
                <a:gd name="T26" fmla="*/ 749 w 5404"/>
                <a:gd name="T27" fmla="*/ 2683 h 2694"/>
                <a:gd name="T28" fmla="*/ 874 w 5404"/>
                <a:gd name="T29" fmla="*/ 2529 h 2694"/>
                <a:gd name="T30" fmla="*/ 875 w 5404"/>
                <a:gd name="T31" fmla="*/ 1926 h 2694"/>
                <a:gd name="T32" fmla="*/ 877 w 5404"/>
                <a:gd name="T33" fmla="*/ 1754 h 2694"/>
                <a:gd name="T34" fmla="*/ 1121 w 5404"/>
                <a:gd name="T35" fmla="*/ 1541 h 2694"/>
                <a:gd name="T36" fmla="*/ 1334 w 5404"/>
                <a:gd name="T37" fmla="*/ 1586 h 2694"/>
                <a:gd name="T38" fmla="*/ 2177 w 5404"/>
                <a:gd name="T39" fmla="*/ 2279 h 2694"/>
                <a:gd name="T40" fmla="*/ 2750 w 5404"/>
                <a:gd name="T41" fmla="*/ 2520 h 2694"/>
                <a:gd name="T42" fmla="*/ 3568 w 5404"/>
                <a:gd name="T43" fmla="*/ 1973 h 2694"/>
                <a:gd name="T44" fmla="*/ 4288 w 5404"/>
                <a:gd name="T45" fmla="*/ 1541 h 2694"/>
                <a:gd name="T46" fmla="*/ 4524 w 5404"/>
                <a:gd name="T47" fmla="*/ 1743 h 2694"/>
                <a:gd name="T48" fmla="*/ 4529 w 5404"/>
                <a:gd name="T49" fmla="*/ 1789 h 2694"/>
                <a:gd name="T50" fmla="*/ 4529 w 5404"/>
                <a:gd name="T51" fmla="*/ 2192 h 2694"/>
                <a:gd name="T52" fmla="*/ 4529 w 5404"/>
                <a:gd name="T53" fmla="*/ 2243 h 2694"/>
                <a:gd name="T54" fmla="*/ 4742 w 5404"/>
                <a:gd name="T55" fmla="*/ 2587 h 2694"/>
                <a:gd name="T56" fmla="*/ 5072 w 5404"/>
                <a:gd name="T57" fmla="*/ 2694 h 2694"/>
                <a:gd name="T58" fmla="*/ 5157 w 5404"/>
                <a:gd name="T59" fmla="*/ 2692 h 2694"/>
                <a:gd name="T60" fmla="*/ 5229 w 5404"/>
                <a:gd name="T61" fmla="*/ 2688 h 2694"/>
                <a:gd name="T62" fmla="*/ 5362 w 5404"/>
                <a:gd name="T63" fmla="*/ 2641 h 2694"/>
                <a:gd name="T64" fmla="*/ 5403 w 5404"/>
                <a:gd name="T65" fmla="*/ 2483 h 2694"/>
                <a:gd name="T66" fmla="*/ 5403 w 5404"/>
                <a:gd name="T67" fmla="*/ 1968 h 2694"/>
                <a:gd name="T68" fmla="*/ 5207 w 5404"/>
                <a:gd name="T69" fmla="*/ 1968 h 2694"/>
                <a:gd name="T70" fmla="*/ 5195 w 5404"/>
                <a:gd name="T71" fmla="*/ 2494 h 2694"/>
                <a:gd name="T72" fmla="*/ 5083 w 5404"/>
                <a:gd name="T73" fmla="*/ 2497 h 2694"/>
                <a:gd name="T74" fmla="*/ 4853 w 5404"/>
                <a:gd name="T75" fmla="*/ 2424 h 2694"/>
                <a:gd name="T76" fmla="*/ 4725 w 5404"/>
                <a:gd name="T77" fmla="*/ 2235 h 2694"/>
                <a:gd name="T78" fmla="*/ 4725 w 5404"/>
                <a:gd name="T79" fmla="*/ 1794 h 2694"/>
                <a:gd name="T80" fmla="*/ 4724 w 5404"/>
                <a:gd name="T81" fmla="*/ 1765 h 2694"/>
                <a:gd name="T82" fmla="*/ 4520 w 5404"/>
                <a:gd name="T83" fmla="*/ 1416 h 2694"/>
                <a:gd name="T84" fmla="*/ 3719 w 5404"/>
                <a:gd name="T85" fmla="*/ 1574 h 2694"/>
                <a:gd name="T86" fmla="*/ 2877 w 5404"/>
                <a:gd name="T87" fmla="*/ 2282 h 2694"/>
                <a:gd name="T88" fmla="*/ 2025 w 5404"/>
                <a:gd name="T89" fmla="*/ 1881 h 2694"/>
                <a:gd name="T90" fmla="*/ 1203 w 5404"/>
                <a:gd name="T91" fmla="*/ 1350 h 2694"/>
                <a:gd name="T92" fmla="*/ 1092 w 5404"/>
                <a:gd name="T93" fmla="*/ 1346 h 2694"/>
                <a:gd name="T94" fmla="*/ 678 w 5404"/>
                <a:gd name="T95" fmla="*/ 1784 h 2694"/>
                <a:gd name="T96" fmla="*/ 678 w 5404"/>
                <a:gd name="T97" fmla="*/ 2113 h 2694"/>
                <a:gd name="T98" fmla="*/ 662 w 5404"/>
                <a:gd name="T99" fmla="*/ 2495 h 2694"/>
                <a:gd name="T100" fmla="*/ 493 w 5404"/>
                <a:gd name="T101" fmla="*/ 2494 h 2694"/>
                <a:gd name="T102" fmla="*/ 196 w 5404"/>
                <a:gd name="T103" fmla="*/ 2049 h 2694"/>
                <a:gd name="T104" fmla="*/ 226 w 5404"/>
                <a:gd name="T105" fmla="*/ 192 h 2694"/>
                <a:gd name="T106" fmla="*/ 1222 w 5404"/>
                <a:gd name="T107" fmla="*/ 555 h 2694"/>
                <a:gd name="T108" fmla="*/ 1696 w 5404"/>
                <a:gd name="T109" fmla="*/ 996 h 2694"/>
                <a:gd name="T110" fmla="*/ 3611 w 5404"/>
                <a:gd name="T111" fmla="*/ 1068 h 2694"/>
                <a:gd name="T112" fmla="*/ 4100 w 5404"/>
                <a:gd name="T113" fmla="*/ 632 h 2694"/>
                <a:gd name="T114" fmla="*/ 4791 w 5404"/>
                <a:gd name="T115" fmla="*/ 200 h 2694"/>
                <a:gd name="T116" fmla="*/ 4963 w 5404"/>
                <a:gd name="T117" fmla="*/ 201 h 2694"/>
                <a:gd name="T118" fmla="*/ 5207 w 5404"/>
                <a:gd name="T119" fmla="*/ 469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04" h="2694">
                  <a:moveTo>
                    <a:pt x="5306" y="185"/>
                  </a:moveTo>
                  <a:cubicBezTo>
                    <a:pt x="5244" y="104"/>
                    <a:pt x="5155" y="45"/>
                    <a:pt x="5056" y="19"/>
                  </a:cubicBezTo>
                  <a:cubicBezTo>
                    <a:pt x="5032" y="13"/>
                    <a:pt x="5006" y="8"/>
                    <a:pt x="4981" y="6"/>
                  </a:cubicBezTo>
                  <a:cubicBezTo>
                    <a:pt x="4968" y="5"/>
                    <a:pt x="4956" y="4"/>
                    <a:pt x="4943" y="4"/>
                  </a:cubicBezTo>
                  <a:cubicBezTo>
                    <a:pt x="4912" y="4"/>
                    <a:pt x="4912" y="4"/>
                    <a:pt x="4912" y="4"/>
                  </a:cubicBezTo>
                  <a:cubicBezTo>
                    <a:pt x="4791" y="4"/>
                    <a:pt x="4791" y="4"/>
                    <a:pt x="4791" y="4"/>
                  </a:cubicBezTo>
                  <a:cubicBezTo>
                    <a:pt x="4791" y="4"/>
                    <a:pt x="4599" y="4"/>
                    <a:pt x="4550" y="4"/>
                  </a:cubicBezTo>
                  <a:cubicBezTo>
                    <a:pt x="4502" y="4"/>
                    <a:pt x="4472" y="13"/>
                    <a:pt x="4447" y="37"/>
                  </a:cubicBezTo>
                  <a:cubicBezTo>
                    <a:pt x="4422" y="61"/>
                    <a:pt x="3966" y="489"/>
                    <a:pt x="3966" y="489"/>
                  </a:cubicBezTo>
                  <a:cubicBezTo>
                    <a:pt x="3732" y="709"/>
                    <a:pt x="3732" y="709"/>
                    <a:pt x="3732" y="709"/>
                  </a:cubicBezTo>
                  <a:cubicBezTo>
                    <a:pt x="3693" y="745"/>
                    <a:pt x="3654" y="784"/>
                    <a:pt x="3618" y="815"/>
                  </a:cubicBezTo>
                  <a:cubicBezTo>
                    <a:pt x="3580" y="848"/>
                    <a:pt x="3541" y="878"/>
                    <a:pt x="3500" y="906"/>
                  </a:cubicBezTo>
                  <a:cubicBezTo>
                    <a:pt x="3336" y="1019"/>
                    <a:pt x="3146" y="1093"/>
                    <a:pt x="2949" y="1126"/>
                  </a:cubicBezTo>
                  <a:cubicBezTo>
                    <a:pt x="2751" y="1159"/>
                    <a:pt x="2546" y="1152"/>
                    <a:pt x="2352" y="1105"/>
                  </a:cubicBezTo>
                  <a:cubicBezTo>
                    <a:pt x="2158" y="1058"/>
                    <a:pt x="1974" y="969"/>
                    <a:pt x="1820" y="844"/>
                  </a:cubicBezTo>
                  <a:cubicBezTo>
                    <a:pt x="1781" y="812"/>
                    <a:pt x="1746" y="780"/>
                    <a:pt x="1708" y="742"/>
                  </a:cubicBezTo>
                  <a:cubicBezTo>
                    <a:pt x="1591" y="632"/>
                    <a:pt x="1591" y="632"/>
                    <a:pt x="1591" y="632"/>
                  </a:cubicBezTo>
                  <a:cubicBezTo>
                    <a:pt x="1356" y="412"/>
                    <a:pt x="1356" y="412"/>
                    <a:pt x="1356" y="412"/>
                  </a:cubicBezTo>
                  <a:cubicBezTo>
                    <a:pt x="1239" y="302"/>
                    <a:pt x="1239" y="302"/>
                    <a:pt x="1239" y="302"/>
                  </a:cubicBezTo>
                  <a:cubicBezTo>
                    <a:pt x="1181" y="247"/>
                    <a:pt x="1181" y="247"/>
                    <a:pt x="1181" y="247"/>
                  </a:cubicBezTo>
                  <a:cubicBezTo>
                    <a:pt x="1152" y="220"/>
                    <a:pt x="1152" y="220"/>
                    <a:pt x="1152" y="220"/>
                  </a:cubicBezTo>
                  <a:cubicBezTo>
                    <a:pt x="1137" y="206"/>
                    <a:pt x="1137" y="206"/>
                    <a:pt x="1137" y="206"/>
                  </a:cubicBezTo>
                  <a:cubicBezTo>
                    <a:pt x="1120" y="190"/>
                    <a:pt x="1120" y="190"/>
                    <a:pt x="1120" y="190"/>
                  </a:cubicBezTo>
                  <a:cubicBezTo>
                    <a:pt x="1027" y="110"/>
                    <a:pt x="915" y="52"/>
                    <a:pt x="795" y="24"/>
                  </a:cubicBezTo>
                  <a:cubicBezTo>
                    <a:pt x="765" y="17"/>
                    <a:pt x="735" y="12"/>
                    <a:pt x="705" y="8"/>
                  </a:cubicBezTo>
                  <a:cubicBezTo>
                    <a:pt x="689" y="7"/>
                    <a:pt x="674" y="6"/>
                    <a:pt x="659" y="5"/>
                  </a:cubicBezTo>
                  <a:cubicBezTo>
                    <a:pt x="647" y="4"/>
                    <a:pt x="647" y="4"/>
                    <a:pt x="647" y="4"/>
                  </a:cubicBezTo>
                  <a:cubicBezTo>
                    <a:pt x="640" y="4"/>
                    <a:pt x="640" y="4"/>
                    <a:pt x="640" y="4"/>
                  </a:cubicBezTo>
                  <a:cubicBezTo>
                    <a:pt x="637" y="4"/>
                    <a:pt x="633" y="4"/>
                    <a:pt x="630" y="4"/>
                  </a:cubicBezTo>
                  <a:cubicBezTo>
                    <a:pt x="630" y="4"/>
                    <a:pt x="140" y="0"/>
                    <a:pt x="91" y="4"/>
                  </a:cubicBezTo>
                  <a:cubicBezTo>
                    <a:pt x="42" y="8"/>
                    <a:pt x="0" y="43"/>
                    <a:pt x="0" y="95"/>
                  </a:cubicBezTo>
                  <a:cubicBezTo>
                    <a:pt x="0" y="148"/>
                    <a:pt x="0" y="1674"/>
                    <a:pt x="0" y="1674"/>
                  </a:cubicBezTo>
                  <a:cubicBezTo>
                    <a:pt x="0" y="2049"/>
                    <a:pt x="0" y="2049"/>
                    <a:pt x="0" y="2049"/>
                  </a:cubicBezTo>
                  <a:cubicBezTo>
                    <a:pt x="0" y="2239"/>
                    <a:pt x="0" y="2239"/>
                    <a:pt x="0" y="2239"/>
                  </a:cubicBezTo>
                  <a:cubicBezTo>
                    <a:pt x="2" y="2326"/>
                    <a:pt x="37" y="2406"/>
                    <a:pt x="85" y="2468"/>
                  </a:cubicBezTo>
                  <a:cubicBezTo>
                    <a:pt x="132" y="2531"/>
                    <a:pt x="191" y="2579"/>
                    <a:pt x="255" y="2616"/>
                  </a:cubicBezTo>
                  <a:cubicBezTo>
                    <a:pt x="320" y="2652"/>
                    <a:pt x="390" y="2678"/>
                    <a:pt x="466" y="2689"/>
                  </a:cubicBezTo>
                  <a:cubicBezTo>
                    <a:pt x="485" y="2691"/>
                    <a:pt x="505" y="2693"/>
                    <a:pt x="524" y="2693"/>
                  </a:cubicBezTo>
                  <a:cubicBezTo>
                    <a:pt x="574" y="2694"/>
                    <a:pt x="574" y="2694"/>
                    <a:pt x="574" y="2694"/>
                  </a:cubicBezTo>
                  <a:cubicBezTo>
                    <a:pt x="606" y="2693"/>
                    <a:pt x="639" y="2693"/>
                    <a:pt x="672" y="2691"/>
                  </a:cubicBezTo>
                  <a:cubicBezTo>
                    <a:pt x="702" y="2689"/>
                    <a:pt x="702" y="2689"/>
                    <a:pt x="702" y="2689"/>
                  </a:cubicBezTo>
                  <a:cubicBezTo>
                    <a:pt x="718" y="2688"/>
                    <a:pt x="733" y="2686"/>
                    <a:pt x="749" y="2683"/>
                  </a:cubicBezTo>
                  <a:cubicBezTo>
                    <a:pt x="779" y="2678"/>
                    <a:pt x="805" y="2666"/>
                    <a:pt x="827" y="2647"/>
                  </a:cubicBezTo>
                  <a:cubicBezTo>
                    <a:pt x="848" y="2628"/>
                    <a:pt x="863" y="2602"/>
                    <a:pt x="869" y="2574"/>
                  </a:cubicBezTo>
                  <a:cubicBezTo>
                    <a:pt x="873" y="2560"/>
                    <a:pt x="875" y="2545"/>
                    <a:pt x="874" y="2529"/>
                  </a:cubicBezTo>
                  <a:cubicBezTo>
                    <a:pt x="875" y="2488"/>
                    <a:pt x="875" y="2488"/>
                    <a:pt x="875" y="2488"/>
                  </a:cubicBezTo>
                  <a:cubicBezTo>
                    <a:pt x="875" y="2113"/>
                    <a:pt x="875" y="2113"/>
                    <a:pt x="875" y="2113"/>
                  </a:cubicBezTo>
                  <a:cubicBezTo>
                    <a:pt x="875" y="1926"/>
                    <a:pt x="875" y="1926"/>
                    <a:pt x="875" y="1926"/>
                  </a:cubicBezTo>
                  <a:cubicBezTo>
                    <a:pt x="875" y="1832"/>
                    <a:pt x="875" y="1832"/>
                    <a:pt x="875" y="1832"/>
                  </a:cubicBezTo>
                  <a:cubicBezTo>
                    <a:pt x="875" y="1787"/>
                    <a:pt x="875" y="1787"/>
                    <a:pt x="875" y="1787"/>
                  </a:cubicBezTo>
                  <a:cubicBezTo>
                    <a:pt x="875" y="1776"/>
                    <a:pt x="876" y="1765"/>
                    <a:pt x="877" y="1754"/>
                  </a:cubicBezTo>
                  <a:cubicBezTo>
                    <a:pt x="890" y="1665"/>
                    <a:pt x="956" y="1584"/>
                    <a:pt x="1040" y="1555"/>
                  </a:cubicBezTo>
                  <a:cubicBezTo>
                    <a:pt x="1061" y="1547"/>
                    <a:pt x="1083" y="1543"/>
                    <a:pt x="1105" y="1542"/>
                  </a:cubicBezTo>
                  <a:cubicBezTo>
                    <a:pt x="1110" y="1541"/>
                    <a:pt x="1116" y="1541"/>
                    <a:pt x="1121" y="1541"/>
                  </a:cubicBezTo>
                  <a:cubicBezTo>
                    <a:pt x="1141" y="1541"/>
                    <a:pt x="1141" y="1541"/>
                    <a:pt x="1141" y="1541"/>
                  </a:cubicBezTo>
                  <a:cubicBezTo>
                    <a:pt x="1154" y="1542"/>
                    <a:pt x="1167" y="1543"/>
                    <a:pt x="1180" y="1545"/>
                  </a:cubicBezTo>
                  <a:cubicBezTo>
                    <a:pt x="1232" y="1551"/>
                    <a:pt x="1284" y="1565"/>
                    <a:pt x="1334" y="1586"/>
                  </a:cubicBezTo>
                  <a:cubicBezTo>
                    <a:pt x="1435" y="1628"/>
                    <a:pt x="1529" y="1697"/>
                    <a:pt x="1620" y="1775"/>
                  </a:cubicBezTo>
                  <a:cubicBezTo>
                    <a:pt x="1710" y="1853"/>
                    <a:pt x="1798" y="1943"/>
                    <a:pt x="1895" y="2027"/>
                  </a:cubicBezTo>
                  <a:cubicBezTo>
                    <a:pt x="1987" y="2109"/>
                    <a:pt x="2078" y="2195"/>
                    <a:pt x="2177" y="2279"/>
                  </a:cubicBezTo>
                  <a:cubicBezTo>
                    <a:pt x="2226" y="2320"/>
                    <a:pt x="2278" y="2361"/>
                    <a:pt x="2335" y="2399"/>
                  </a:cubicBezTo>
                  <a:cubicBezTo>
                    <a:pt x="2393" y="2436"/>
                    <a:pt x="2455" y="2470"/>
                    <a:pt x="2526" y="2493"/>
                  </a:cubicBezTo>
                  <a:cubicBezTo>
                    <a:pt x="2596" y="2516"/>
                    <a:pt x="2674" y="2527"/>
                    <a:pt x="2750" y="2520"/>
                  </a:cubicBezTo>
                  <a:cubicBezTo>
                    <a:pt x="2826" y="2513"/>
                    <a:pt x="2899" y="2489"/>
                    <a:pt x="2963" y="2458"/>
                  </a:cubicBezTo>
                  <a:cubicBezTo>
                    <a:pt x="3091" y="2395"/>
                    <a:pt x="3192" y="2309"/>
                    <a:pt x="3288" y="2226"/>
                  </a:cubicBezTo>
                  <a:cubicBezTo>
                    <a:pt x="3568" y="1973"/>
                    <a:pt x="3568" y="1973"/>
                    <a:pt x="3568" y="1973"/>
                  </a:cubicBezTo>
                  <a:cubicBezTo>
                    <a:pt x="3662" y="1887"/>
                    <a:pt x="3749" y="1801"/>
                    <a:pt x="3841" y="1727"/>
                  </a:cubicBezTo>
                  <a:cubicBezTo>
                    <a:pt x="3933" y="1654"/>
                    <a:pt x="4031" y="1593"/>
                    <a:pt x="4133" y="1563"/>
                  </a:cubicBezTo>
                  <a:cubicBezTo>
                    <a:pt x="4184" y="1548"/>
                    <a:pt x="4238" y="1540"/>
                    <a:pt x="4288" y="1541"/>
                  </a:cubicBezTo>
                  <a:cubicBezTo>
                    <a:pt x="4332" y="1542"/>
                    <a:pt x="4376" y="1556"/>
                    <a:pt x="4413" y="1580"/>
                  </a:cubicBezTo>
                  <a:cubicBezTo>
                    <a:pt x="4451" y="1605"/>
                    <a:pt x="4482" y="1639"/>
                    <a:pt x="4502" y="1680"/>
                  </a:cubicBezTo>
                  <a:cubicBezTo>
                    <a:pt x="4512" y="1700"/>
                    <a:pt x="4520" y="1721"/>
                    <a:pt x="4524" y="1743"/>
                  </a:cubicBezTo>
                  <a:cubicBezTo>
                    <a:pt x="4526" y="1754"/>
                    <a:pt x="4527" y="1766"/>
                    <a:pt x="4528" y="1777"/>
                  </a:cubicBezTo>
                  <a:cubicBezTo>
                    <a:pt x="4528" y="1785"/>
                    <a:pt x="4528" y="1785"/>
                    <a:pt x="4528" y="1785"/>
                  </a:cubicBezTo>
                  <a:cubicBezTo>
                    <a:pt x="4529" y="1789"/>
                    <a:pt x="4529" y="1789"/>
                    <a:pt x="4529" y="1789"/>
                  </a:cubicBezTo>
                  <a:cubicBezTo>
                    <a:pt x="4529" y="1795"/>
                    <a:pt x="4529" y="1795"/>
                    <a:pt x="4529" y="1795"/>
                  </a:cubicBezTo>
                  <a:cubicBezTo>
                    <a:pt x="4529" y="1818"/>
                    <a:pt x="4529" y="1818"/>
                    <a:pt x="4529" y="1818"/>
                  </a:cubicBezTo>
                  <a:cubicBezTo>
                    <a:pt x="4529" y="2192"/>
                    <a:pt x="4529" y="2192"/>
                    <a:pt x="4529" y="2192"/>
                  </a:cubicBezTo>
                  <a:cubicBezTo>
                    <a:pt x="4529" y="2216"/>
                    <a:pt x="4529" y="2216"/>
                    <a:pt x="4529" y="2216"/>
                  </a:cubicBezTo>
                  <a:cubicBezTo>
                    <a:pt x="4529" y="2227"/>
                    <a:pt x="4529" y="2227"/>
                    <a:pt x="4529" y="2227"/>
                  </a:cubicBezTo>
                  <a:cubicBezTo>
                    <a:pt x="4529" y="2243"/>
                    <a:pt x="4529" y="2243"/>
                    <a:pt x="4529" y="2243"/>
                  </a:cubicBezTo>
                  <a:cubicBezTo>
                    <a:pt x="4530" y="2265"/>
                    <a:pt x="4533" y="2286"/>
                    <a:pt x="4537" y="2307"/>
                  </a:cubicBezTo>
                  <a:cubicBezTo>
                    <a:pt x="4547" y="2349"/>
                    <a:pt x="4563" y="2388"/>
                    <a:pt x="4584" y="2422"/>
                  </a:cubicBezTo>
                  <a:cubicBezTo>
                    <a:pt x="4625" y="2491"/>
                    <a:pt x="4681" y="2545"/>
                    <a:pt x="4742" y="2587"/>
                  </a:cubicBezTo>
                  <a:cubicBezTo>
                    <a:pt x="4804" y="2628"/>
                    <a:pt x="4871" y="2659"/>
                    <a:pt x="4944" y="2677"/>
                  </a:cubicBezTo>
                  <a:cubicBezTo>
                    <a:pt x="4980" y="2686"/>
                    <a:pt x="5018" y="2692"/>
                    <a:pt x="5057" y="2693"/>
                  </a:cubicBezTo>
                  <a:cubicBezTo>
                    <a:pt x="5072" y="2694"/>
                    <a:pt x="5072" y="2694"/>
                    <a:pt x="5072" y="2694"/>
                  </a:cubicBezTo>
                  <a:cubicBezTo>
                    <a:pt x="5084" y="2694"/>
                    <a:pt x="5084" y="2694"/>
                    <a:pt x="5084" y="2694"/>
                  </a:cubicBezTo>
                  <a:cubicBezTo>
                    <a:pt x="5108" y="2693"/>
                    <a:pt x="5108" y="2693"/>
                    <a:pt x="5108" y="2693"/>
                  </a:cubicBezTo>
                  <a:cubicBezTo>
                    <a:pt x="5157" y="2692"/>
                    <a:pt x="5157" y="2692"/>
                    <a:pt x="5157" y="2692"/>
                  </a:cubicBezTo>
                  <a:cubicBezTo>
                    <a:pt x="5173" y="2692"/>
                    <a:pt x="5190" y="2691"/>
                    <a:pt x="5207" y="2690"/>
                  </a:cubicBezTo>
                  <a:cubicBezTo>
                    <a:pt x="5219" y="2689"/>
                    <a:pt x="5219" y="2689"/>
                    <a:pt x="5219" y="2689"/>
                  </a:cubicBezTo>
                  <a:cubicBezTo>
                    <a:pt x="5229" y="2688"/>
                    <a:pt x="5229" y="2688"/>
                    <a:pt x="5229" y="2688"/>
                  </a:cubicBezTo>
                  <a:cubicBezTo>
                    <a:pt x="5241" y="2688"/>
                    <a:pt x="5241" y="2688"/>
                    <a:pt x="5241" y="2688"/>
                  </a:cubicBezTo>
                  <a:cubicBezTo>
                    <a:pt x="5256" y="2686"/>
                    <a:pt x="5272" y="2684"/>
                    <a:pt x="5287" y="2681"/>
                  </a:cubicBezTo>
                  <a:cubicBezTo>
                    <a:pt x="5317" y="2675"/>
                    <a:pt x="5341" y="2662"/>
                    <a:pt x="5362" y="2641"/>
                  </a:cubicBezTo>
                  <a:cubicBezTo>
                    <a:pt x="5382" y="2620"/>
                    <a:pt x="5395" y="2594"/>
                    <a:pt x="5400" y="2565"/>
                  </a:cubicBezTo>
                  <a:cubicBezTo>
                    <a:pt x="5403" y="2551"/>
                    <a:pt x="5403" y="2535"/>
                    <a:pt x="5403" y="2519"/>
                  </a:cubicBezTo>
                  <a:cubicBezTo>
                    <a:pt x="5403" y="2483"/>
                    <a:pt x="5403" y="2483"/>
                    <a:pt x="5403" y="2483"/>
                  </a:cubicBezTo>
                  <a:cubicBezTo>
                    <a:pt x="5403" y="2436"/>
                    <a:pt x="5403" y="2436"/>
                    <a:pt x="5403" y="2436"/>
                  </a:cubicBezTo>
                  <a:cubicBezTo>
                    <a:pt x="5403" y="2342"/>
                    <a:pt x="5403" y="2342"/>
                    <a:pt x="5403" y="2342"/>
                  </a:cubicBezTo>
                  <a:cubicBezTo>
                    <a:pt x="5403" y="1968"/>
                    <a:pt x="5403" y="1968"/>
                    <a:pt x="5403" y="1968"/>
                  </a:cubicBezTo>
                  <a:cubicBezTo>
                    <a:pt x="5403" y="469"/>
                    <a:pt x="5403" y="469"/>
                    <a:pt x="5403" y="469"/>
                  </a:cubicBezTo>
                  <a:cubicBezTo>
                    <a:pt x="5404" y="367"/>
                    <a:pt x="5369" y="265"/>
                    <a:pt x="5306" y="185"/>
                  </a:cubicBezTo>
                  <a:close/>
                  <a:moveTo>
                    <a:pt x="5207" y="1968"/>
                  </a:moveTo>
                  <a:cubicBezTo>
                    <a:pt x="5207" y="2342"/>
                    <a:pt x="5207" y="2342"/>
                    <a:pt x="5207" y="2342"/>
                  </a:cubicBezTo>
                  <a:cubicBezTo>
                    <a:pt x="5207" y="2342"/>
                    <a:pt x="5207" y="2472"/>
                    <a:pt x="5207" y="2484"/>
                  </a:cubicBezTo>
                  <a:cubicBezTo>
                    <a:pt x="5207" y="2495"/>
                    <a:pt x="5204" y="2494"/>
                    <a:pt x="5195" y="2494"/>
                  </a:cubicBezTo>
                  <a:cubicBezTo>
                    <a:pt x="5185" y="2495"/>
                    <a:pt x="5166" y="2496"/>
                    <a:pt x="5151" y="2496"/>
                  </a:cubicBezTo>
                  <a:cubicBezTo>
                    <a:pt x="5106" y="2497"/>
                    <a:pt x="5106" y="2497"/>
                    <a:pt x="5106" y="2497"/>
                  </a:cubicBezTo>
                  <a:cubicBezTo>
                    <a:pt x="5083" y="2497"/>
                    <a:pt x="5083" y="2497"/>
                    <a:pt x="5083" y="2497"/>
                  </a:cubicBezTo>
                  <a:cubicBezTo>
                    <a:pt x="5063" y="2497"/>
                    <a:pt x="5063" y="2497"/>
                    <a:pt x="5063" y="2497"/>
                  </a:cubicBezTo>
                  <a:cubicBezTo>
                    <a:pt x="5040" y="2497"/>
                    <a:pt x="5016" y="2493"/>
                    <a:pt x="4991" y="2487"/>
                  </a:cubicBezTo>
                  <a:cubicBezTo>
                    <a:pt x="4943" y="2475"/>
                    <a:pt x="4895" y="2453"/>
                    <a:pt x="4853" y="2424"/>
                  </a:cubicBezTo>
                  <a:cubicBezTo>
                    <a:pt x="4811" y="2396"/>
                    <a:pt x="4775" y="2360"/>
                    <a:pt x="4752" y="2322"/>
                  </a:cubicBezTo>
                  <a:cubicBezTo>
                    <a:pt x="4741" y="2303"/>
                    <a:pt x="4733" y="2283"/>
                    <a:pt x="4729" y="2264"/>
                  </a:cubicBezTo>
                  <a:cubicBezTo>
                    <a:pt x="4727" y="2254"/>
                    <a:pt x="4725" y="2245"/>
                    <a:pt x="4725" y="2235"/>
                  </a:cubicBezTo>
                  <a:cubicBezTo>
                    <a:pt x="4725" y="2192"/>
                    <a:pt x="4725" y="2192"/>
                    <a:pt x="4725" y="2192"/>
                  </a:cubicBezTo>
                  <a:cubicBezTo>
                    <a:pt x="4725" y="1817"/>
                    <a:pt x="4725" y="1817"/>
                    <a:pt x="4725" y="1817"/>
                  </a:cubicBezTo>
                  <a:cubicBezTo>
                    <a:pt x="4725" y="1794"/>
                    <a:pt x="4725" y="1794"/>
                    <a:pt x="4725" y="1794"/>
                  </a:cubicBezTo>
                  <a:cubicBezTo>
                    <a:pt x="4725" y="1788"/>
                    <a:pt x="4725" y="1788"/>
                    <a:pt x="4725" y="1788"/>
                  </a:cubicBezTo>
                  <a:cubicBezTo>
                    <a:pt x="4725" y="1780"/>
                    <a:pt x="4725" y="1780"/>
                    <a:pt x="4725" y="1780"/>
                  </a:cubicBezTo>
                  <a:cubicBezTo>
                    <a:pt x="4724" y="1765"/>
                    <a:pt x="4724" y="1765"/>
                    <a:pt x="4724" y="1765"/>
                  </a:cubicBezTo>
                  <a:cubicBezTo>
                    <a:pt x="4723" y="1745"/>
                    <a:pt x="4721" y="1725"/>
                    <a:pt x="4716" y="1706"/>
                  </a:cubicBezTo>
                  <a:cubicBezTo>
                    <a:pt x="4709" y="1666"/>
                    <a:pt x="4696" y="1628"/>
                    <a:pt x="4678" y="1592"/>
                  </a:cubicBezTo>
                  <a:cubicBezTo>
                    <a:pt x="4642" y="1521"/>
                    <a:pt x="4587" y="1459"/>
                    <a:pt x="4520" y="1416"/>
                  </a:cubicBezTo>
                  <a:cubicBezTo>
                    <a:pt x="4453" y="1372"/>
                    <a:pt x="4373" y="1346"/>
                    <a:pt x="4292" y="1345"/>
                  </a:cubicBezTo>
                  <a:cubicBezTo>
                    <a:pt x="4218" y="1344"/>
                    <a:pt x="4147" y="1355"/>
                    <a:pt x="4078" y="1375"/>
                  </a:cubicBezTo>
                  <a:cubicBezTo>
                    <a:pt x="3940" y="1416"/>
                    <a:pt x="3822" y="1492"/>
                    <a:pt x="3719" y="1574"/>
                  </a:cubicBezTo>
                  <a:cubicBezTo>
                    <a:pt x="3616" y="1656"/>
                    <a:pt x="3525" y="1746"/>
                    <a:pt x="3435" y="1829"/>
                  </a:cubicBezTo>
                  <a:cubicBezTo>
                    <a:pt x="3158" y="2078"/>
                    <a:pt x="3158" y="2078"/>
                    <a:pt x="3158" y="2078"/>
                  </a:cubicBezTo>
                  <a:cubicBezTo>
                    <a:pt x="3067" y="2159"/>
                    <a:pt x="2974" y="2235"/>
                    <a:pt x="2877" y="2282"/>
                  </a:cubicBezTo>
                  <a:cubicBezTo>
                    <a:pt x="2781" y="2329"/>
                    <a:pt x="2684" y="2339"/>
                    <a:pt x="2587" y="2307"/>
                  </a:cubicBezTo>
                  <a:cubicBezTo>
                    <a:pt x="2490" y="2275"/>
                    <a:pt x="2395" y="2205"/>
                    <a:pt x="2303" y="2128"/>
                  </a:cubicBezTo>
                  <a:cubicBezTo>
                    <a:pt x="2211" y="2051"/>
                    <a:pt x="2120" y="1965"/>
                    <a:pt x="2025" y="1881"/>
                  </a:cubicBezTo>
                  <a:cubicBezTo>
                    <a:pt x="1934" y="1801"/>
                    <a:pt x="1846" y="1712"/>
                    <a:pt x="1748" y="1627"/>
                  </a:cubicBezTo>
                  <a:cubicBezTo>
                    <a:pt x="1649" y="1542"/>
                    <a:pt x="1540" y="1460"/>
                    <a:pt x="1410" y="1405"/>
                  </a:cubicBezTo>
                  <a:cubicBezTo>
                    <a:pt x="1345" y="1378"/>
                    <a:pt x="1275" y="1358"/>
                    <a:pt x="1203" y="1350"/>
                  </a:cubicBezTo>
                  <a:cubicBezTo>
                    <a:pt x="1185" y="1348"/>
                    <a:pt x="1167" y="1346"/>
                    <a:pt x="1149" y="1345"/>
                  </a:cubicBezTo>
                  <a:cubicBezTo>
                    <a:pt x="1140" y="1345"/>
                    <a:pt x="1131" y="1345"/>
                    <a:pt x="1122" y="1345"/>
                  </a:cubicBezTo>
                  <a:cubicBezTo>
                    <a:pt x="1112" y="1345"/>
                    <a:pt x="1102" y="1345"/>
                    <a:pt x="1092" y="1346"/>
                  </a:cubicBezTo>
                  <a:cubicBezTo>
                    <a:pt x="1052" y="1348"/>
                    <a:pt x="1012" y="1357"/>
                    <a:pt x="974" y="1370"/>
                  </a:cubicBezTo>
                  <a:cubicBezTo>
                    <a:pt x="821" y="1425"/>
                    <a:pt x="707" y="1564"/>
                    <a:pt x="683" y="1724"/>
                  </a:cubicBezTo>
                  <a:cubicBezTo>
                    <a:pt x="680" y="1744"/>
                    <a:pt x="679" y="1764"/>
                    <a:pt x="678" y="1784"/>
                  </a:cubicBezTo>
                  <a:cubicBezTo>
                    <a:pt x="678" y="1832"/>
                    <a:pt x="678" y="1832"/>
                    <a:pt x="678" y="1832"/>
                  </a:cubicBezTo>
                  <a:cubicBezTo>
                    <a:pt x="678" y="1926"/>
                    <a:pt x="678" y="1926"/>
                    <a:pt x="678" y="1926"/>
                  </a:cubicBezTo>
                  <a:cubicBezTo>
                    <a:pt x="678" y="2113"/>
                    <a:pt x="678" y="2113"/>
                    <a:pt x="678" y="2113"/>
                  </a:cubicBezTo>
                  <a:cubicBezTo>
                    <a:pt x="678" y="2488"/>
                    <a:pt x="678" y="2488"/>
                    <a:pt x="678" y="2488"/>
                  </a:cubicBezTo>
                  <a:cubicBezTo>
                    <a:pt x="678" y="2494"/>
                    <a:pt x="678" y="2494"/>
                    <a:pt x="678" y="2494"/>
                  </a:cubicBezTo>
                  <a:cubicBezTo>
                    <a:pt x="662" y="2495"/>
                    <a:pt x="662" y="2495"/>
                    <a:pt x="662" y="2495"/>
                  </a:cubicBezTo>
                  <a:cubicBezTo>
                    <a:pt x="633" y="2497"/>
                    <a:pt x="603" y="2497"/>
                    <a:pt x="573" y="2497"/>
                  </a:cubicBezTo>
                  <a:cubicBezTo>
                    <a:pt x="529" y="2497"/>
                    <a:pt x="529" y="2497"/>
                    <a:pt x="529" y="2497"/>
                  </a:cubicBezTo>
                  <a:cubicBezTo>
                    <a:pt x="517" y="2497"/>
                    <a:pt x="505" y="2496"/>
                    <a:pt x="493" y="2494"/>
                  </a:cubicBezTo>
                  <a:cubicBezTo>
                    <a:pt x="398" y="2481"/>
                    <a:pt x="297" y="2425"/>
                    <a:pt x="241" y="2350"/>
                  </a:cubicBezTo>
                  <a:cubicBezTo>
                    <a:pt x="213" y="2313"/>
                    <a:pt x="197" y="2272"/>
                    <a:pt x="196" y="2234"/>
                  </a:cubicBezTo>
                  <a:cubicBezTo>
                    <a:pt x="196" y="2049"/>
                    <a:pt x="196" y="2049"/>
                    <a:pt x="196" y="2049"/>
                  </a:cubicBezTo>
                  <a:cubicBezTo>
                    <a:pt x="196" y="1674"/>
                    <a:pt x="196" y="1674"/>
                    <a:pt x="196" y="1674"/>
                  </a:cubicBezTo>
                  <a:cubicBezTo>
                    <a:pt x="196" y="1674"/>
                    <a:pt x="196" y="248"/>
                    <a:pt x="196" y="225"/>
                  </a:cubicBezTo>
                  <a:cubicBezTo>
                    <a:pt x="196" y="202"/>
                    <a:pt x="209" y="192"/>
                    <a:pt x="226" y="192"/>
                  </a:cubicBezTo>
                  <a:cubicBezTo>
                    <a:pt x="246" y="192"/>
                    <a:pt x="649" y="192"/>
                    <a:pt x="661" y="192"/>
                  </a:cubicBezTo>
                  <a:cubicBezTo>
                    <a:pt x="814" y="192"/>
                    <a:pt x="922" y="278"/>
                    <a:pt x="991" y="338"/>
                  </a:cubicBezTo>
                  <a:cubicBezTo>
                    <a:pt x="1222" y="555"/>
                    <a:pt x="1222" y="555"/>
                    <a:pt x="1222" y="555"/>
                  </a:cubicBezTo>
                  <a:cubicBezTo>
                    <a:pt x="1455" y="774"/>
                    <a:pt x="1455" y="774"/>
                    <a:pt x="1455" y="774"/>
                  </a:cubicBezTo>
                  <a:cubicBezTo>
                    <a:pt x="1571" y="883"/>
                    <a:pt x="1571" y="883"/>
                    <a:pt x="1571" y="883"/>
                  </a:cubicBezTo>
                  <a:cubicBezTo>
                    <a:pt x="1609" y="920"/>
                    <a:pt x="1652" y="961"/>
                    <a:pt x="1696" y="996"/>
                  </a:cubicBezTo>
                  <a:cubicBezTo>
                    <a:pt x="1874" y="1140"/>
                    <a:pt x="2085" y="1242"/>
                    <a:pt x="2306" y="1296"/>
                  </a:cubicBezTo>
                  <a:cubicBezTo>
                    <a:pt x="2527" y="1349"/>
                    <a:pt x="2757" y="1356"/>
                    <a:pt x="2981" y="1320"/>
                  </a:cubicBezTo>
                  <a:cubicBezTo>
                    <a:pt x="3205" y="1283"/>
                    <a:pt x="3423" y="1198"/>
                    <a:pt x="3611" y="1068"/>
                  </a:cubicBezTo>
                  <a:cubicBezTo>
                    <a:pt x="3658" y="1036"/>
                    <a:pt x="3703" y="1001"/>
                    <a:pt x="3746" y="963"/>
                  </a:cubicBezTo>
                  <a:cubicBezTo>
                    <a:pt x="3790" y="924"/>
                    <a:pt x="3827" y="888"/>
                    <a:pt x="3867" y="852"/>
                  </a:cubicBezTo>
                  <a:cubicBezTo>
                    <a:pt x="4100" y="632"/>
                    <a:pt x="4100" y="632"/>
                    <a:pt x="4100" y="632"/>
                  </a:cubicBezTo>
                  <a:cubicBezTo>
                    <a:pt x="4100" y="632"/>
                    <a:pt x="4548" y="211"/>
                    <a:pt x="4553" y="207"/>
                  </a:cubicBezTo>
                  <a:cubicBezTo>
                    <a:pt x="4558" y="203"/>
                    <a:pt x="4564" y="200"/>
                    <a:pt x="4569" y="200"/>
                  </a:cubicBezTo>
                  <a:cubicBezTo>
                    <a:pt x="4574" y="200"/>
                    <a:pt x="4791" y="200"/>
                    <a:pt x="4791" y="200"/>
                  </a:cubicBezTo>
                  <a:cubicBezTo>
                    <a:pt x="4912" y="200"/>
                    <a:pt x="4912" y="200"/>
                    <a:pt x="4912" y="200"/>
                  </a:cubicBezTo>
                  <a:cubicBezTo>
                    <a:pt x="4941" y="200"/>
                    <a:pt x="4941" y="200"/>
                    <a:pt x="4941" y="200"/>
                  </a:cubicBezTo>
                  <a:cubicBezTo>
                    <a:pt x="4949" y="200"/>
                    <a:pt x="4956" y="201"/>
                    <a:pt x="4963" y="201"/>
                  </a:cubicBezTo>
                  <a:cubicBezTo>
                    <a:pt x="4978" y="203"/>
                    <a:pt x="4992" y="205"/>
                    <a:pt x="5007" y="209"/>
                  </a:cubicBezTo>
                  <a:cubicBezTo>
                    <a:pt x="5063" y="224"/>
                    <a:pt x="5115" y="258"/>
                    <a:pt x="5151" y="305"/>
                  </a:cubicBezTo>
                  <a:cubicBezTo>
                    <a:pt x="5187" y="351"/>
                    <a:pt x="5207" y="410"/>
                    <a:pt x="5207" y="469"/>
                  </a:cubicBezTo>
                  <a:lnTo>
                    <a:pt x="5207" y="196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6A59C5E0-DC0E-4C09-8E85-705905CD1C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6163" y="2427288"/>
              <a:ext cx="2505075" cy="1238250"/>
            </a:xfrm>
            <a:custGeom>
              <a:avLst/>
              <a:gdLst>
                <a:gd name="T0" fmla="*/ 4901 w 5385"/>
                <a:gd name="T1" fmla="*/ 0 h 2660"/>
                <a:gd name="T2" fmla="*/ 3965 w 5385"/>
                <a:gd name="T3" fmla="*/ 492 h 2660"/>
                <a:gd name="T4" fmla="*/ 2921 w 5385"/>
                <a:gd name="T5" fmla="*/ 1133 h 2660"/>
                <a:gd name="T6" fmla="*/ 1684 w 5385"/>
                <a:gd name="T7" fmla="*/ 732 h 2660"/>
                <a:gd name="T8" fmla="*/ 781 w 5385"/>
                <a:gd name="T9" fmla="*/ 34 h 2660"/>
                <a:gd name="T10" fmla="*/ 0 w 5385"/>
                <a:gd name="T11" fmla="*/ 1118 h 2660"/>
                <a:gd name="T12" fmla="*/ 6 w 5385"/>
                <a:gd name="T13" fmla="*/ 2264 h 2660"/>
                <a:gd name="T14" fmla="*/ 785 w 5385"/>
                <a:gd name="T15" fmla="*/ 2615 h 2660"/>
                <a:gd name="T16" fmla="*/ 864 w 5385"/>
                <a:gd name="T17" fmla="*/ 1685 h 2660"/>
                <a:gd name="T18" fmla="*/ 1800 w 5385"/>
                <a:gd name="T19" fmla="*/ 1912 h 2660"/>
                <a:gd name="T20" fmla="*/ 2990 w 5385"/>
                <a:gd name="T21" fmla="*/ 2406 h 2660"/>
                <a:gd name="T22" fmla="*/ 3852 w 5385"/>
                <a:gd name="T23" fmla="*/ 1685 h 2660"/>
                <a:gd name="T24" fmla="*/ 4529 w 5385"/>
                <a:gd name="T25" fmla="*/ 1931 h 2660"/>
                <a:gd name="T26" fmla="*/ 5163 w 5385"/>
                <a:gd name="T27" fmla="*/ 2660 h 2660"/>
                <a:gd name="T28" fmla="*/ 5367 w 5385"/>
                <a:gd name="T29" fmla="*/ 2025 h 2660"/>
                <a:gd name="T30" fmla="*/ 5343 w 5385"/>
                <a:gd name="T31" fmla="*/ 1424 h 2660"/>
                <a:gd name="T32" fmla="*/ 5202 w 5385"/>
                <a:gd name="T33" fmla="*/ 2619 h 2660"/>
                <a:gd name="T34" fmla="*/ 4580 w 5385"/>
                <a:gd name="T35" fmla="*/ 1776 h 2660"/>
                <a:gd name="T36" fmla="*/ 3749 w 5385"/>
                <a:gd name="T37" fmla="*/ 1701 h 2660"/>
                <a:gd name="T38" fmla="*/ 2685 w 5385"/>
                <a:gd name="T39" fmla="*/ 2445 h 2660"/>
                <a:gd name="T40" fmla="*/ 1626 w 5385"/>
                <a:gd name="T41" fmla="*/ 1693 h 2660"/>
                <a:gd name="T42" fmla="*/ 803 w 5385"/>
                <a:gd name="T43" fmla="*/ 1918 h 2660"/>
                <a:gd name="T44" fmla="*/ 725 w 5385"/>
                <a:gd name="T45" fmla="*/ 2633 h 2660"/>
                <a:gd name="T46" fmla="*/ 55 w 5385"/>
                <a:gd name="T47" fmla="*/ 2262 h 2660"/>
                <a:gd name="T48" fmla="*/ 48 w 5385"/>
                <a:gd name="T49" fmla="*/ 894 h 2660"/>
                <a:gd name="T50" fmla="*/ 813 w 5385"/>
                <a:gd name="T51" fmla="*/ 64 h 2660"/>
                <a:gd name="T52" fmla="*/ 1823 w 5385"/>
                <a:gd name="T53" fmla="*/ 897 h 2660"/>
                <a:gd name="T54" fmla="*/ 3126 w 5385"/>
                <a:gd name="T55" fmla="*/ 1109 h 2660"/>
                <a:gd name="T56" fmla="*/ 4137 w 5385"/>
                <a:gd name="T57" fmla="*/ 360 h 2660"/>
                <a:gd name="T58" fmla="*/ 5319 w 5385"/>
                <a:gd name="T59" fmla="*/ 286 h 2660"/>
                <a:gd name="T60" fmla="*/ 5235 w 5385"/>
                <a:gd name="T61" fmla="*/ 455 h 2660"/>
                <a:gd name="T62" fmla="*/ 4501 w 5385"/>
                <a:gd name="T63" fmla="*/ 173 h 2660"/>
                <a:gd name="T64" fmla="*/ 3599 w 5385"/>
                <a:gd name="T65" fmla="*/ 993 h 2660"/>
                <a:gd name="T66" fmla="*/ 2262 w 5385"/>
                <a:gd name="T67" fmla="*/ 1226 h 2660"/>
                <a:gd name="T68" fmla="*/ 1245 w 5385"/>
                <a:gd name="T69" fmla="*/ 502 h 2660"/>
                <a:gd name="T70" fmla="*/ 138 w 5385"/>
                <a:gd name="T71" fmla="*/ 767 h 2660"/>
                <a:gd name="T72" fmla="*/ 133 w 5385"/>
                <a:gd name="T73" fmla="*/ 2125 h 2660"/>
                <a:gd name="T74" fmla="*/ 664 w 5385"/>
                <a:gd name="T75" fmla="*/ 2519 h 2660"/>
                <a:gd name="T76" fmla="*/ 729 w 5385"/>
                <a:gd name="T77" fmla="*/ 1772 h 2660"/>
                <a:gd name="T78" fmla="*/ 1743 w 5385"/>
                <a:gd name="T79" fmla="*/ 1700 h 2660"/>
                <a:gd name="T80" fmla="*/ 2701 w 5385"/>
                <a:gd name="T81" fmla="*/ 2374 h 2660"/>
                <a:gd name="T82" fmla="*/ 3777 w 5385"/>
                <a:gd name="T83" fmla="*/ 1586 h 2660"/>
                <a:gd name="T84" fmla="*/ 4653 w 5385"/>
                <a:gd name="T85" fmla="*/ 1920 h 2660"/>
                <a:gd name="T86" fmla="*/ 5101 w 5385"/>
                <a:gd name="T87" fmla="*/ 2531 h 2660"/>
                <a:gd name="T88" fmla="*/ 5243 w 5385"/>
                <a:gd name="T89" fmla="*/ 2025 h 2660"/>
                <a:gd name="T90" fmla="*/ 5212 w 5385"/>
                <a:gd name="T91" fmla="*/ 1320 h 2660"/>
                <a:gd name="T92" fmla="*/ 5200 w 5385"/>
                <a:gd name="T93" fmla="*/ 2494 h 2660"/>
                <a:gd name="T94" fmla="*/ 4704 w 5385"/>
                <a:gd name="T95" fmla="*/ 1775 h 2660"/>
                <a:gd name="T96" fmla="*/ 3669 w 5385"/>
                <a:gd name="T97" fmla="*/ 1606 h 2660"/>
                <a:gd name="T98" fmla="*/ 2687 w 5385"/>
                <a:gd name="T99" fmla="*/ 2321 h 2660"/>
                <a:gd name="T100" fmla="*/ 1713 w 5385"/>
                <a:gd name="T101" fmla="*/ 1604 h 2660"/>
                <a:gd name="T102" fmla="*/ 720 w 5385"/>
                <a:gd name="T103" fmla="*/ 1614 h 2660"/>
                <a:gd name="T104" fmla="*/ 703 w 5385"/>
                <a:gd name="T105" fmla="*/ 2487 h 2660"/>
                <a:gd name="T106" fmla="*/ 225 w 5385"/>
                <a:gd name="T107" fmla="*/ 2343 h 2660"/>
                <a:gd name="T108" fmla="*/ 168 w 5385"/>
                <a:gd name="T109" fmla="*/ 1394 h 2660"/>
                <a:gd name="T110" fmla="*/ 205 w 5385"/>
                <a:gd name="T111" fmla="*/ 158 h 2660"/>
                <a:gd name="T112" fmla="*/ 1697 w 5385"/>
                <a:gd name="T113" fmla="*/ 962 h 2660"/>
                <a:gd name="T114" fmla="*/ 3040 w 5385"/>
                <a:gd name="T115" fmla="*/ 1265 h 2660"/>
                <a:gd name="T116" fmla="*/ 4098 w 5385"/>
                <a:gd name="T117" fmla="*/ 582 h 2660"/>
                <a:gd name="T118" fmla="*/ 5075 w 5385"/>
                <a:gd name="T119" fmla="*/ 209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85" h="2660">
                  <a:moveTo>
                    <a:pt x="5384" y="1019"/>
                  </a:moveTo>
                  <a:cubicBezTo>
                    <a:pt x="5383" y="973"/>
                    <a:pt x="5381" y="929"/>
                    <a:pt x="5380" y="889"/>
                  </a:cubicBezTo>
                  <a:cubicBezTo>
                    <a:pt x="5379" y="869"/>
                    <a:pt x="5378" y="850"/>
                    <a:pt x="5377" y="834"/>
                  </a:cubicBezTo>
                  <a:cubicBezTo>
                    <a:pt x="5375" y="816"/>
                    <a:pt x="5374" y="798"/>
                    <a:pt x="5372" y="785"/>
                  </a:cubicBezTo>
                  <a:cubicBezTo>
                    <a:pt x="5370" y="769"/>
                    <a:pt x="5369" y="747"/>
                    <a:pt x="5367" y="726"/>
                  </a:cubicBezTo>
                  <a:cubicBezTo>
                    <a:pt x="5365" y="692"/>
                    <a:pt x="5363" y="649"/>
                    <a:pt x="5361" y="605"/>
                  </a:cubicBezTo>
                  <a:cubicBezTo>
                    <a:pt x="5360" y="557"/>
                    <a:pt x="5359" y="506"/>
                    <a:pt x="5359" y="455"/>
                  </a:cubicBezTo>
                  <a:cubicBezTo>
                    <a:pt x="5359" y="424"/>
                    <a:pt x="5356" y="392"/>
                    <a:pt x="5350" y="362"/>
                  </a:cubicBezTo>
                  <a:cubicBezTo>
                    <a:pt x="5339" y="312"/>
                    <a:pt x="5320" y="265"/>
                    <a:pt x="5298" y="225"/>
                  </a:cubicBezTo>
                  <a:cubicBezTo>
                    <a:pt x="5275" y="185"/>
                    <a:pt x="5248" y="153"/>
                    <a:pt x="5224" y="127"/>
                  </a:cubicBezTo>
                  <a:cubicBezTo>
                    <a:pt x="5207" y="110"/>
                    <a:pt x="5193" y="96"/>
                    <a:pt x="5172" y="80"/>
                  </a:cubicBezTo>
                  <a:cubicBezTo>
                    <a:pt x="5137" y="54"/>
                    <a:pt x="5089" y="28"/>
                    <a:pt x="5031" y="14"/>
                  </a:cubicBezTo>
                  <a:cubicBezTo>
                    <a:pt x="5002" y="6"/>
                    <a:pt x="4972" y="2"/>
                    <a:pt x="4941" y="1"/>
                  </a:cubicBezTo>
                  <a:cubicBezTo>
                    <a:pt x="4927" y="0"/>
                    <a:pt x="4914" y="0"/>
                    <a:pt x="4901" y="0"/>
                  </a:cubicBezTo>
                  <a:cubicBezTo>
                    <a:pt x="4888" y="0"/>
                    <a:pt x="4876" y="0"/>
                    <a:pt x="4863" y="0"/>
                  </a:cubicBezTo>
                  <a:cubicBezTo>
                    <a:pt x="4853" y="0"/>
                    <a:pt x="4853" y="0"/>
                    <a:pt x="4853" y="0"/>
                  </a:cubicBezTo>
                  <a:cubicBezTo>
                    <a:pt x="4847" y="0"/>
                    <a:pt x="4847" y="0"/>
                    <a:pt x="4847" y="0"/>
                  </a:cubicBezTo>
                  <a:cubicBezTo>
                    <a:pt x="4822" y="0"/>
                    <a:pt x="4796" y="0"/>
                    <a:pt x="4770" y="0"/>
                  </a:cubicBezTo>
                  <a:cubicBezTo>
                    <a:pt x="4724" y="1"/>
                    <a:pt x="4680" y="2"/>
                    <a:pt x="4640" y="4"/>
                  </a:cubicBezTo>
                  <a:cubicBezTo>
                    <a:pt x="4620" y="5"/>
                    <a:pt x="4560" y="3"/>
                    <a:pt x="4518" y="14"/>
                  </a:cubicBezTo>
                  <a:cubicBezTo>
                    <a:pt x="4483" y="22"/>
                    <a:pt x="4457" y="40"/>
                    <a:pt x="4452" y="45"/>
                  </a:cubicBezTo>
                  <a:cubicBezTo>
                    <a:pt x="4446" y="51"/>
                    <a:pt x="4410" y="89"/>
                    <a:pt x="4395" y="104"/>
                  </a:cubicBezTo>
                  <a:cubicBezTo>
                    <a:pt x="4380" y="120"/>
                    <a:pt x="4365" y="135"/>
                    <a:pt x="4350" y="150"/>
                  </a:cubicBezTo>
                  <a:cubicBezTo>
                    <a:pt x="4316" y="183"/>
                    <a:pt x="4279" y="219"/>
                    <a:pt x="4242" y="254"/>
                  </a:cubicBezTo>
                  <a:cubicBezTo>
                    <a:pt x="4242" y="254"/>
                    <a:pt x="4242" y="254"/>
                    <a:pt x="4242" y="254"/>
                  </a:cubicBezTo>
                  <a:cubicBezTo>
                    <a:pt x="4223" y="272"/>
                    <a:pt x="4203" y="290"/>
                    <a:pt x="4184" y="308"/>
                  </a:cubicBezTo>
                  <a:cubicBezTo>
                    <a:pt x="4119" y="367"/>
                    <a:pt x="4057" y="421"/>
                    <a:pt x="4011" y="456"/>
                  </a:cubicBezTo>
                  <a:cubicBezTo>
                    <a:pt x="3996" y="468"/>
                    <a:pt x="3980" y="480"/>
                    <a:pt x="3965" y="492"/>
                  </a:cubicBezTo>
                  <a:cubicBezTo>
                    <a:pt x="3910" y="536"/>
                    <a:pt x="3830" y="607"/>
                    <a:pt x="3757" y="675"/>
                  </a:cubicBezTo>
                  <a:cubicBezTo>
                    <a:pt x="3750" y="682"/>
                    <a:pt x="3750" y="682"/>
                    <a:pt x="3750" y="682"/>
                  </a:cubicBezTo>
                  <a:cubicBezTo>
                    <a:pt x="3746" y="686"/>
                    <a:pt x="3746" y="686"/>
                    <a:pt x="3746" y="686"/>
                  </a:cubicBezTo>
                  <a:cubicBezTo>
                    <a:pt x="3728" y="704"/>
                    <a:pt x="3709" y="722"/>
                    <a:pt x="3690" y="740"/>
                  </a:cubicBezTo>
                  <a:cubicBezTo>
                    <a:pt x="3656" y="772"/>
                    <a:pt x="3628" y="801"/>
                    <a:pt x="3600" y="827"/>
                  </a:cubicBezTo>
                  <a:cubicBezTo>
                    <a:pt x="3587" y="838"/>
                    <a:pt x="3575" y="850"/>
                    <a:pt x="3561" y="862"/>
                  </a:cubicBezTo>
                  <a:cubicBezTo>
                    <a:pt x="3550" y="872"/>
                    <a:pt x="3538" y="882"/>
                    <a:pt x="3527" y="893"/>
                  </a:cubicBezTo>
                  <a:cubicBezTo>
                    <a:pt x="3516" y="903"/>
                    <a:pt x="3500" y="916"/>
                    <a:pt x="3484" y="929"/>
                  </a:cubicBezTo>
                  <a:cubicBezTo>
                    <a:pt x="3458" y="949"/>
                    <a:pt x="3424" y="972"/>
                    <a:pt x="3388" y="993"/>
                  </a:cubicBezTo>
                  <a:cubicBezTo>
                    <a:pt x="3349" y="1016"/>
                    <a:pt x="3305" y="1038"/>
                    <a:pt x="3260" y="1056"/>
                  </a:cubicBezTo>
                  <a:cubicBezTo>
                    <a:pt x="3260" y="1056"/>
                    <a:pt x="3260" y="1056"/>
                    <a:pt x="3260" y="1056"/>
                  </a:cubicBezTo>
                  <a:cubicBezTo>
                    <a:pt x="3236" y="1066"/>
                    <a:pt x="3212" y="1075"/>
                    <a:pt x="3189" y="1083"/>
                  </a:cubicBezTo>
                  <a:cubicBezTo>
                    <a:pt x="3109" y="1110"/>
                    <a:pt x="3032" y="1124"/>
                    <a:pt x="2977" y="1130"/>
                  </a:cubicBezTo>
                  <a:cubicBezTo>
                    <a:pt x="2957" y="1131"/>
                    <a:pt x="2942" y="1132"/>
                    <a:pt x="2921" y="1133"/>
                  </a:cubicBezTo>
                  <a:cubicBezTo>
                    <a:pt x="2854" y="1138"/>
                    <a:pt x="2754" y="1144"/>
                    <a:pt x="2659" y="1141"/>
                  </a:cubicBezTo>
                  <a:cubicBezTo>
                    <a:pt x="2650" y="1141"/>
                    <a:pt x="2650" y="1141"/>
                    <a:pt x="2650" y="1141"/>
                  </a:cubicBezTo>
                  <a:cubicBezTo>
                    <a:pt x="2644" y="1141"/>
                    <a:pt x="2644" y="1141"/>
                    <a:pt x="2644" y="1141"/>
                  </a:cubicBezTo>
                  <a:cubicBezTo>
                    <a:pt x="2620" y="1140"/>
                    <a:pt x="2595" y="1139"/>
                    <a:pt x="2571" y="1138"/>
                  </a:cubicBezTo>
                  <a:cubicBezTo>
                    <a:pt x="2528" y="1135"/>
                    <a:pt x="2486" y="1131"/>
                    <a:pt x="2448" y="1127"/>
                  </a:cubicBezTo>
                  <a:cubicBezTo>
                    <a:pt x="2432" y="1125"/>
                    <a:pt x="2414" y="1123"/>
                    <a:pt x="2397" y="1121"/>
                  </a:cubicBezTo>
                  <a:cubicBezTo>
                    <a:pt x="2382" y="1119"/>
                    <a:pt x="2366" y="1117"/>
                    <a:pt x="2350" y="1115"/>
                  </a:cubicBezTo>
                  <a:cubicBezTo>
                    <a:pt x="2335" y="1113"/>
                    <a:pt x="2315" y="1110"/>
                    <a:pt x="2295" y="1106"/>
                  </a:cubicBezTo>
                  <a:cubicBezTo>
                    <a:pt x="2263" y="1100"/>
                    <a:pt x="2223" y="1090"/>
                    <a:pt x="2183" y="1076"/>
                  </a:cubicBezTo>
                  <a:cubicBezTo>
                    <a:pt x="2140" y="1062"/>
                    <a:pt x="2094" y="1044"/>
                    <a:pt x="2050" y="1023"/>
                  </a:cubicBezTo>
                  <a:cubicBezTo>
                    <a:pt x="2028" y="1012"/>
                    <a:pt x="2005" y="999"/>
                    <a:pt x="1983" y="987"/>
                  </a:cubicBezTo>
                  <a:cubicBezTo>
                    <a:pt x="1911" y="945"/>
                    <a:pt x="1848" y="897"/>
                    <a:pt x="1809" y="859"/>
                  </a:cubicBezTo>
                  <a:cubicBezTo>
                    <a:pt x="1795" y="846"/>
                    <a:pt x="1785" y="834"/>
                    <a:pt x="1770" y="820"/>
                  </a:cubicBezTo>
                  <a:cubicBezTo>
                    <a:pt x="1740" y="789"/>
                    <a:pt x="1712" y="760"/>
                    <a:pt x="1684" y="732"/>
                  </a:cubicBezTo>
                  <a:cubicBezTo>
                    <a:pt x="1651" y="698"/>
                    <a:pt x="1613" y="662"/>
                    <a:pt x="1577" y="628"/>
                  </a:cubicBezTo>
                  <a:cubicBezTo>
                    <a:pt x="1570" y="621"/>
                    <a:pt x="1570" y="621"/>
                    <a:pt x="1570" y="621"/>
                  </a:cubicBezTo>
                  <a:cubicBezTo>
                    <a:pt x="1568" y="619"/>
                    <a:pt x="1567" y="618"/>
                    <a:pt x="1566" y="617"/>
                  </a:cubicBezTo>
                  <a:cubicBezTo>
                    <a:pt x="1547" y="599"/>
                    <a:pt x="1527" y="582"/>
                    <a:pt x="1509" y="564"/>
                  </a:cubicBezTo>
                  <a:cubicBezTo>
                    <a:pt x="1475" y="533"/>
                    <a:pt x="1441" y="504"/>
                    <a:pt x="1411" y="477"/>
                  </a:cubicBezTo>
                  <a:cubicBezTo>
                    <a:pt x="1396" y="464"/>
                    <a:pt x="1381" y="453"/>
                    <a:pt x="1368" y="442"/>
                  </a:cubicBezTo>
                  <a:cubicBezTo>
                    <a:pt x="1355" y="431"/>
                    <a:pt x="1340" y="419"/>
                    <a:pt x="1330" y="412"/>
                  </a:cubicBezTo>
                  <a:cubicBezTo>
                    <a:pt x="1317" y="402"/>
                    <a:pt x="1300" y="389"/>
                    <a:pt x="1283" y="375"/>
                  </a:cubicBezTo>
                  <a:cubicBezTo>
                    <a:pt x="1256" y="353"/>
                    <a:pt x="1224" y="325"/>
                    <a:pt x="1191" y="296"/>
                  </a:cubicBezTo>
                  <a:cubicBezTo>
                    <a:pt x="1172" y="279"/>
                    <a:pt x="1154" y="263"/>
                    <a:pt x="1136" y="247"/>
                  </a:cubicBezTo>
                  <a:cubicBezTo>
                    <a:pt x="1127" y="238"/>
                    <a:pt x="1117" y="229"/>
                    <a:pt x="1108" y="221"/>
                  </a:cubicBezTo>
                  <a:cubicBezTo>
                    <a:pt x="1098" y="212"/>
                    <a:pt x="1087" y="202"/>
                    <a:pt x="1077" y="193"/>
                  </a:cubicBezTo>
                  <a:cubicBezTo>
                    <a:pt x="1055" y="175"/>
                    <a:pt x="1031" y="157"/>
                    <a:pt x="1007" y="141"/>
                  </a:cubicBezTo>
                  <a:cubicBezTo>
                    <a:pt x="927" y="87"/>
                    <a:pt x="843" y="53"/>
                    <a:pt x="781" y="34"/>
                  </a:cubicBezTo>
                  <a:cubicBezTo>
                    <a:pt x="760" y="27"/>
                    <a:pt x="743" y="21"/>
                    <a:pt x="718" y="16"/>
                  </a:cubicBezTo>
                  <a:cubicBezTo>
                    <a:pt x="699" y="11"/>
                    <a:pt x="668" y="7"/>
                    <a:pt x="653" y="6"/>
                  </a:cubicBezTo>
                  <a:cubicBezTo>
                    <a:pt x="637" y="4"/>
                    <a:pt x="605" y="4"/>
                    <a:pt x="574" y="6"/>
                  </a:cubicBezTo>
                  <a:cubicBezTo>
                    <a:pt x="526" y="7"/>
                    <a:pt x="127" y="5"/>
                    <a:pt x="90" y="9"/>
                  </a:cubicBezTo>
                  <a:cubicBezTo>
                    <a:pt x="54" y="13"/>
                    <a:pt x="13" y="51"/>
                    <a:pt x="15" y="92"/>
                  </a:cubicBezTo>
                  <a:cubicBezTo>
                    <a:pt x="17" y="130"/>
                    <a:pt x="18" y="155"/>
                    <a:pt x="18" y="163"/>
                  </a:cubicBezTo>
                  <a:cubicBezTo>
                    <a:pt x="18" y="168"/>
                    <a:pt x="25" y="409"/>
                    <a:pt x="25" y="460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5" y="486"/>
                    <a:pt x="25" y="513"/>
                    <a:pt x="25" y="540"/>
                  </a:cubicBezTo>
                  <a:cubicBezTo>
                    <a:pt x="23" y="627"/>
                    <a:pt x="20" y="709"/>
                    <a:pt x="14" y="767"/>
                  </a:cubicBezTo>
                  <a:cubicBezTo>
                    <a:pt x="12" y="787"/>
                    <a:pt x="11" y="806"/>
                    <a:pt x="9" y="825"/>
                  </a:cubicBezTo>
                  <a:cubicBezTo>
                    <a:pt x="3" y="896"/>
                    <a:pt x="0" y="1002"/>
                    <a:pt x="0" y="1102"/>
                  </a:cubicBezTo>
                  <a:cubicBezTo>
                    <a:pt x="0" y="1112"/>
                    <a:pt x="0" y="1112"/>
                    <a:pt x="0" y="1112"/>
                  </a:cubicBezTo>
                  <a:cubicBezTo>
                    <a:pt x="0" y="1114"/>
                    <a:pt x="0" y="1116"/>
                    <a:pt x="0" y="1118"/>
                  </a:cubicBezTo>
                  <a:cubicBezTo>
                    <a:pt x="0" y="1143"/>
                    <a:pt x="1" y="1170"/>
                    <a:pt x="1" y="1195"/>
                  </a:cubicBezTo>
                  <a:cubicBezTo>
                    <a:pt x="1" y="1241"/>
                    <a:pt x="3" y="1286"/>
                    <a:pt x="5" y="1326"/>
                  </a:cubicBezTo>
                  <a:cubicBezTo>
                    <a:pt x="5" y="1346"/>
                    <a:pt x="7" y="1364"/>
                    <a:pt x="8" y="1381"/>
                  </a:cubicBezTo>
                  <a:cubicBezTo>
                    <a:pt x="9" y="1398"/>
                    <a:pt x="10" y="1416"/>
                    <a:pt x="12" y="1429"/>
                  </a:cubicBezTo>
                  <a:cubicBezTo>
                    <a:pt x="14" y="1446"/>
                    <a:pt x="16" y="1467"/>
                    <a:pt x="17" y="1488"/>
                  </a:cubicBezTo>
                  <a:cubicBezTo>
                    <a:pt x="20" y="1523"/>
                    <a:pt x="22" y="1566"/>
                    <a:pt x="23" y="1610"/>
                  </a:cubicBezTo>
                  <a:cubicBezTo>
                    <a:pt x="24" y="1657"/>
                    <a:pt x="25" y="1708"/>
                    <a:pt x="25" y="1759"/>
                  </a:cubicBezTo>
                  <a:cubicBezTo>
                    <a:pt x="25" y="1759"/>
                    <a:pt x="25" y="1759"/>
                    <a:pt x="25" y="1759"/>
                  </a:cubicBezTo>
                  <a:cubicBezTo>
                    <a:pt x="25" y="1786"/>
                    <a:pt x="25" y="1813"/>
                    <a:pt x="25" y="1839"/>
                  </a:cubicBezTo>
                  <a:cubicBezTo>
                    <a:pt x="23" y="1927"/>
                    <a:pt x="20" y="2009"/>
                    <a:pt x="14" y="2066"/>
                  </a:cubicBezTo>
                  <a:cubicBezTo>
                    <a:pt x="12" y="2086"/>
                    <a:pt x="11" y="2105"/>
                    <a:pt x="9" y="2125"/>
                  </a:cubicBezTo>
                  <a:cubicBezTo>
                    <a:pt x="7" y="2142"/>
                    <a:pt x="6" y="2162"/>
                    <a:pt x="5" y="2184"/>
                  </a:cubicBezTo>
                  <a:cubicBezTo>
                    <a:pt x="5" y="2195"/>
                    <a:pt x="4" y="2206"/>
                    <a:pt x="4" y="2218"/>
                  </a:cubicBezTo>
                  <a:cubicBezTo>
                    <a:pt x="3" y="2233"/>
                    <a:pt x="4" y="2248"/>
                    <a:pt x="6" y="2264"/>
                  </a:cubicBezTo>
                  <a:cubicBezTo>
                    <a:pt x="13" y="2327"/>
                    <a:pt x="40" y="2390"/>
                    <a:pt x="76" y="2440"/>
                  </a:cubicBezTo>
                  <a:cubicBezTo>
                    <a:pt x="84" y="2450"/>
                    <a:pt x="84" y="2450"/>
                    <a:pt x="84" y="2450"/>
                  </a:cubicBezTo>
                  <a:cubicBezTo>
                    <a:pt x="85" y="2452"/>
                    <a:pt x="87" y="2454"/>
                    <a:pt x="88" y="2456"/>
                  </a:cubicBezTo>
                  <a:cubicBezTo>
                    <a:pt x="108" y="2480"/>
                    <a:pt x="130" y="2503"/>
                    <a:pt x="153" y="2523"/>
                  </a:cubicBezTo>
                  <a:cubicBezTo>
                    <a:pt x="194" y="2558"/>
                    <a:pt x="239" y="2585"/>
                    <a:pt x="281" y="2605"/>
                  </a:cubicBezTo>
                  <a:cubicBezTo>
                    <a:pt x="302" y="2614"/>
                    <a:pt x="322" y="2622"/>
                    <a:pt x="341" y="2627"/>
                  </a:cubicBezTo>
                  <a:cubicBezTo>
                    <a:pt x="360" y="2633"/>
                    <a:pt x="381" y="2638"/>
                    <a:pt x="396" y="2640"/>
                  </a:cubicBezTo>
                  <a:cubicBezTo>
                    <a:pt x="415" y="2643"/>
                    <a:pt x="439" y="2647"/>
                    <a:pt x="464" y="2649"/>
                  </a:cubicBezTo>
                  <a:cubicBezTo>
                    <a:pt x="483" y="2650"/>
                    <a:pt x="507" y="2651"/>
                    <a:pt x="530" y="2650"/>
                  </a:cubicBezTo>
                  <a:cubicBezTo>
                    <a:pt x="552" y="2649"/>
                    <a:pt x="574" y="2648"/>
                    <a:pt x="596" y="2647"/>
                  </a:cubicBezTo>
                  <a:cubicBezTo>
                    <a:pt x="620" y="2646"/>
                    <a:pt x="646" y="2644"/>
                    <a:pt x="672" y="2642"/>
                  </a:cubicBezTo>
                  <a:cubicBezTo>
                    <a:pt x="698" y="2640"/>
                    <a:pt x="698" y="2640"/>
                    <a:pt x="698" y="2640"/>
                  </a:cubicBezTo>
                  <a:cubicBezTo>
                    <a:pt x="709" y="2639"/>
                    <a:pt x="719" y="2638"/>
                    <a:pt x="729" y="2636"/>
                  </a:cubicBezTo>
                  <a:cubicBezTo>
                    <a:pt x="750" y="2632"/>
                    <a:pt x="769" y="2626"/>
                    <a:pt x="785" y="2615"/>
                  </a:cubicBezTo>
                  <a:cubicBezTo>
                    <a:pt x="785" y="2615"/>
                    <a:pt x="785" y="2615"/>
                    <a:pt x="785" y="2615"/>
                  </a:cubicBezTo>
                  <a:cubicBezTo>
                    <a:pt x="801" y="2603"/>
                    <a:pt x="815" y="2586"/>
                    <a:pt x="822" y="2567"/>
                  </a:cubicBezTo>
                  <a:cubicBezTo>
                    <a:pt x="829" y="2548"/>
                    <a:pt x="831" y="2527"/>
                    <a:pt x="831" y="2505"/>
                  </a:cubicBezTo>
                  <a:cubicBezTo>
                    <a:pt x="831" y="2481"/>
                    <a:pt x="832" y="2456"/>
                    <a:pt x="832" y="2431"/>
                  </a:cubicBezTo>
                  <a:cubicBezTo>
                    <a:pt x="833" y="2411"/>
                    <a:pt x="834" y="2391"/>
                    <a:pt x="835" y="2370"/>
                  </a:cubicBezTo>
                  <a:cubicBezTo>
                    <a:pt x="836" y="2332"/>
                    <a:pt x="839" y="2297"/>
                    <a:pt x="841" y="2268"/>
                  </a:cubicBezTo>
                  <a:cubicBezTo>
                    <a:pt x="843" y="2249"/>
                    <a:pt x="845" y="2229"/>
                    <a:pt x="847" y="2210"/>
                  </a:cubicBezTo>
                  <a:cubicBezTo>
                    <a:pt x="853" y="2139"/>
                    <a:pt x="855" y="2033"/>
                    <a:pt x="855" y="1933"/>
                  </a:cubicBezTo>
                  <a:cubicBezTo>
                    <a:pt x="855" y="1923"/>
                    <a:pt x="855" y="1923"/>
                    <a:pt x="855" y="1923"/>
                  </a:cubicBezTo>
                  <a:cubicBezTo>
                    <a:pt x="855" y="1921"/>
                    <a:pt x="855" y="1919"/>
                    <a:pt x="855" y="1917"/>
                  </a:cubicBezTo>
                  <a:cubicBezTo>
                    <a:pt x="855" y="1892"/>
                    <a:pt x="855" y="1866"/>
                    <a:pt x="855" y="1840"/>
                  </a:cubicBezTo>
                  <a:cubicBezTo>
                    <a:pt x="854" y="1818"/>
                    <a:pt x="854" y="1796"/>
                    <a:pt x="853" y="1774"/>
                  </a:cubicBezTo>
                  <a:cubicBezTo>
                    <a:pt x="853" y="1757"/>
                    <a:pt x="854" y="1741"/>
                    <a:pt x="856" y="1726"/>
                  </a:cubicBezTo>
                  <a:cubicBezTo>
                    <a:pt x="858" y="1711"/>
                    <a:pt x="861" y="1697"/>
                    <a:pt x="864" y="1685"/>
                  </a:cubicBezTo>
                  <a:cubicBezTo>
                    <a:pt x="868" y="1672"/>
                    <a:pt x="872" y="1659"/>
                    <a:pt x="876" y="1649"/>
                  </a:cubicBezTo>
                  <a:cubicBezTo>
                    <a:pt x="880" y="1637"/>
                    <a:pt x="888" y="1621"/>
                    <a:pt x="897" y="1607"/>
                  </a:cubicBezTo>
                  <a:cubicBezTo>
                    <a:pt x="912" y="1584"/>
                    <a:pt x="936" y="1557"/>
                    <a:pt x="965" y="1537"/>
                  </a:cubicBezTo>
                  <a:cubicBezTo>
                    <a:pt x="997" y="1515"/>
                    <a:pt x="1036" y="1500"/>
                    <a:pt x="1077" y="1495"/>
                  </a:cubicBezTo>
                  <a:cubicBezTo>
                    <a:pt x="1088" y="1493"/>
                    <a:pt x="1099" y="1493"/>
                    <a:pt x="1110" y="1493"/>
                  </a:cubicBezTo>
                  <a:cubicBezTo>
                    <a:pt x="1121" y="1493"/>
                    <a:pt x="1133" y="1493"/>
                    <a:pt x="1145" y="1494"/>
                  </a:cubicBezTo>
                  <a:cubicBezTo>
                    <a:pt x="1223" y="1500"/>
                    <a:pt x="1294" y="1527"/>
                    <a:pt x="1339" y="1553"/>
                  </a:cubicBezTo>
                  <a:cubicBezTo>
                    <a:pt x="1355" y="1561"/>
                    <a:pt x="1368" y="1569"/>
                    <a:pt x="1385" y="1580"/>
                  </a:cubicBezTo>
                  <a:cubicBezTo>
                    <a:pt x="1439" y="1614"/>
                    <a:pt x="1519" y="1671"/>
                    <a:pt x="1592" y="1733"/>
                  </a:cubicBezTo>
                  <a:cubicBezTo>
                    <a:pt x="1599" y="1740"/>
                    <a:pt x="1599" y="1740"/>
                    <a:pt x="1599" y="1740"/>
                  </a:cubicBezTo>
                  <a:cubicBezTo>
                    <a:pt x="1604" y="1743"/>
                    <a:pt x="1604" y="1743"/>
                    <a:pt x="1604" y="1743"/>
                  </a:cubicBezTo>
                  <a:cubicBezTo>
                    <a:pt x="1622" y="1759"/>
                    <a:pt x="1642" y="1776"/>
                    <a:pt x="1660" y="1792"/>
                  </a:cubicBezTo>
                  <a:cubicBezTo>
                    <a:pt x="1692" y="1819"/>
                    <a:pt x="1724" y="1848"/>
                    <a:pt x="1758" y="1876"/>
                  </a:cubicBezTo>
                  <a:cubicBezTo>
                    <a:pt x="1773" y="1889"/>
                    <a:pt x="1787" y="1901"/>
                    <a:pt x="1800" y="1912"/>
                  </a:cubicBezTo>
                  <a:cubicBezTo>
                    <a:pt x="1813" y="1923"/>
                    <a:pt x="1828" y="1934"/>
                    <a:pt x="1839" y="1942"/>
                  </a:cubicBezTo>
                  <a:cubicBezTo>
                    <a:pt x="1855" y="1955"/>
                    <a:pt x="1872" y="1967"/>
                    <a:pt x="1887" y="1979"/>
                  </a:cubicBezTo>
                  <a:cubicBezTo>
                    <a:pt x="1915" y="2000"/>
                    <a:pt x="1947" y="2027"/>
                    <a:pt x="1981" y="2055"/>
                  </a:cubicBezTo>
                  <a:cubicBezTo>
                    <a:pt x="2017" y="2086"/>
                    <a:pt x="2055" y="2120"/>
                    <a:pt x="2093" y="2154"/>
                  </a:cubicBezTo>
                  <a:cubicBezTo>
                    <a:pt x="2113" y="2172"/>
                    <a:pt x="2133" y="2190"/>
                    <a:pt x="2153" y="2208"/>
                  </a:cubicBezTo>
                  <a:cubicBezTo>
                    <a:pt x="2220" y="2268"/>
                    <a:pt x="2285" y="2323"/>
                    <a:pt x="2334" y="2361"/>
                  </a:cubicBezTo>
                  <a:cubicBezTo>
                    <a:pt x="2351" y="2375"/>
                    <a:pt x="2364" y="2386"/>
                    <a:pt x="2384" y="2399"/>
                  </a:cubicBezTo>
                  <a:cubicBezTo>
                    <a:pt x="2416" y="2421"/>
                    <a:pt x="2460" y="2446"/>
                    <a:pt x="2512" y="2465"/>
                  </a:cubicBezTo>
                  <a:cubicBezTo>
                    <a:pt x="2563" y="2485"/>
                    <a:pt x="2625" y="2497"/>
                    <a:pt x="2685" y="2498"/>
                  </a:cubicBezTo>
                  <a:cubicBezTo>
                    <a:pt x="2697" y="2498"/>
                    <a:pt x="2697" y="2498"/>
                    <a:pt x="2697" y="2498"/>
                  </a:cubicBezTo>
                  <a:cubicBezTo>
                    <a:pt x="2699" y="2498"/>
                    <a:pt x="2701" y="2498"/>
                    <a:pt x="2704" y="2498"/>
                  </a:cubicBezTo>
                  <a:cubicBezTo>
                    <a:pt x="2735" y="2497"/>
                    <a:pt x="2766" y="2494"/>
                    <a:pt x="2796" y="2487"/>
                  </a:cubicBezTo>
                  <a:cubicBezTo>
                    <a:pt x="2849" y="2476"/>
                    <a:pt x="2897" y="2457"/>
                    <a:pt x="2937" y="2436"/>
                  </a:cubicBezTo>
                  <a:cubicBezTo>
                    <a:pt x="2957" y="2426"/>
                    <a:pt x="2975" y="2416"/>
                    <a:pt x="2990" y="2406"/>
                  </a:cubicBezTo>
                  <a:cubicBezTo>
                    <a:pt x="3006" y="2395"/>
                    <a:pt x="3023" y="2384"/>
                    <a:pt x="3034" y="2375"/>
                  </a:cubicBezTo>
                  <a:cubicBezTo>
                    <a:pt x="3050" y="2362"/>
                    <a:pt x="3067" y="2348"/>
                    <a:pt x="3083" y="2336"/>
                  </a:cubicBezTo>
                  <a:cubicBezTo>
                    <a:pt x="3111" y="2312"/>
                    <a:pt x="3145" y="2284"/>
                    <a:pt x="3179" y="2254"/>
                  </a:cubicBezTo>
                  <a:cubicBezTo>
                    <a:pt x="3219" y="2219"/>
                    <a:pt x="3256" y="2186"/>
                    <a:pt x="3293" y="2152"/>
                  </a:cubicBezTo>
                  <a:cubicBezTo>
                    <a:pt x="3293" y="2152"/>
                    <a:pt x="3293" y="2152"/>
                    <a:pt x="3293" y="2152"/>
                  </a:cubicBezTo>
                  <a:cubicBezTo>
                    <a:pt x="3313" y="2135"/>
                    <a:pt x="3333" y="2117"/>
                    <a:pt x="3353" y="2099"/>
                  </a:cubicBezTo>
                  <a:cubicBezTo>
                    <a:pt x="3386" y="2070"/>
                    <a:pt x="3418" y="2043"/>
                    <a:pt x="3448" y="2018"/>
                  </a:cubicBezTo>
                  <a:cubicBezTo>
                    <a:pt x="3462" y="2006"/>
                    <a:pt x="3477" y="1995"/>
                    <a:pt x="3490" y="1984"/>
                  </a:cubicBezTo>
                  <a:cubicBezTo>
                    <a:pt x="3503" y="1974"/>
                    <a:pt x="3516" y="1964"/>
                    <a:pt x="3529" y="1954"/>
                  </a:cubicBezTo>
                  <a:cubicBezTo>
                    <a:pt x="3545" y="1942"/>
                    <a:pt x="3559" y="1932"/>
                    <a:pt x="3576" y="1918"/>
                  </a:cubicBezTo>
                  <a:cubicBezTo>
                    <a:pt x="3632" y="1874"/>
                    <a:pt x="3710" y="1803"/>
                    <a:pt x="3783" y="1741"/>
                  </a:cubicBezTo>
                  <a:cubicBezTo>
                    <a:pt x="3790" y="1735"/>
                    <a:pt x="3790" y="1735"/>
                    <a:pt x="3790" y="1735"/>
                  </a:cubicBezTo>
                  <a:cubicBezTo>
                    <a:pt x="3792" y="1734"/>
                    <a:pt x="3793" y="1733"/>
                    <a:pt x="3795" y="1731"/>
                  </a:cubicBezTo>
                  <a:cubicBezTo>
                    <a:pt x="3814" y="1716"/>
                    <a:pt x="3833" y="1700"/>
                    <a:pt x="3852" y="1685"/>
                  </a:cubicBezTo>
                  <a:cubicBezTo>
                    <a:pt x="3886" y="1658"/>
                    <a:pt x="3919" y="1634"/>
                    <a:pt x="3950" y="1613"/>
                  </a:cubicBezTo>
                  <a:cubicBezTo>
                    <a:pt x="3965" y="1603"/>
                    <a:pt x="3979" y="1594"/>
                    <a:pt x="3992" y="1586"/>
                  </a:cubicBezTo>
                  <a:cubicBezTo>
                    <a:pt x="4004" y="1578"/>
                    <a:pt x="4017" y="1570"/>
                    <a:pt x="4030" y="1562"/>
                  </a:cubicBezTo>
                  <a:cubicBezTo>
                    <a:pt x="4042" y="1554"/>
                    <a:pt x="4059" y="1545"/>
                    <a:pt x="4076" y="1537"/>
                  </a:cubicBezTo>
                  <a:cubicBezTo>
                    <a:pt x="4105" y="1523"/>
                    <a:pt x="4141" y="1511"/>
                    <a:pt x="4180" y="1503"/>
                  </a:cubicBezTo>
                  <a:cubicBezTo>
                    <a:pt x="4201" y="1498"/>
                    <a:pt x="4223" y="1495"/>
                    <a:pt x="4245" y="1494"/>
                  </a:cubicBezTo>
                  <a:cubicBezTo>
                    <a:pt x="4256" y="1493"/>
                    <a:pt x="4268" y="1492"/>
                    <a:pt x="4278" y="1493"/>
                  </a:cubicBezTo>
                  <a:cubicBezTo>
                    <a:pt x="4289" y="1493"/>
                    <a:pt x="4299" y="1493"/>
                    <a:pt x="4309" y="1495"/>
                  </a:cubicBezTo>
                  <a:cubicBezTo>
                    <a:pt x="4330" y="1498"/>
                    <a:pt x="4352" y="1503"/>
                    <a:pt x="4371" y="1511"/>
                  </a:cubicBezTo>
                  <a:cubicBezTo>
                    <a:pt x="4438" y="1538"/>
                    <a:pt x="4484" y="1593"/>
                    <a:pt x="4503" y="1634"/>
                  </a:cubicBezTo>
                  <a:cubicBezTo>
                    <a:pt x="4509" y="1649"/>
                    <a:pt x="4513" y="1661"/>
                    <a:pt x="4518" y="1677"/>
                  </a:cubicBezTo>
                  <a:cubicBezTo>
                    <a:pt x="4526" y="1703"/>
                    <a:pt x="4532" y="1737"/>
                    <a:pt x="4531" y="1772"/>
                  </a:cubicBezTo>
                  <a:cubicBezTo>
                    <a:pt x="4530" y="1819"/>
                    <a:pt x="4529" y="1871"/>
                    <a:pt x="4529" y="1921"/>
                  </a:cubicBezTo>
                  <a:cubicBezTo>
                    <a:pt x="4529" y="1931"/>
                    <a:pt x="4529" y="1931"/>
                    <a:pt x="4529" y="1931"/>
                  </a:cubicBezTo>
                  <a:cubicBezTo>
                    <a:pt x="4529" y="1933"/>
                    <a:pt x="4529" y="1935"/>
                    <a:pt x="4529" y="1937"/>
                  </a:cubicBezTo>
                  <a:cubicBezTo>
                    <a:pt x="4529" y="1962"/>
                    <a:pt x="4529" y="1988"/>
                    <a:pt x="4529" y="2014"/>
                  </a:cubicBezTo>
                  <a:cubicBezTo>
                    <a:pt x="4530" y="2059"/>
                    <a:pt x="4531" y="2104"/>
                    <a:pt x="4533" y="2144"/>
                  </a:cubicBezTo>
                  <a:cubicBezTo>
                    <a:pt x="4534" y="2164"/>
                    <a:pt x="4535" y="2183"/>
                    <a:pt x="4536" y="2199"/>
                  </a:cubicBezTo>
                  <a:cubicBezTo>
                    <a:pt x="4537" y="2208"/>
                    <a:pt x="4538" y="2218"/>
                    <a:pt x="4539" y="2228"/>
                  </a:cubicBezTo>
                  <a:cubicBezTo>
                    <a:pt x="4540" y="2239"/>
                    <a:pt x="4542" y="2249"/>
                    <a:pt x="4544" y="2258"/>
                  </a:cubicBezTo>
                  <a:cubicBezTo>
                    <a:pt x="4548" y="2278"/>
                    <a:pt x="4556" y="2305"/>
                    <a:pt x="4566" y="2329"/>
                  </a:cubicBezTo>
                  <a:cubicBezTo>
                    <a:pt x="4583" y="2369"/>
                    <a:pt x="4611" y="2413"/>
                    <a:pt x="4645" y="2451"/>
                  </a:cubicBezTo>
                  <a:cubicBezTo>
                    <a:pt x="4682" y="2493"/>
                    <a:pt x="4727" y="2529"/>
                    <a:pt x="4776" y="2559"/>
                  </a:cubicBezTo>
                  <a:cubicBezTo>
                    <a:pt x="4801" y="2575"/>
                    <a:pt x="4828" y="2589"/>
                    <a:pt x="4854" y="2601"/>
                  </a:cubicBezTo>
                  <a:cubicBezTo>
                    <a:pt x="4899" y="2620"/>
                    <a:pt x="4945" y="2635"/>
                    <a:pt x="4989" y="2643"/>
                  </a:cubicBezTo>
                  <a:cubicBezTo>
                    <a:pt x="5010" y="2648"/>
                    <a:pt x="5032" y="2650"/>
                    <a:pt x="5052" y="2652"/>
                  </a:cubicBezTo>
                  <a:cubicBezTo>
                    <a:pt x="5068" y="2653"/>
                    <a:pt x="5085" y="2654"/>
                    <a:pt x="5102" y="2656"/>
                  </a:cubicBezTo>
                  <a:cubicBezTo>
                    <a:pt x="5123" y="2657"/>
                    <a:pt x="5140" y="2659"/>
                    <a:pt x="5163" y="2660"/>
                  </a:cubicBezTo>
                  <a:cubicBezTo>
                    <a:pt x="5172" y="2660"/>
                    <a:pt x="5182" y="2660"/>
                    <a:pt x="5192" y="2660"/>
                  </a:cubicBezTo>
                  <a:cubicBezTo>
                    <a:pt x="5209" y="2660"/>
                    <a:pt x="5209" y="2660"/>
                    <a:pt x="5209" y="2660"/>
                  </a:cubicBezTo>
                  <a:cubicBezTo>
                    <a:pt x="5216" y="2660"/>
                    <a:pt x="5227" y="2659"/>
                    <a:pt x="5236" y="2658"/>
                  </a:cubicBezTo>
                  <a:cubicBezTo>
                    <a:pt x="5256" y="2657"/>
                    <a:pt x="5277" y="2654"/>
                    <a:pt x="5296" y="2648"/>
                  </a:cubicBezTo>
                  <a:cubicBezTo>
                    <a:pt x="5315" y="2641"/>
                    <a:pt x="5332" y="2631"/>
                    <a:pt x="5346" y="2616"/>
                  </a:cubicBezTo>
                  <a:cubicBezTo>
                    <a:pt x="5376" y="2585"/>
                    <a:pt x="5385" y="2542"/>
                    <a:pt x="5383" y="2493"/>
                  </a:cubicBezTo>
                  <a:cubicBezTo>
                    <a:pt x="5384" y="2465"/>
                    <a:pt x="5384" y="2438"/>
                    <a:pt x="5384" y="2411"/>
                  </a:cubicBezTo>
                  <a:cubicBezTo>
                    <a:pt x="5384" y="2401"/>
                    <a:pt x="5384" y="2401"/>
                    <a:pt x="5384" y="2401"/>
                  </a:cubicBezTo>
                  <a:cubicBezTo>
                    <a:pt x="5384" y="2399"/>
                    <a:pt x="5384" y="2398"/>
                    <a:pt x="5384" y="2396"/>
                  </a:cubicBezTo>
                  <a:cubicBezTo>
                    <a:pt x="5384" y="2370"/>
                    <a:pt x="5384" y="2344"/>
                    <a:pt x="5384" y="2318"/>
                  </a:cubicBezTo>
                  <a:cubicBezTo>
                    <a:pt x="5383" y="2273"/>
                    <a:pt x="5381" y="2228"/>
                    <a:pt x="5380" y="2188"/>
                  </a:cubicBezTo>
                  <a:cubicBezTo>
                    <a:pt x="5379" y="2168"/>
                    <a:pt x="5378" y="2149"/>
                    <a:pt x="5377" y="2133"/>
                  </a:cubicBezTo>
                  <a:cubicBezTo>
                    <a:pt x="5375" y="2116"/>
                    <a:pt x="5374" y="2097"/>
                    <a:pt x="5372" y="2084"/>
                  </a:cubicBezTo>
                  <a:cubicBezTo>
                    <a:pt x="5370" y="2068"/>
                    <a:pt x="5369" y="2047"/>
                    <a:pt x="5367" y="2025"/>
                  </a:cubicBezTo>
                  <a:cubicBezTo>
                    <a:pt x="5365" y="1991"/>
                    <a:pt x="5363" y="1948"/>
                    <a:pt x="5361" y="1904"/>
                  </a:cubicBezTo>
                  <a:cubicBezTo>
                    <a:pt x="5360" y="1856"/>
                    <a:pt x="5359" y="1805"/>
                    <a:pt x="5359" y="1754"/>
                  </a:cubicBezTo>
                  <a:cubicBezTo>
                    <a:pt x="5359" y="1728"/>
                    <a:pt x="5360" y="1701"/>
                    <a:pt x="5360" y="1674"/>
                  </a:cubicBezTo>
                  <a:cubicBezTo>
                    <a:pt x="5361" y="1587"/>
                    <a:pt x="5365" y="1505"/>
                    <a:pt x="5370" y="1447"/>
                  </a:cubicBezTo>
                  <a:cubicBezTo>
                    <a:pt x="5372" y="1428"/>
                    <a:pt x="5374" y="1408"/>
                    <a:pt x="5376" y="1389"/>
                  </a:cubicBezTo>
                  <a:cubicBezTo>
                    <a:pt x="5381" y="1318"/>
                    <a:pt x="5384" y="1212"/>
                    <a:pt x="5384" y="1112"/>
                  </a:cubicBezTo>
                  <a:cubicBezTo>
                    <a:pt x="5384" y="1102"/>
                    <a:pt x="5384" y="1102"/>
                    <a:pt x="5384" y="1102"/>
                  </a:cubicBezTo>
                  <a:cubicBezTo>
                    <a:pt x="5384" y="1100"/>
                    <a:pt x="5384" y="1098"/>
                    <a:pt x="5384" y="1096"/>
                  </a:cubicBezTo>
                  <a:cubicBezTo>
                    <a:pt x="5384" y="1071"/>
                    <a:pt x="5384" y="1045"/>
                    <a:pt x="5384" y="1019"/>
                  </a:cubicBezTo>
                  <a:close/>
                  <a:moveTo>
                    <a:pt x="5331" y="1112"/>
                  </a:moveTo>
                  <a:cubicBezTo>
                    <a:pt x="5332" y="1138"/>
                    <a:pt x="5332" y="1164"/>
                    <a:pt x="5332" y="1190"/>
                  </a:cubicBezTo>
                  <a:cubicBezTo>
                    <a:pt x="5333" y="1235"/>
                    <a:pt x="5334" y="1280"/>
                    <a:pt x="5336" y="1320"/>
                  </a:cubicBezTo>
                  <a:cubicBezTo>
                    <a:pt x="5337" y="1340"/>
                    <a:pt x="5338" y="1359"/>
                    <a:pt x="5339" y="1375"/>
                  </a:cubicBezTo>
                  <a:cubicBezTo>
                    <a:pt x="5340" y="1393"/>
                    <a:pt x="5342" y="1411"/>
                    <a:pt x="5343" y="1424"/>
                  </a:cubicBezTo>
                  <a:cubicBezTo>
                    <a:pt x="5345" y="1440"/>
                    <a:pt x="5347" y="1462"/>
                    <a:pt x="5349" y="1482"/>
                  </a:cubicBezTo>
                  <a:cubicBezTo>
                    <a:pt x="5351" y="1517"/>
                    <a:pt x="5353" y="1560"/>
                    <a:pt x="5354" y="1604"/>
                  </a:cubicBezTo>
                  <a:cubicBezTo>
                    <a:pt x="5356" y="1652"/>
                    <a:pt x="5356" y="1703"/>
                    <a:pt x="5356" y="1754"/>
                  </a:cubicBezTo>
                  <a:cubicBezTo>
                    <a:pt x="5356" y="1780"/>
                    <a:pt x="5356" y="1807"/>
                    <a:pt x="5356" y="1833"/>
                  </a:cubicBezTo>
                  <a:cubicBezTo>
                    <a:pt x="5354" y="1921"/>
                    <a:pt x="5351" y="2003"/>
                    <a:pt x="5346" y="2061"/>
                  </a:cubicBezTo>
                  <a:cubicBezTo>
                    <a:pt x="5344" y="2080"/>
                    <a:pt x="5342" y="2100"/>
                    <a:pt x="5340" y="2119"/>
                  </a:cubicBezTo>
                  <a:cubicBezTo>
                    <a:pt x="5334" y="2190"/>
                    <a:pt x="5331" y="2296"/>
                    <a:pt x="5331" y="2396"/>
                  </a:cubicBezTo>
                  <a:cubicBezTo>
                    <a:pt x="5331" y="2398"/>
                    <a:pt x="5331" y="2400"/>
                    <a:pt x="5331" y="2401"/>
                  </a:cubicBezTo>
                  <a:cubicBezTo>
                    <a:pt x="5331" y="2405"/>
                    <a:pt x="5331" y="2408"/>
                    <a:pt x="5331" y="2412"/>
                  </a:cubicBezTo>
                  <a:cubicBezTo>
                    <a:pt x="5332" y="2438"/>
                    <a:pt x="5332" y="2466"/>
                    <a:pt x="5332" y="2492"/>
                  </a:cubicBezTo>
                  <a:cubicBezTo>
                    <a:pt x="5333" y="2524"/>
                    <a:pt x="5332" y="2555"/>
                    <a:pt x="5314" y="2579"/>
                  </a:cubicBezTo>
                  <a:cubicBezTo>
                    <a:pt x="5296" y="2603"/>
                    <a:pt x="5268" y="2609"/>
                    <a:pt x="5240" y="2614"/>
                  </a:cubicBezTo>
                  <a:cubicBezTo>
                    <a:pt x="5234" y="2615"/>
                    <a:pt x="5227" y="2616"/>
                    <a:pt x="5220" y="2617"/>
                  </a:cubicBezTo>
                  <a:cubicBezTo>
                    <a:pt x="5214" y="2618"/>
                    <a:pt x="5208" y="2618"/>
                    <a:pt x="5202" y="2619"/>
                  </a:cubicBezTo>
                  <a:cubicBezTo>
                    <a:pt x="5193" y="2620"/>
                    <a:pt x="5184" y="2621"/>
                    <a:pt x="5175" y="2622"/>
                  </a:cubicBezTo>
                  <a:cubicBezTo>
                    <a:pt x="5160" y="2624"/>
                    <a:pt x="5142" y="2626"/>
                    <a:pt x="5125" y="2628"/>
                  </a:cubicBezTo>
                  <a:cubicBezTo>
                    <a:pt x="5109" y="2631"/>
                    <a:pt x="5087" y="2633"/>
                    <a:pt x="5066" y="2634"/>
                  </a:cubicBezTo>
                  <a:cubicBezTo>
                    <a:pt x="5027" y="2637"/>
                    <a:pt x="4978" y="2633"/>
                    <a:pt x="4930" y="2621"/>
                  </a:cubicBezTo>
                  <a:cubicBezTo>
                    <a:pt x="4878" y="2608"/>
                    <a:pt x="4826" y="2586"/>
                    <a:pt x="4777" y="2557"/>
                  </a:cubicBezTo>
                  <a:cubicBezTo>
                    <a:pt x="4752" y="2541"/>
                    <a:pt x="4728" y="2523"/>
                    <a:pt x="4706" y="2504"/>
                  </a:cubicBezTo>
                  <a:cubicBezTo>
                    <a:pt x="4669" y="2471"/>
                    <a:pt x="4637" y="2434"/>
                    <a:pt x="4615" y="2395"/>
                  </a:cubicBezTo>
                  <a:cubicBezTo>
                    <a:pt x="4592" y="2356"/>
                    <a:pt x="4580" y="2315"/>
                    <a:pt x="4575" y="2281"/>
                  </a:cubicBezTo>
                  <a:cubicBezTo>
                    <a:pt x="4572" y="2257"/>
                    <a:pt x="4571" y="2238"/>
                    <a:pt x="4573" y="2213"/>
                  </a:cubicBezTo>
                  <a:cubicBezTo>
                    <a:pt x="4579" y="2142"/>
                    <a:pt x="4582" y="2036"/>
                    <a:pt x="4582" y="1936"/>
                  </a:cubicBezTo>
                  <a:cubicBezTo>
                    <a:pt x="4582" y="1934"/>
                    <a:pt x="4582" y="1933"/>
                    <a:pt x="4582" y="1931"/>
                  </a:cubicBezTo>
                  <a:cubicBezTo>
                    <a:pt x="4582" y="1927"/>
                    <a:pt x="4582" y="1924"/>
                    <a:pt x="4582" y="1920"/>
                  </a:cubicBezTo>
                  <a:cubicBezTo>
                    <a:pt x="4581" y="1895"/>
                    <a:pt x="4581" y="1869"/>
                    <a:pt x="4581" y="1843"/>
                  </a:cubicBezTo>
                  <a:cubicBezTo>
                    <a:pt x="4580" y="1821"/>
                    <a:pt x="4580" y="1799"/>
                    <a:pt x="4580" y="1776"/>
                  </a:cubicBezTo>
                  <a:cubicBezTo>
                    <a:pt x="4579" y="1756"/>
                    <a:pt x="4576" y="1738"/>
                    <a:pt x="4572" y="1720"/>
                  </a:cubicBezTo>
                  <a:cubicBezTo>
                    <a:pt x="4568" y="1703"/>
                    <a:pt x="4562" y="1688"/>
                    <a:pt x="4556" y="1675"/>
                  </a:cubicBezTo>
                  <a:cubicBezTo>
                    <a:pt x="4550" y="1661"/>
                    <a:pt x="4542" y="1647"/>
                    <a:pt x="4535" y="1637"/>
                  </a:cubicBezTo>
                  <a:cubicBezTo>
                    <a:pt x="4527" y="1626"/>
                    <a:pt x="4516" y="1611"/>
                    <a:pt x="4504" y="1598"/>
                  </a:cubicBezTo>
                  <a:cubicBezTo>
                    <a:pt x="4484" y="1576"/>
                    <a:pt x="4457" y="1551"/>
                    <a:pt x="4425" y="1533"/>
                  </a:cubicBezTo>
                  <a:cubicBezTo>
                    <a:pt x="4391" y="1512"/>
                    <a:pt x="4351" y="1497"/>
                    <a:pt x="4310" y="1492"/>
                  </a:cubicBezTo>
                  <a:cubicBezTo>
                    <a:pt x="4310" y="1492"/>
                    <a:pt x="4310" y="1492"/>
                    <a:pt x="4310" y="1492"/>
                  </a:cubicBezTo>
                  <a:cubicBezTo>
                    <a:pt x="4299" y="1490"/>
                    <a:pt x="4288" y="1490"/>
                    <a:pt x="4277" y="1489"/>
                  </a:cubicBezTo>
                  <a:cubicBezTo>
                    <a:pt x="4266" y="1489"/>
                    <a:pt x="4253" y="1489"/>
                    <a:pt x="4242" y="1490"/>
                  </a:cubicBezTo>
                  <a:cubicBezTo>
                    <a:pt x="4163" y="1493"/>
                    <a:pt x="4090" y="1512"/>
                    <a:pt x="4038" y="1529"/>
                  </a:cubicBezTo>
                  <a:cubicBezTo>
                    <a:pt x="4020" y="1535"/>
                    <a:pt x="4005" y="1539"/>
                    <a:pt x="3986" y="1547"/>
                  </a:cubicBezTo>
                  <a:cubicBezTo>
                    <a:pt x="3923" y="1572"/>
                    <a:pt x="3836" y="1628"/>
                    <a:pt x="3761" y="1691"/>
                  </a:cubicBezTo>
                  <a:cubicBezTo>
                    <a:pt x="3759" y="1692"/>
                    <a:pt x="3758" y="1693"/>
                    <a:pt x="3756" y="1694"/>
                  </a:cubicBezTo>
                  <a:cubicBezTo>
                    <a:pt x="3749" y="1701"/>
                    <a:pt x="3749" y="1701"/>
                    <a:pt x="3749" y="1701"/>
                  </a:cubicBezTo>
                  <a:cubicBezTo>
                    <a:pt x="3729" y="1717"/>
                    <a:pt x="3710" y="1735"/>
                    <a:pt x="3692" y="1752"/>
                  </a:cubicBezTo>
                  <a:cubicBezTo>
                    <a:pt x="3659" y="1782"/>
                    <a:pt x="3627" y="1814"/>
                    <a:pt x="3599" y="1842"/>
                  </a:cubicBezTo>
                  <a:cubicBezTo>
                    <a:pt x="3585" y="1857"/>
                    <a:pt x="3572" y="1870"/>
                    <a:pt x="3561" y="1882"/>
                  </a:cubicBezTo>
                  <a:cubicBezTo>
                    <a:pt x="3549" y="1895"/>
                    <a:pt x="3537" y="1909"/>
                    <a:pt x="3528" y="1919"/>
                  </a:cubicBezTo>
                  <a:cubicBezTo>
                    <a:pt x="3517" y="1931"/>
                    <a:pt x="3503" y="1947"/>
                    <a:pt x="3487" y="1963"/>
                  </a:cubicBezTo>
                  <a:cubicBezTo>
                    <a:pt x="3463" y="1988"/>
                    <a:pt x="3433" y="2017"/>
                    <a:pt x="3401" y="2048"/>
                  </a:cubicBezTo>
                  <a:cubicBezTo>
                    <a:pt x="3367" y="2081"/>
                    <a:pt x="3330" y="2116"/>
                    <a:pt x="3291" y="2150"/>
                  </a:cubicBezTo>
                  <a:cubicBezTo>
                    <a:pt x="3271" y="2168"/>
                    <a:pt x="3251" y="2186"/>
                    <a:pt x="3231" y="2203"/>
                  </a:cubicBezTo>
                  <a:cubicBezTo>
                    <a:pt x="3163" y="2261"/>
                    <a:pt x="3093" y="2310"/>
                    <a:pt x="3040" y="2339"/>
                  </a:cubicBezTo>
                  <a:cubicBezTo>
                    <a:pt x="3021" y="2349"/>
                    <a:pt x="3006" y="2356"/>
                    <a:pt x="2985" y="2367"/>
                  </a:cubicBezTo>
                  <a:cubicBezTo>
                    <a:pt x="2951" y="2383"/>
                    <a:pt x="2909" y="2403"/>
                    <a:pt x="2860" y="2418"/>
                  </a:cubicBezTo>
                  <a:cubicBezTo>
                    <a:pt x="2811" y="2434"/>
                    <a:pt x="2756" y="2444"/>
                    <a:pt x="2702" y="2445"/>
                  </a:cubicBezTo>
                  <a:cubicBezTo>
                    <a:pt x="2700" y="2445"/>
                    <a:pt x="2698" y="2445"/>
                    <a:pt x="2696" y="2445"/>
                  </a:cubicBezTo>
                  <a:cubicBezTo>
                    <a:pt x="2693" y="2445"/>
                    <a:pt x="2689" y="2445"/>
                    <a:pt x="2685" y="2445"/>
                  </a:cubicBezTo>
                  <a:cubicBezTo>
                    <a:pt x="2657" y="2445"/>
                    <a:pt x="2629" y="2442"/>
                    <a:pt x="2602" y="2438"/>
                  </a:cubicBezTo>
                  <a:cubicBezTo>
                    <a:pt x="2554" y="2429"/>
                    <a:pt x="2508" y="2414"/>
                    <a:pt x="2468" y="2398"/>
                  </a:cubicBezTo>
                  <a:cubicBezTo>
                    <a:pt x="2449" y="2390"/>
                    <a:pt x="2431" y="2382"/>
                    <a:pt x="2415" y="2374"/>
                  </a:cubicBezTo>
                  <a:cubicBezTo>
                    <a:pt x="2400" y="2367"/>
                    <a:pt x="2384" y="2359"/>
                    <a:pt x="2369" y="2352"/>
                  </a:cubicBezTo>
                  <a:cubicBezTo>
                    <a:pt x="2353" y="2345"/>
                    <a:pt x="2334" y="2334"/>
                    <a:pt x="2315" y="2322"/>
                  </a:cubicBezTo>
                  <a:cubicBezTo>
                    <a:pt x="2284" y="2303"/>
                    <a:pt x="2248" y="2278"/>
                    <a:pt x="2212" y="2250"/>
                  </a:cubicBezTo>
                  <a:cubicBezTo>
                    <a:pt x="2173" y="2220"/>
                    <a:pt x="2134" y="2187"/>
                    <a:pt x="2095" y="2152"/>
                  </a:cubicBezTo>
                  <a:cubicBezTo>
                    <a:pt x="2095" y="2152"/>
                    <a:pt x="2095" y="2152"/>
                    <a:pt x="2095" y="2152"/>
                  </a:cubicBezTo>
                  <a:cubicBezTo>
                    <a:pt x="2076" y="2134"/>
                    <a:pt x="2056" y="2116"/>
                    <a:pt x="2036" y="2098"/>
                  </a:cubicBezTo>
                  <a:cubicBezTo>
                    <a:pt x="1972" y="2038"/>
                    <a:pt x="1915" y="1982"/>
                    <a:pt x="1874" y="1938"/>
                  </a:cubicBezTo>
                  <a:cubicBezTo>
                    <a:pt x="1861" y="1924"/>
                    <a:pt x="1848" y="1909"/>
                    <a:pt x="1835" y="1894"/>
                  </a:cubicBezTo>
                  <a:cubicBezTo>
                    <a:pt x="1786" y="1842"/>
                    <a:pt x="1713" y="1766"/>
                    <a:pt x="1638" y="1703"/>
                  </a:cubicBezTo>
                  <a:cubicBezTo>
                    <a:pt x="1633" y="1699"/>
                    <a:pt x="1633" y="1699"/>
                    <a:pt x="1633" y="1699"/>
                  </a:cubicBezTo>
                  <a:cubicBezTo>
                    <a:pt x="1626" y="1693"/>
                    <a:pt x="1626" y="1693"/>
                    <a:pt x="1626" y="1693"/>
                  </a:cubicBezTo>
                  <a:cubicBezTo>
                    <a:pt x="1606" y="1677"/>
                    <a:pt x="1586" y="1660"/>
                    <a:pt x="1566" y="1646"/>
                  </a:cubicBezTo>
                  <a:cubicBezTo>
                    <a:pt x="1530" y="1619"/>
                    <a:pt x="1494" y="1596"/>
                    <a:pt x="1460" y="1577"/>
                  </a:cubicBezTo>
                  <a:cubicBezTo>
                    <a:pt x="1443" y="1568"/>
                    <a:pt x="1427" y="1560"/>
                    <a:pt x="1413" y="1554"/>
                  </a:cubicBezTo>
                  <a:cubicBezTo>
                    <a:pt x="1398" y="1547"/>
                    <a:pt x="1381" y="1540"/>
                    <a:pt x="1370" y="1537"/>
                  </a:cubicBezTo>
                  <a:cubicBezTo>
                    <a:pt x="1355" y="1532"/>
                    <a:pt x="1336" y="1526"/>
                    <a:pt x="1317" y="1520"/>
                  </a:cubicBezTo>
                  <a:cubicBezTo>
                    <a:pt x="1286" y="1511"/>
                    <a:pt x="1248" y="1502"/>
                    <a:pt x="1208" y="1496"/>
                  </a:cubicBezTo>
                  <a:cubicBezTo>
                    <a:pt x="1187" y="1493"/>
                    <a:pt x="1165" y="1491"/>
                    <a:pt x="1142" y="1490"/>
                  </a:cubicBezTo>
                  <a:cubicBezTo>
                    <a:pt x="1131" y="1489"/>
                    <a:pt x="1119" y="1489"/>
                    <a:pt x="1108" y="1489"/>
                  </a:cubicBezTo>
                  <a:cubicBezTo>
                    <a:pt x="1098" y="1490"/>
                    <a:pt x="1087" y="1490"/>
                    <a:pt x="1077" y="1491"/>
                  </a:cubicBezTo>
                  <a:cubicBezTo>
                    <a:pt x="1056" y="1494"/>
                    <a:pt x="1034" y="1499"/>
                    <a:pt x="1014" y="1507"/>
                  </a:cubicBezTo>
                  <a:cubicBezTo>
                    <a:pt x="945" y="1531"/>
                    <a:pt x="892" y="1580"/>
                    <a:pt x="862" y="1619"/>
                  </a:cubicBezTo>
                  <a:cubicBezTo>
                    <a:pt x="852" y="1633"/>
                    <a:pt x="843" y="1644"/>
                    <a:pt x="834" y="1661"/>
                  </a:cubicBezTo>
                  <a:cubicBezTo>
                    <a:pt x="820" y="1689"/>
                    <a:pt x="807" y="1726"/>
                    <a:pt x="805" y="1769"/>
                  </a:cubicBezTo>
                  <a:cubicBezTo>
                    <a:pt x="803" y="1815"/>
                    <a:pt x="803" y="1868"/>
                    <a:pt x="803" y="1918"/>
                  </a:cubicBezTo>
                  <a:cubicBezTo>
                    <a:pt x="803" y="1919"/>
                    <a:pt x="803" y="1921"/>
                    <a:pt x="803" y="1923"/>
                  </a:cubicBezTo>
                  <a:cubicBezTo>
                    <a:pt x="803" y="1926"/>
                    <a:pt x="803" y="1930"/>
                    <a:pt x="803" y="1933"/>
                  </a:cubicBezTo>
                  <a:cubicBezTo>
                    <a:pt x="803" y="1959"/>
                    <a:pt x="803" y="1985"/>
                    <a:pt x="803" y="2011"/>
                  </a:cubicBezTo>
                  <a:cubicBezTo>
                    <a:pt x="804" y="2056"/>
                    <a:pt x="805" y="2101"/>
                    <a:pt x="807" y="2141"/>
                  </a:cubicBezTo>
                  <a:cubicBezTo>
                    <a:pt x="808" y="2161"/>
                    <a:pt x="809" y="2179"/>
                    <a:pt x="810" y="2196"/>
                  </a:cubicBezTo>
                  <a:cubicBezTo>
                    <a:pt x="812" y="2213"/>
                    <a:pt x="813" y="2232"/>
                    <a:pt x="815" y="2245"/>
                  </a:cubicBezTo>
                  <a:cubicBezTo>
                    <a:pt x="816" y="2261"/>
                    <a:pt x="818" y="2282"/>
                    <a:pt x="820" y="2303"/>
                  </a:cubicBezTo>
                  <a:cubicBezTo>
                    <a:pt x="822" y="2338"/>
                    <a:pt x="824" y="2381"/>
                    <a:pt x="825" y="2425"/>
                  </a:cubicBezTo>
                  <a:cubicBezTo>
                    <a:pt x="826" y="2437"/>
                    <a:pt x="826" y="2449"/>
                    <a:pt x="826" y="2461"/>
                  </a:cubicBezTo>
                  <a:cubicBezTo>
                    <a:pt x="827" y="2480"/>
                    <a:pt x="827" y="2480"/>
                    <a:pt x="827" y="2480"/>
                  </a:cubicBezTo>
                  <a:cubicBezTo>
                    <a:pt x="827" y="2510"/>
                    <a:pt x="827" y="2510"/>
                    <a:pt x="827" y="2510"/>
                  </a:cubicBezTo>
                  <a:cubicBezTo>
                    <a:pt x="827" y="2530"/>
                    <a:pt x="825" y="2550"/>
                    <a:pt x="818" y="2567"/>
                  </a:cubicBezTo>
                  <a:cubicBezTo>
                    <a:pt x="811" y="2585"/>
                    <a:pt x="799" y="2602"/>
                    <a:pt x="783" y="2612"/>
                  </a:cubicBezTo>
                  <a:cubicBezTo>
                    <a:pt x="766" y="2623"/>
                    <a:pt x="747" y="2629"/>
                    <a:pt x="725" y="2633"/>
                  </a:cubicBezTo>
                  <a:cubicBezTo>
                    <a:pt x="715" y="2635"/>
                    <a:pt x="704" y="2636"/>
                    <a:pt x="694" y="2637"/>
                  </a:cubicBezTo>
                  <a:cubicBezTo>
                    <a:pt x="679" y="2638"/>
                    <a:pt x="679" y="2638"/>
                    <a:pt x="679" y="2638"/>
                  </a:cubicBezTo>
                  <a:cubicBezTo>
                    <a:pt x="668" y="2638"/>
                    <a:pt x="668" y="2638"/>
                    <a:pt x="668" y="2638"/>
                  </a:cubicBezTo>
                  <a:cubicBezTo>
                    <a:pt x="622" y="2641"/>
                    <a:pt x="579" y="2640"/>
                    <a:pt x="540" y="2638"/>
                  </a:cubicBezTo>
                  <a:cubicBezTo>
                    <a:pt x="525" y="2637"/>
                    <a:pt x="525" y="2637"/>
                    <a:pt x="525" y="2637"/>
                  </a:cubicBezTo>
                  <a:cubicBezTo>
                    <a:pt x="509" y="2636"/>
                    <a:pt x="509" y="2636"/>
                    <a:pt x="509" y="2636"/>
                  </a:cubicBezTo>
                  <a:cubicBezTo>
                    <a:pt x="499" y="2635"/>
                    <a:pt x="489" y="2634"/>
                    <a:pt x="479" y="2632"/>
                  </a:cubicBezTo>
                  <a:cubicBezTo>
                    <a:pt x="460" y="2629"/>
                    <a:pt x="443" y="2625"/>
                    <a:pt x="428" y="2621"/>
                  </a:cubicBezTo>
                  <a:cubicBezTo>
                    <a:pt x="406" y="2614"/>
                    <a:pt x="390" y="2607"/>
                    <a:pt x="368" y="2598"/>
                  </a:cubicBezTo>
                  <a:cubicBezTo>
                    <a:pt x="297" y="2568"/>
                    <a:pt x="197" y="2510"/>
                    <a:pt x="129" y="2423"/>
                  </a:cubicBezTo>
                  <a:cubicBezTo>
                    <a:pt x="126" y="2418"/>
                    <a:pt x="126" y="2418"/>
                    <a:pt x="126" y="2418"/>
                  </a:cubicBezTo>
                  <a:cubicBezTo>
                    <a:pt x="124" y="2415"/>
                    <a:pt x="121" y="2412"/>
                    <a:pt x="119" y="2409"/>
                  </a:cubicBezTo>
                  <a:cubicBezTo>
                    <a:pt x="103" y="2386"/>
                    <a:pt x="88" y="2361"/>
                    <a:pt x="77" y="2335"/>
                  </a:cubicBezTo>
                  <a:cubicBezTo>
                    <a:pt x="67" y="2311"/>
                    <a:pt x="59" y="2287"/>
                    <a:pt x="55" y="2262"/>
                  </a:cubicBezTo>
                  <a:cubicBezTo>
                    <a:pt x="50" y="2238"/>
                    <a:pt x="49" y="2212"/>
                    <a:pt x="48" y="2193"/>
                  </a:cubicBezTo>
                  <a:cubicBezTo>
                    <a:pt x="48" y="2173"/>
                    <a:pt x="47" y="2155"/>
                    <a:pt x="45" y="2138"/>
                  </a:cubicBezTo>
                  <a:cubicBezTo>
                    <a:pt x="44" y="2121"/>
                    <a:pt x="43" y="2103"/>
                    <a:pt x="41" y="2089"/>
                  </a:cubicBezTo>
                  <a:cubicBezTo>
                    <a:pt x="39" y="2073"/>
                    <a:pt x="37" y="2052"/>
                    <a:pt x="36" y="2031"/>
                  </a:cubicBezTo>
                  <a:cubicBezTo>
                    <a:pt x="33" y="1996"/>
                    <a:pt x="32" y="1953"/>
                    <a:pt x="30" y="1909"/>
                  </a:cubicBezTo>
                  <a:cubicBezTo>
                    <a:pt x="29" y="1862"/>
                    <a:pt x="28" y="1811"/>
                    <a:pt x="28" y="1759"/>
                  </a:cubicBezTo>
                  <a:cubicBezTo>
                    <a:pt x="28" y="1733"/>
                    <a:pt x="28" y="1706"/>
                    <a:pt x="29" y="1680"/>
                  </a:cubicBezTo>
                  <a:cubicBezTo>
                    <a:pt x="30" y="1592"/>
                    <a:pt x="33" y="1510"/>
                    <a:pt x="39" y="1453"/>
                  </a:cubicBezTo>
                  <a:cubicBezTo>
                    <a:pt x="41" y="1433"/>
                    <a:pt x="43" y="1413"/>
                    <a:pt x="44" y="1394"/>
                  </a:cubicBezTo>
                  <a:cubicBezTo>
                    <a:pt x="50" y="1323"/>
                    <a:pt x="53" y="1218"/>
                    <a:pt x="53" y="1118"/>
                  </a:cubicBezTo>
                  <a:cubicBezTo>
                    <a:pt x="53" y="1112"/>
                    <a:pt x="53" y="1112"/>
                    <a:pt x="53" y="1112"/>
                  </a:cubicBezTo>
                  <a:cubicBezTo>
                    <a:pt x="53" y="1109"/>
                    <a:pt x="53" y="1105"/>
                    <a:pt x="53" y="1102"/>
                  </a:cubicBezTo>
                  <a:cubicBezTo>
                    <a:pt x="53" y="1076"/>
                    <a:pt x="53" y="1050"/>
                    <a:pt x="52" y="1025"/>
                  </a:cubicBezTo>
                  <a:cubicBezTo>
                    <a:pt x="52" y="979"/>
                    <a:pt x="50" y="934"/>
                    <a:pt x="48" y="894"/>
                  </a:cubicBezTo>
                  <a:cubicBezTo>
                    <a:pt x="48" y="874"/>
                    <a:pt x="47" y="856"/>
                    <a:pt x="45" y="839"/>
                  </a:cubicBezTo>
                  <a:cubicBezTo>
                    <a:pt x="44" y="822"/>
                    <a:pt x="43" y="803"/>
                    <a:pt x="41" y="790"/>
                  </a:cubicBezTo>
                  <a:cubicBezTo>
                    <a:pt x="39" y="774"/>
                    <a:pt x="37" y="753"/>
                    <a:pt x="36" y="732"/>
                  </a:cubicBezTo>
                  <a:cubicBezTo>
                    <a:pt x="33" y="697"/>
                    <a:pt x="32" y="654"/>
                    <a:pt x="30" y="610"/>
                  </a:cubicBezTo>
                  <a:cubicBezTo>
                    <a:pt x="29" y="562"/>
                    <a:pt x="28" y="511"/>
                    <a:pt x="28" y="460"/>
                  </a:cubicBezTo>
                  <a:cubicBezTo>
                    <a:pt x="28" y="434"/>
                    <a:pt x="28" y="368"/>
                    <a:pt x="29" y="341"/>
                  </a:cubicBezTo>
                  <a:cubicBezTo>
                    <a:pt x="29" y="299"/>
                    <a:pt x="30" y="259"/>
                    <a:pt x="32" y="222"/>
                  </a:cubicBezTo>
                  <a:cubicBezTo>
                    <a:pt x="34" y="183"/>
                    <a:pt x="35" y="157"/>
                    <a:pt x="38" y="101"/>
                  </a:cubicBezTo>
                  <a:cubicBezTo>
                    <a:pt x="41" y="45"/>
                    <a:pt x="91" y="42"/>
                    <a:pt x="105" y="41"/>
                  </a:cubicBezTo>
                  <a:cubicBezTo>
                    <a:pt x="119" y="41"/>
                    <a:pt x="177" y="46"/>
                    <a:pt x="199" y="46"/>
                  </a:cubicBezTo>
                  <a:cubicBezTo>
                    <a:pt x="222" y="45"/>
                    <a:pt x="616" y="48"/>
                    <a:pt x="632" y="49"/>
                  </a:cubicBezTo>
                  <a:cubicBezTo>
                    <a:pt x="648" y="49"/>
                    <a:pt x="681" y="49"/>
                    <a:pt x="699" y="50"/>
                  </a:cubicBezTo>
                  <a:cubicBezTo>
                    <a:pt x="717" y="51"/>
                    <a:pt x="737" y="53"/>
                    <a:pt x="751" y="54"/>
                  </a:cubicBezTo>
                  <a:cubicBezTo>
                    <a:pt x="768" y="56"/>
                    <a:pt x="791" y="59"/>
                    <a:pt x="813" y="64"/>
                  </a:cubicBezTo>
                  <a:cubicBezTo>
                    <a:pt x="850" y="72"/>
                    <a:pt x="895" y="87"/>
                    <a:pt x="938" y="108"/>
                  </a:cubicBezTo>
                  <a:cubicBezTo>
                    <a:pt x="985" y="130"/>
                    <a:pt x="1032" y="160"/>
                    <a:pt x="1075" y="196"/>
                  </a:cubicBezTo>
                  <a:cubicBezTo>
                    <a:pt x="1086" y="205"/>
                    <a:pt x="1097" y="215"/>
                    <a:pt x="1107" y="225"/>
                  </a:cubicBezTo>
                  <a:cubicBezTo>
                    <a:pt x="1117" y="234"/>
                    <a:pt x="1126" y="243"/>
                    <a:pt x="1136" y="252"/>
                  </a:cubicBezTo>
                  <a:cubicBezTo>
                    <a:pt x="1199" y="313"/>
                    <a:pt x="1256" y="372"/>
                    <a:pt x="1295" y="415"/>
                  </a:cubicBezTo>
                  <a:cubicBezTo>
                    <a:pt x="1307" y="430"/>
                    <a:pt x="1321" y="445"/>
                    <a:pt x="1333" y="459"/>
                  </a:cubicBezTo>
                  <a:cubicBezTo>
                    <a:pt x="1381" y="512"/>
                    <a:pt x="1456" y="587"/>
                    <a:pt x="1529" y="655"/>
                  </a:cubicBezTo>
                  <a:cubicBezTo>
                    <a:pt x="1533" y="659"/>
                    <a:pt x="1533" y="659"/>
                    <a:pt x="1533" y="659"/>
                  </a:cubicBezTo>
                  <a:cubicBezTo>
                    <a:pt x="1541" y="666"/>
                    <a:pt x="1541" y="666"/>
                    <a:pt x="1541" y="666"/>
                  </a:cubicBezTo>
                  <a:cubicBezTo>
                    <a:pt x="1559" y="683"/>
                    <a:pt x="1579" y="701"/>
                    <a:pt x="1598" y="719"/>
                  </a:cubicBezTo>
                  <a:cubicBezTo>
                    <a:pt x="1629" y="746"/>
                    <a:pt x="1661" y="776"/>
                    <a:pt x="1695" y="805"/>
                  </a:cubicBezTo>
                  <a:cubicBezTo>
                    <a:pt x="1709" y="818"/>
                    <a:pt x="1723" y="829"/>
                    <a:pt x="1736" y="839"/>
                  </a:cubicBezTo>
                  <a:cubicBezTo>
                    <a:pt x="1749" y="849"/>
                    <a:pt x="1764" y="859"/>
                    <a:pt x="1775" y="866"/>
                  </a:cubicBezTo>
                  <a:cubicBezTo>
                    <a:pt x="1791" y="876"/>
                    <a:pt x="1808" y="887"/>
                    <a:pt x="1823" y="897"/>
                  </a:cubicBezTo>
                  <a:cubicBezTo>
                    <a:pt x="1851" y="915"/>
                    <a:pt x="1886" y="937"/>
                    <a:pt x="1922" y="958"/>
                  </a:cubicBezTo>
                  <a:cubicBezTo>
                    <a:pt x="1962" y="981"/>
                    <a:pt x="2005" y="1004"/>
                    <a:pt x="2049" y="1025"/>
                  </a:cubicBezTo>
                  <a:cubicBezTo>
                    <a:pt x="2072" y="1036"/>
                    <a:pt x="2095" y="1047"/>
                    <a:pt x="2118" y="1057"/>
                  </a:cubicBezTo>
                  <a:cubicBezTo>
                    <a:pt x="2195" y="1091"/>
                    <a:pt x="2270" y="1117"/>
                    <a:pt x="2323" y="1136"/>
                  </a:cubicBezTo>
                  <a:cubicBezTo>
                    <a:pt x="2341" y="1142"/>
                    <a:pt x="2356" y="1148"/>
                    <a:pt x="2376" y="1154"/>
                  </a:cubicBezTo>
                  <a:cubicBezTo>
                    <a:pt x="2442" y="1174"/>
                    <a:pt x="2545" y="1191"/>
                    <a:pt x="2643" y="1194"/>
                  </a:cubicBezTo>
                  <a:cubicBezTo>
                    <a:pt x="2648" y="1194"/>
                    <a:pt x="2648" y="1194"/>
                    <a:pt x="2648" y="1194"/>
                  </a:cubicBezTo>
                  <a:cubicBezTo>
                    <a:pt x="2652" y="1194"/>
                    <a:pt x="2655" y="1194"/>
                    <a:pt x="2658" y="1194"/>
                  </a:cubicBezTo>
                  <a:cubicBezTo>
                    <a:pt x="2684" y="1195"/>
                    <a:pt x="2709" y="1195"/>
                    <a:pt x="2734" y="1193"/>
                  </a:cubicBezTo>
                  <a:cubicBezTo>
                    <a:pt x="2779" y="1192"/>
                    <a:pt x="2822" y="1187"/>
                    <a:pt x="2861" y="1181"/>
                  </a:cubicBezTo>
                  <a:cubicBezTo>
                    <a:pt x="2880" y="1178"/>
                    <a:pt x="2898" y="1175"/>
                    <a:pt x="2913" y="1171"/>
                  </a:cubicBezTo>
                  <a:cubicBezTo>
                    <a:pt x="2930" y="1168"/>
                    <a:pt x="2947" y="1164"/>
                    <a:pt x="2960" y="1160"/>
                  </a:cubicBezTo>
                  <a:cubicBezTo>
                    <a:pt x="2978" y="1155"/>
                    <a:pt x="2997" y="1149"/>
                    <a:pt x="3014" y="1144"/>
                  </a:cubicBezTo>
                  <a:cubicBezTo>
                    <a:pt x="3047" y="1135"/>
                    <a:pt x="3086" y="1123"/>
                    <a:pt x="3126" y="1109"/>
                  </a:cubicBezTo>
                  <a:cubicBezTo>
                    <a:pt x="3170" y="1095"/>
                    <a:pt x="3216" y="1078"/>
                    <a:pt x="3261" y="1059"/>
                  </a:cubicBezTo>
                  <a:cubicBezTo>
                    <a:pt x="3284" y="1049"/>
                    <a:pt x="3308" y="1039"/>
                    <a:pt x="3331" y="1029"/>
                  </a:cubicBezTo>
                  <a:cubicBezTo>
                    <a:pt x="3407" y="994"/>
                    <a:pt x="3476" y="955"/>
                    <a:pt x="3524" y="927"/>
                  </a:cubicBezTo>
                  <a:cubicBezTo>
                    <a:pt x="3542" y="917"/>
                    <a:pt x="3555" y="910"/>
                    <a:pt x="3573" y="899"/>
                  </a:cubicBezTo>
                  <a:cubicBezTo>
                    <a:pt x="3602" y="880"/>
                    <a:pt x="3637" y="855"/>
                    <a:pt x="3672" y="824"/>
                  </a:cubicBezTo>
                  <a:cubicBezTo>
                    <a:pt x="3708" y="794"/>
                    <a:pt x="3746" y="758"/>
                    <a:pt x="3782" y="724"/>
                  </a:cubicBezTo>
                  <a:cubicBezTo>
                    <a:pt x="3784" y="723"/>
                    <a:pt x="3785" y="722"/>
                    <a:pt x="3786" y="721"/>
                  </a:cubicBezTo>
                  <a:cubicBezTo>
                    <a:pt x="3794" y="714"/>
                    <a:pt x="3794" y="714"/>
                    <a:pt x="3794" y="714"/>
                  </a:cubicBezTo>
                  <a:cubicBezTo>
                    <a:pt x="3812" y="696"/>
                    <a:pt x="3831" y="678"/>
                    <a:pt x="3850" y="660"/>
                  </a:cubicBezTo>
                  <a:cubicBezTo>
                    <a:pt x="3883" y="628"/>
                    <a:pt x="3914" y="597"/>
                    <a:pt x="3942" y="568"/>
                  </a:cubicBezTo>
                  <a:cubicBezTo>
                    <a:pt x="3956" y="554"/>
                    <a:pt x="3969" y="540"/>
                    <a:pt x="3980" y="528"/>
                  </a:cubicBezTo>
                  <a:cubicBezTo>
                    <a:pt x="3992" y="515"/>
                    <a:pt x="4004" y="502"/>
                    <a:pt x="4013" y="492"/>
                  </a:cubicBezTo>
                  <a:cubicBezTo>
                    <a:pt x="4023" y="479"/>
                    <a:pt x="4038" y="463"/>
                    <a:pt x="4052" y="448"/>
                  </a:cubicBezTo>
                  <a:cubicBezTo>
                    <a:pt x="4075" y="422"/>
                    <a:pt x="4105" y="391"/>
                    <a:pt x="4137" y="360"/>
                  </a:cubicBezTo>
                  <a:cubicBezTo>
                    <a:pt x="4170" y="327"/>
                    <a:pt x="4207" y="291"/>
                    <a:pt x="4244" y="256"/>
                  </a:cubicBezTo>
                  <a:cubicBezTo>
                    <a:pt x="4264" y="238"/>
                    <a:pt x="4283" y="220"/>
                    <a:pt x="4303" y="202"/>
                  </a:cubicBezTo>
                  <a:cubicBezTo>
                    <a:pt x="4330" y="177"/>
                    <a:pt x="4358" y="152"/>
                    <a:pt x="4383" y="130"/>
                  </a:cubicBezTo>
                  <a:cubicBezTo>
                    <a:pt x="4409" y="108"/>
                    <a:pt x="4441" y="78"/>
                    <a:pt x="4462" y="63"/>
                  </a:cubicBezTo>
                  <a:cubicBezTo>
                    <a:pt x="4483" y="47"/>
                    <a:pt x="4543" y="45"/>
                    <a:pt x="4553" y="46"/>
                  </a:cubicBezTo>
                  <a:cubicBezTo>
                    <a:pt x="4624" y="51"/>
                    <a:pt x="4748" y="53"/>
                    <a:pt x="4848" y="53"/>
                  </a:cubicBezTo>
                  <a:cubicBezTo>
                    <a:pt x="4853" y="53"/>
                    <a:pt x="4853" y="53"/>
                    <a:pt x="4853" y="53"/>
                  </a:cubicBezTo>
                  <a:cubicBezTo>
                    <a:pt x="4864" y="53"/>
                    <a:pt x="4864" y="53"/>
                    <a:pt x="4864" y="53"/>
                  </a:cubicBezTo>
                  <a:cubicBezTo>
                    <a:pt x="4889" y="52"/>
                    <a:pt x="4916" y="52"/>
                    <a:pt x="4942" y="52"/>
                  </a:cubicBezTo>
                  <a:cubicBezTo>
                    <a:pt x="4992" y="53"/>
                    <a:pt x="5041" y="63"/>
                    <a:pt x="5083" y="78"/>
                  </a:cubicBezTo>
                  <a:cubicBezTo>
                    <a:pt x="5104" y="86"/>
                    <a:pt x="5123" y="94"/>
                    <a:pt x="5139" y="103"/>
                  </a:cubicBezTo>
                  <a:cubicBezTo>
                    <a:pt x="5156" y="111"/>
                    <a:pt x="5174" y="122"/>
                    <a:pt x="5187" y="130"/>
                  </a:cubicBezTo>
                  <a:cubicBezTo>
                    <a:pt x="5202" y="140"/>
                    <a:pt x="5221" y="155"/>
                    <a:pt x="5239" y="172"/>
                  </a:cubicBezTo>
                  <a:cubicBezTo>
                    <a:pt x="5267" y="199"/>
                    <a:pt x="5298" y="239"/>
                    <a:pt x="5319" y="286"/>
                  </a:cubicBezTo>
                  <a:cubicBezTo>
                    <a:pt x="5343" y="336"/>
                    <a:pt x="5356" y="395"/>
                    <a:pt x="5356" y="455"/>
                  </a:cubicBezTo>
                  <a:cubicBezTo>
                    <a:pt x="5356" y="481"/>
                    <a:pt x="5356" y="508"/>
                    <a:pt x="5356" y="534"/>
                  </a:cubicBezTo>
                  <a:cubicBezTo>
                    <a:pt x="5354" y="622"/>
                    <a:pt x="5351" y="704"/>
                    <a:pt x="5346" y="762"/>
                  </a:cubicBezTo>
                  <a:cubicBezTo>
                    <a:pt x="5344" y="781"/>
                    <a:pt x="5342" y="801"/>
                    <a:pt x="5340" y="820"/>
                  </a:cubicBezTo>
                  <a:cubicBezTo>
                    <a:pt x="5334" y="891"/>
                    <a:pt x="5331" y="997"/>
                    <a:pt x="5331" y="1097"/>
                  </a:cubicBezTo>
                  <a:cubicBezTo>
                    <a:pt x="5331" y="1099"/>
                    <a:pt x="5331" y="1100"/>
                    <a:pt x="5331" y="1102"/>
                  </a:cubicBezTo>
                  <a:cubicBezTo>
                    <a:pt x="5331" y="1106"/>
                    <a:pt x="5331" y="1109"/>
                    <a:pt x="5331" y="1112"/>
                  </a:cubicBezTo>
                  <a:close/>
                  <a:moveTo>
                    <a:pt x="5256" y="889"/>
                  </a:moveTo>
                  <a:cubicBezTo>
                    <a:pt x="5255" y="869"/>
                    <a:pt x="5254" y="850"/>
                    <a:pt x="5252" y="834"/>
                  </a:cubicBezTo>
                  <a:cubicBezTo>
                    <a:pt x="5251" y="816"/>
                    <a:pt x="5250" y="798"/>
                    <a:pt x="5248" y="785"/>
                  </a:cubicBezTo>
                  <a:cubicBezTo>
                    <a:pt x="5246" y="769"/>
                    <a:pt x="5244" y="747"/>
                    <a:pt x="5243" y="726"/>
                  </a:cubicBezTo>
                  <a:cubicBezTo>
                    <a:pt x="5240" y="692"/>
                    <a:pt x="5239" y="649"/>
                    <a:pt x="5237" y="605"/>
                  </a:cubicBezTo>
                  <a:cubicBezTo>
                    <a:pt x="5236" y="557"/>
                    <a:pt x="5235" y="506"/>
                    <a:pt x="5235" y="455"/>
                  </a:cubicBezTo>
                  <a:cubicBezTo>
                    <a:pt x="5235" y="455"/>
                    <a:pt x="5235" y="455"/>
                    <a:pt x="5235" y="455"/>
                  </a:cubicBezTo>
                  <a:cubicBezTo>
                    <a:pt x="5235" y="433"/>
                    <a:pt x="5233" y="410"/>
                    <a:pt x="5229" y="389"/>
                  </a:cubicBezTo>
                  <a:cubicBezTo>
                    <a:pt x="5215" y="316"/>
                    <a:pt x="5175" y="256"/>
                    <a:pt x="5141" y="220"/>
                  </a:cubicBezTo>
                  <a:cubicBezTo>
                    <a:pt x="5129" y="207"/>
                    <a:pt x="5120" y="196"/>
                    <a:pt x="5104" y="184"/>
                  </a:cubicBezTo>
                  <a:cubicBezTo>
                    <a:pt x="5080" y="165"/>
                    <a:pt x="5045" y="145"/>
                    <a:pt x="5003" y="134"/>
                  </a:cubicBezTo>
                  <a:cubicBezTo>
                    <a:pt x="4982" y="129"/>
                    <a:pt x="4960" y="125"/>
                    <a:pt x="4938" y="125"/>
                  </a:cubicBezTo>
                  <a:cubicBezTo>
                    <a:pt x="4914" y="124"/>
                    <a:pt x="4888" y="124"/>
                    <a:pt x="4863" y="124"/>
                  </a:cubicBezTo>
                  <a:cubicBezTo>
                    <a:pt x="4853" y="124"/>
                    <a:pt x="4853" y="124"/>
                    <a:pt x="4853" y="124"/>
                  </a:cubicBezTo>
                  <a:cubicBezTo>
                    <a:pt x="4847" y="124"/>
                    <a:pt x="4847" y="124"/>
                    <a:pt x="4847" y="124"/>
                  </a:cubicBezTo>
                  <a:cubicBezTo>
                    <a:pt x="4822" y="124"/>
                    <a:pt x="4796" y="124"/>
                    <a:pt x="4770" y="124"/>
                  </a:cubicBezTo>
                  <a:cubicBezTo>
                    <a:pt x="4724" y="125"/>
                    <a:pt x="4680" y="127"/>
                    <a:pt x="4640" y="128"/>
                  </a:cubicBezTo>
                  <a:cubicBezTo>
                    <a:pt x="4620" y="129"/>
                    <a:pt x="4601" y="130"/>
                    <a:pt x="4585" y="131"/>
                  </a:cubicBezTo>
                  <a:cubicBezTo>
                    <a:pt x="4574" y="132"/>
                    <a:pt x="4567" y="133"/>
                    <a:pt x="4554" y="134"/>
                  </a:cubicBezTo>
                  <a:cubicBezTo>
                    <a:pt x="4542" y="135"/>
                    <a:pt x="4529" y="141"/>
                    <a:pt x="4518" y="153"/>
                  </a:cubicBezTo>
                  <a:cubicBezTo>
                    <a:pt x="4508" y="165"/>
                    <a:pt x="4501" y="173"/>
                    <a:pt x="4501" y="173"/>
                  </a:cubicBezTo>
                  <a:cubicBezTo>
                    <a:pt x="4494" y="180"/>
                    <a:pt x="4487" y="187"/>
                    <a:pt x="4480" y="194"/>
                  </a:cubicBezTo>
                  <a:cubicBezTo>
                    <a:pt x="4465" y="210"/>
                    <a:pt x="4450" y="225"/>
                    <a:pt x="4435" y="240"/>
                  </a:cubicBezTo>
                  <a:cubicBezTo>
                    <a:pt x="4401" y="274"/>
                    <a:pt x="4365" y="309"/>
                    <a:pt x="4327" y="344"/>
                  </a:cubicBezTo>
                  <a:cubicBezTo>
                    <a:pt x="4327" y="344"/>
                    <a:pt x="4327" y="344"/>
                    <a:pt x="4327" y="344"/>
                  </a:cubicBezTo>
                  <a:cubicBezTo>
                    <a:pt x="4308" y="362"/>
                    <a:pt x="4288" y="380"/>
                    <a:pt x="4269" y="398"/>
                  </a:cubicBezTo>
                  <a:cubicBezTo>
                    <a:pt x="4204" y="457"/>
                    <a:pt x="4142" y="511"/>
                    <a:pt x="4096" y="547"/>
                  </a:cubicBezTo>
                  <a:cubicBezTo>
                    <a:pt x="4081" y="559"/>
                    <a:pt x="4065" y="571"/>
                    <a:pt x="4050" y="582"/>
                  </a:cubicBezTo>
                  <a:cubicBezTo>
                    <a:pt x="3995" y="627"/>
                    <a:pt x="3915" y="697"/>
                    <a:pt x="3843" y="766"/>
                  </a:cubicBezTo>
                  <a:cubicBezTo>
                    <a:pt x="3835" y="773"/>
                    <a:pt x="3835" y="773"/>
                    <a:pt x="3835" y="773"/>
                  </a:cubicBezTo>
                  <a:cubicBezTo>
                    <a:pt x="3831" y="777"/>
                    <a:pt x="3831" y="777"/>
                    <a:pt x="3831" y="777"/>
                  </a:cubicBezTo>
                  <a:cubicBezTo>
                    <a:pt x="3812" y="794"/>
                    <a:pt x="3794" y="812"/>
                    <a:pt x="3775" y="830"/>
                  </a:cubicBezTo>
                  <a:cubicBezTo>
                    <a:pt x="3743" y="861"/>
                    <a:pt x="3710" y="894"/>
                    <a:pt x="3679" y="922"/>
                  </a:cubicBezTo>
                  <a:cubicBezTo>
                    <a:pt x="3666" y="934"/>
                    <a:pt x="3652" y="947"/>
                    <a:pt x="3637" y="960"/>
                  </a:cubicBezTo>
                  <a:cubicBezTo>
                    <a:pt x="3625" y="971"/>
                    <a:pt x="3612" y="982"/>
                    <a:pt x="3599" y="993"/>
                  </a:cubicBezTo>
                  <a:cubicBezTo>
                    <a:pt x="3587" y="1005"/>
                    <a:pt x="3570" y="1019"/>
                    <a:pt x="3553" y="1032"/>
                  </a:cubicBezTo>
                  <a:cubicBezTo>
                    <a:pt x="3524" y="1054"/>
                    <a:pt x="3487" y="1079"/>
                    <a:pt x="3447" y="1102"/>
                  </a:cubicBezTo>
                  <a:cubicBezTo>
                    <a:pt x="3404" y="1127"/>
                    <a:pt x="3357" y="1151"/>
                    <a:pt x="3307" y="1171"/>
                  </a:cubicBezTo>
                  <a:cubicBezTo>
                    <a:pt x="3282" y="1181"/>
                    <a:pt x="3255" y="1191"/>
                    <a:pt x="3230" y="1200"/>
                  </a:cubicBezTo>
                  <a:cubicBezTo>
                    <a:pt x="3143" y="1230"/>
                    <a:pt x="3059" y="1246"/>
                    <a:pt x="3000" y="1252"/>
                  </a:cubicBezTo>
                  <a:cubicBezTo>
                    <a:pt x="2979" y="1254"/>
                    <a:pt x="2962" y="1254"/>
                    <a:pt x="2940" y="1256"/>
                  </a:cubicBezTo>
                  <a:cubicBezTo>
                    <a:pt x="2867" y="1262"/>
                    <a:pt x="2759" y="1268"/>
                    <a:pt x="2657" y="1266"/>
                  </a:cubicBezTo>
                  <a:cubicBezTo>
                    <a:pt x="2646" y="1265"/>
                    <a:pt x="2646" y="1265"/>
                    <a:pt x="2646" y="1265"/>
                  </a:cubicBezTo>
                  <a:cubicBezTo>
                    <a:pt x="2640" y="1265"/>
                    <a:pt x="2640" y="1265"/>
                    <a:pt x="2640" y="1265"/>
                  </a:cubicBezTo>
                  <a:cubicBezTo>
                    <a:pt x="2614" y="1264"/>
                    <a:pt x="2587" y="1263"/>
                    <a:pt x="2561" y="1261"/>
                  </a:cubicBezTo>
                  <a:cubicBezTo>
                    <a:pt x="2515" y="1258"/>
                    <a:pt x="2469" y="1254"/>
                    <a:pt x="2428" y="1249"/>
                  </a:cubicBezTo>
                  <a:cubicBezTo>
                    <a:pt x="2410" y="1247"/>
                    <a:pt x="2392" y="1245"/>
                    <a:pt x="2372" y="1242"/>
                  </a:cubicBezTo>
                  <a:cubicBezTo>
                    <a:pt x="2356" y="1240"/>
                    <a:pt x="2339" y="1238"/>
                    <a:pt x="2322" y="1236"/>
                  </a:cubicBezTo>
                  <a:cubicBezTo>
                    <a:pt x="2306" y="1234"/>
                    <a:pt x="2284" y="1230"/>
                    <a:pt x="2262" y="1226"/>
                  </a:cubicBezTo>
                  <a:cubicBezTo>
                    <a:pt x="2227" y="1219"/>
                    <a:pt x="2184" y="1207"/>
                    <a:pt x="2140" y="1193"/>
                  </a:cubicBezTo>
                  <a:cubicBezTo>
                    <a:pt x="2093" y="1177"/>
                    <a:pt x="2044" y="1158"/>
                    <a:pt x="1996" y="1134"/>
                  </a:cubicBezTo>
                  <a:cubicBezTo>
                    <a:pt x="1996" y="1134"/>
                    <a:pt x="1996" y="1134"/>
                    <a:pt x="1996" y="1134"/>
                  </a:cubicBezTo>
                  <a:cubicBezTo>
                    <a:pt x="1971" y="1122"/>
                    <a:pt x="1946" y="1109"/>
                    <a:pt x="1923" y="1095"/>
                  </a:cubicBezTo>
                  <a:cubicBezTo>
                    <a:pt x="1844" y="1050"/>
                    <a:pt x="1776" y="998"/>
                    <a:pt x="1732" y="956"/>
                  </a:cubicBezTo>
                  <a:cubicBezTo>
                    <a:pt x="1717" y="942"/>
                    <a:pt x="1705" y="930"/>
                    <a:pt x="1689" y="914"/>
                  </a:cubicBezTo>
                  <a:cubicBezTo>
                    <a:pt x="1663" y="888"/>
                    <a:pt x="1632" y="855"/>
                    <a:pt x="1598" y="821"/>
                  </a:cubicBezTo>
                  <a:cubicBezTo>
                    <a:pt x="1564" y="787"/>
                    <a:pt x="1527" y="751"/>
                    <a:pt x="1491" y="717"/>
                  </a:cubicBezTo>
                  <a:cubicBezTo>
                    <a:pt x="1484" y="710"/>
                    <a:pt x="1484" y="710"/>
                    <a:pt x="1484" y="710"/>
                  </a:cubicBezTo>
                  <a:cubicBezTo>
                    <a:pt x="1482" y="709"/>
                    <a:pt x="1481" y="708"/>
                    <a:pt x="1480" y="706"/>
                  </a:cubicBezTo>
                  <a:cubicBezTo>
                    <a:pt x="1461" y="689"/>
                    <a:pt x="1442" y="671"/>
                    <a:pt x="1423" y="654"/>
                  </a:cubicBezTo>
                  <a:cubicBezTo>
                    <a:pt x="1389" y="623"/>
                    <a:pt x="1356" y="594"/>
                    <a:pt x="1325" y="567"/>
                  </a:cubicBezTo>
                  <a:cubicBezTo>
                    <a:pt x="1310" y="554"/>
                    <a:pt x="1296" y="542"/>
                    <a:pt x="1283" y="532"/>
                  </a:cubicBezTo>
                  <a:cubicBezTo>
                    <a:pt x="1270" y="521"/>
                    <a:pt x="1255" y="510"/>
                    <a:pt x="1245" y="502"/>
                  </a:cubicBezTo>
                  <a:cubicBezTo>
                    <a:pt x="1231" y="492"/>
                    <a:pt x="1215" y="479"/>
                    <a:pt x="1198" y="465"/>
                  </a:cubicBezTo>
                  <a:cubicBezTo>
                    <a:pt x="1171" y="444"/>
                    <a:pt x="1139" y="416"/>
                    <a:pt x="1106" y="386"/>
                  </a:cubicBezTo>
                  <a:cubicBezTo>
                    <a:pt x="1087" y="370"/>
                    <a:pt x="1069" y="353"/>
                    <a:pt x="1051" y="337"/>
                  </a:cubicBezTo>
                  <a:cubicBezTo>
                    <a:pt x="1042" y="329"/>
                    <a:pt x="1033" y="320"/>
                    <a:pt x="1023" y="312"/>
                  </a:cubicBezTo>
                  <a:cubicBezTo>
                    <a:pt x="1014" y="304"/>
                    <a:pt x="1006" y="296"/>
                    <a:pt x="997" y="288"/>
                  </a:cubicBezTo>
                  <a:cubicBezTo>
                    <a:pt x="979" y="273"/>
                    <a:pt x="959" y="258"/>
                    <a:pt x="939" y="245"/>
                  </a:cubicBezTo>
                  <a:cubicBezTo>
                    <a:pt x="873" y="200"/>
                    <a:pt x="772" y="125"/>
                    <a:pt x="652" y="121"/>
                  </a:cubicBezTo>
                  <a:cubicBezTo>
                    <a:pt x="605" y="119"/>
                    <a:pt x="251" y="115"/>
                    <a:pt x="211" y="119"/>
                  </a:cubicBezTo>
                  <a:cubicBezTo>
                    <a:pt x="156" y="126"/>
                    <a:pt x="143" y="140"/>
                    <a:pt x="143" y="154"/>
                  </a:cubicBezTo>
                  <a:cubicBezTo>
                    <a:pt x="144" y="167"/>
                    <a:pt x="144" y="197"/>
                    <a:pt x="145" y="207"/>
                  </a:cubicBezTo>
                  <a:cubicBezTo>
                    <a:pt x="145" y="229"/>
                    <a:pt x="146" y="250"/>
                    <a:pt x="147" y="271"/>
                  </a:cubicBezTo>
                  <a:cubicBezTo>
                    <a:pt x="148" y="319"/>
                    <a:pt x="149" y="409"/>
                    <a:pt x="149" y="460"/>
                  </a:cubicBezTo>
                  <a:cubicBezTo>
                    <a:pt x="149" y="486"/>
                    <a:pt x="149" y="513"/>
                    <a:pt x="149" y="540"/>
                  </a:cubicBezTo>
                  <a:cubicBezTo>
                    <a:pt x="147" y="627"/>
                    <a:pt x="144" y="709"/>
                    <a:pt x="138" y="767"/>
                  </a:cubicBezTo>
                  <a:cubicBezTo>
                    <a:pt x="137" y="787"/>
                    <a:pt x="135" y="806"/>
                    <a:pt x="133" y="825"/>
                  </a:cubicBezTo>
                  <a:cubicBezTo>
                    <a:pt x="127" y="896"/>
                    <a:pt x="124" y="1002"/>
                    <a:pt x="124" y="1102"/>
                  </a:cubicBezTo>
                  <a:cubicBezTo>
                    <a:pt x="124" y="1112"/>
                    <a:pt x="124" y="1112"/>
                    <a:pt x="124" y="1112"/>
                  </a:cubicBezTo>
                  <a:cubicBezTo>
                    <a:pt x="124" y="1114"/>
                    <a:pt x="124" y="1116"/>
                    <a:pt x="124" y="1118"/>
                  </a:cubicBezTo>
                  <a:cubicBezTo>
                    <a:pt x="124" y="1143"/>
                    <a:pt x="125" y="1170"/>
                    <a:pt x="125" y="1195"/>
                  </a:cubicBezTo>
                  <a:cubicBezTo>
                    <a:pt x="125" y="1241"/>
                    <a:pt x="127" y="1286"/>
                    <a:pt x="129" y="1326"/>
                  </a:cubicBezTo>
                  <a:cubicBezTo>
                    <a:pt x="130" y="1346"/>
                    <a:pt x="131" y="1364"/>
                    <a:pt x="132" y="1381"/>
                  </a:cubicBezTo>
                  <a:cubicBezTo>
                    <a:pt x="133" y="1398"/>
                    <a:pt x="135" y="1416"/>
                    <a:pt x="136" y="1429"/>
                  </a:cubicBezTo>
                  <a:cubicBezTo>
                    <a:pt x="138" y="1446"/>
                    <a:pt x="140" y="1467"/>
                    <a:pt x="141" y="1488"/>
                  </a:cubicBezTo>
                  <a:cubicBezTo>
                    <a:pt x="144" y="1523"/>
                    <a:pt x="146" y="1566"/>
                    <a:pt x="147" y="1610"/>
                  </a:cubicBezTo>
                  <a:cubicBezTo>
                    <a:pt x="148" y="1657"/>
                    <a:pt x="149" y="1708"/>
                    <a:pt x="149" y="1759"/>
                  </a:cubicBezTo>
                  <a:cubicBezTo>
                    <a:pt x="149" y="1786"/>
                    <a:pt x="149" y="1813"/>
                    <a:pt x="149" y="1839"/>
                  </a:cubicBezTo>
                  <a:cubicBezTo>
                    <a:pt x="147" y="1927"/>
                    <a:pt x="144" y="2009"/>
                    <a:pt x="138" y="2066"/>
                  </a:cubicBezTo>
                  <a:cubicBezTo>
                    <a:pt x="137" y="2086"/>
                    <a:pt x="135" y="2105"/>
                    <a:pt x="133" y="2125"/>
                  </a:cubicBezTo>
                  <a:cubicBezTo>
                    <a:pt x="131" y="2142"/>
                    <a:pt x="130" y="2162"/>
                    <a:pt x="129" y="2184"/>
                  </a:cubicBezTo>
                  <a:cubicBezTo>
                    <a:pt x="129" y="2195"/>
                    <a:pt x="128" y="2206"/>
                    <a:pt x="128" y="2217"/>
                  </a:cubicBezTo>
                  <a:cubicBezTo>
                    <a:pt x="127" y="2226"/>
                    <a:pt x="128" y="2236"/>
                    <a:pt x="129" y="2247"/>
                  </a:cubicBezTo>
                  <a:cubicBezTo>
                    <a:pt x="133" y="2288"/>
                    <a:pt x="151" y="2331"/>
                    <a:pt x="177" y="2367"/>
                  </a:cubicBezTo>
                  <a:cubicBezTo>
                    <a:pt x="183" y="2375"/>
                    <a:pt x="183" y="2375"/>
                    <a:pt x="183" y="2375"/>
                  </a:cubicBezTo>
                  <a:cubicBezTo>
                    <a:pt x="186" y="2379"/>
                    <a:pt x="186" y="2379"/>
                    <a:pt x="186" y="2379"/>
                  </a:cubicBezTo>
                  <a:cubicBezTo>
                    <a:pt x="200" y="2397"/>
                    <a:pt x="217" y="2415"/>
                    <a:pt x="235" y="2430"/>
                  </a:cubicBezTo>
                  <a:cubicBezTo>
                    <a:pt x="267" y="2457"/>
                    <a:pt x="303" y="2479"/>
                    <a:pt x="337" y="2494"/>
                  </a:cubicBezTo>
                  <a:cubicBezTo>
                    <a:pt x="354" y="2501"/>
                    <a:pt x="370" y="2507"/>
                    <a:pt x="384" y="2511"/>
                  </a:cubicBezTo>
                  <a:cubicBezTo>
                    <a:pt x="400" y="2515"/>
                    <a:pt x="416" y="2519"/>
                    <a:pt x="428" y="2520"/>
                  </a:cubicBezTo>
                  <a:cubicBezTo>
                    <a:pt x="442" y="2523"/>
                    <a:pt x="461" y="2525"/>
                    <a:pt x="480" y="2526"/>
                  </a:cubicBezTo>
                  <a:cubicBezTo>
                    <a:pt x="496" y="2526"/>
                    <a:pt x="512" y="2527"/>
                    <a:pt x="530" y="2526"/>
                  </a:cubicBezTo>
                  <a:cubicBezTo>
                    <a:pt x="552" y="2525"/>
                    <a:pt x="573" y="2524"/>
                    <a:pt x="594" y="2523"/>
                  </a:cubicBezTo>
                  <a:cubicBezTo>
                    <a:pt x="617" y="2522"/>
                    <a:pt x="641" y="2520"/>
                    <a:pt x="664" y="2519"/>
                  </a:cubicBezTo>
                  <a:cubicBezTo>
                    <a:pt x="676" y="2517"/>
                    <a:pt x="676" y="2517"/>
                    <a:pt x="676" y="2517"/>
                  </a:cubicBezTo>
                  <a:cubicBezTo>
                    <a:pt x="683" y="2516"/>
                    <a:pt x="683" y="2516"/>
                    <a:pt x="683" y="2516"/>
                  </a:cubicBezTo>
                  <a:cubicBezTo>
                    <a:pt x="688" y="2516"/>
                    <a:pt x="693" y="2515"/>
                    <a:pt x="697" y="2513"/>
                  </a:cubicBezTo>
                  <a:cubicBezTo>
                    <a:pt x="697" y="2513"/>
                    <a:pt x="697" y="2513"/>
                    <a:pt x="697" y="2513"/>
                  </a:cubicBezTo>
                  <a:cubicBezTo>
                    <a:pt x="707" y="2508"/>
                    <a:pt x="707" y="2495"/>
                    <a:pt x="707" y="2486"/>
                  </a:cubicBezTo>
                  <a:cubicBezTo>
                    <a:pt x="707" y="2468"/>
                    <a:pt x="708" y="2449"/>
                    <a:pt x="708" y="2431"/>
                  </a:cubicBezTo>
                  <a:cubicBezTo>
                    <a:pt x="709" y="2411"/>
                    <a:pt x="710" y="2391"/>
                    <a:pt x="711" y="2370"/>
                  </a:cubicBezTo>
                  <a:cubicBezTo>
                    <a:pt x="712" y="2332"/>
                    <a:pt x="715" y="2297"/>
                    <a:pt x="717" y="2268"/>
                  </a:cubicBezTo>
                  <a:cubicBezTo>
                    <a:pt x="719" y="2249"/>
                    <a:pt x="721" y="2229"/>
                    <a:pt x="723" y="2210"/>
                  </a:cubicBezTo>
                  <a:cubicBezTo>
                    <a:pt x="728" y="2139"/>
                    <a:pt x="731" y="2033"/>
                    <a:pt x="731" y="1933"/>
                  </a:cubicBezTo>
                  <a:cubicBezTo>
                    <a:pt x="731" y="1923"/>
                    <a:pt x="731" y="1923"/>
                    <a:pt x="731" y="1923"/>
                  </a:cubicBezTo>
                  <a:cubicBezTo>
                    <a:pt x="731" y="1921"/>
                    <a:pt x="731" y="1919"/>
                    <a:pt x="731" y="1917"/>
                  </a:cubicBezTo>
                  <a:cubicBezTo>
                    <a:pt x="731" y="1892"/>
                    <a:pt x="731" y="1866"/>
                    <a:pt x="731" y="1840"/>
                  </a:cubicBezTo>
                  <a:cubicBezTo>
                    <a:pt x="730" y="1818"/>
                    <a:pt x="730" y="1795"/>
                    <a:pt x="729" y="1772"/>
                  </a:cubicBezTo>
                  <a:cubicBezTo>
                    <a:pt x="729" y="1748"/>
                    <a:pt x="731" y="1724"/>
                    <a:pt x="734" y="1702"/>
                  </a:cubicBezTo>
                  <a:cubicBezTo>
                    <a:pt x="738" y="1680"/>
                    <a:pt x="743" y="1660"/>
                    <a:pt x="748" y="1642"/>
                  </a:cubicBezTo>
                  <a:cubicBezTo>
                    <a:pt x="753" y="1623"/>
                    <a:pt x="761" y="1604"/>
                    <a:pt x="767" y="1590"/>
                  </a:cubicBezTo>
                  <a:cubicBezTo>
                    <a:pt x="774" y="1573"/>
                    <a:pt x="785" y="1551"/>
                    <a:pt x="799" y="1531"/>
                  </a:cubicBezTo>
                  <a:cubicBezTo>
                    <a:pt x="821" y="1498"/>
                    <a:pt x="856" y="1461"/>
                    <a:pt x="899" y="1433"/>
                  </a:cubicBezTo>
                  <a:cubicBezTo>
                    <a:pt x="945" y="1401"/>
                    <a:pt x="1002" y="1379"/>
                    <a:pt x="1062" y="1371"/>
                  </a:cubicBezTo>
                  <a:cubicBezTo>
                    <a:pt x="1078" y="1370"/>
                    <a:pt x="1093" y="1368"/>
                    <a:pt x="1109" y="1368"/>
                  </a:cubicBezTo>
                  <a:cubicBezTo>
                    <a:pt x="1124" y="1369"/>
                    <a:pt x="1138" y="1369"/>
                    <a:pt x="1153" y="1370"/>
                  </a:cubicBezTo>
                  <a:cubicBezTo>
                    <a:pt x="1249" y="1377"/>
                    <a:pt x="1334" y="1409"/>
                    <a:pt x="1388" y="1438"/>
                  </a:cubicBezTo>
                  <a:cubicBezTo>
                    <a:pt x="1407" y="1449"/>
                    <a:pt x="1422" y="1458"/>
                    <a:pt x="1442" y="1470"/>
                  </a:cubicBezTo>
                  <a:cubicBezTo>
                    <a:pt x="1506" y="1508"/>
                    <a:pt x="1594" y="1572"/>
                    <a:pt x="1672" y="1638"/>
                  </a:cubicBezTo>
                  <a:cubicBezTo>
                    <a:pt x="1679" y="1645"/>
                    <a:pt x="1679" y="1645"/>
                    <a:pt x="1679" y="1645"/>
                  </a:cubicBezTo>
                  <a:cubicBezTo>
                    <a:pt x="1684" y="1649"/>
                    <a:pt x="1684" y="1649"/>
                    <a:pt x="1684" y="1649"/>
                  </a:cubicBezTo>
                  <a:cubicBezTo>
                    <a:pt x="1704" y="1665"/>
                    <a:pt x="1724" y="1683"/>
                    <a:pt x="1743" y="1700"/>
                  </a:cubicBezTo>
                  <a:cubicBezTo>
                    <a:pt x="1775" y="1727"/>
                    <a:pt x="1808" y="1756"/>
                    <a:pt x="1842" y="1786"/>
                  </a:cubicBezTo>
                  <a:cubicBezTo>
                    <a:pt x="1857" y="1799"/>
                    <a:pt x="1872" y="1811"/>
                    <a:pt x="1885" y="1821"/>
                  </a:cubicBezTo>
                  <a:cubicBezTo>
                    <a:pt x="1898" y="1832"/>
                    <a:pt x="1912" y="1843"/>
                    <a:pt x="1923" y="1851"/>
                  </a:cubicBezTo>
                  <a:cubicBezTo>
                    <a:pt x="1938" y="1863"/>
                    <a:pt x="1955" y="1875"/>
                    <a:pt x="1969" y="1886"/>
                  </a:cubicBezTo>
                  <a:cubicBezTo>
                    <a:pt x="1997" y="1907"/>
                    <a:pt x="2030" y="1935"/>
                    <a:pt x="2064" y="1963"/>
                  </a:cubicBezTo>
                  <a:cubicBezTo>
                    <a:pt x="2100" y="1994"/>
                    <a:pt x="2138" y="2028"/>
                    <a:pt x="2176" y="2062"/>
                  </a:cubicBezTo>
                  <a:cubicBezTo>
                    <a:pt x="2176" y="2062"/>
                    <a:pt x="2176" y="2062"/>
                    <a:pt x="2176" y="2062"/>
                  </a:cubicBezTo>
                  <a:cubicBezTo>
                    <a:pt x="2195" y="2079"/>
                    <a:pt x="2215" y="2097"/>
                    <a:pt x="2235" y="2114"/>
                  </a:cubicBezTo>
                  <a:cubicBezTo>
                    <a:pt x="2299" y="2172"/>
                    <a:pt x="2359" y="2223"/>
                    <a:pt x="2402" y="2258"/>
                  </a:cubicBezTo>
                  <a:cubicBezTo>
                    <a:pt x="2417" y="2270"/>
                    <a:pt x="2429" y="2280"/>
                    <a:pt x="2446" y="2292"/>
                  </a:cubicBezTo>
                  <a:cubicBezTo>
                    <a:pt x="2474" y="2311"/>
                    <a:pt x="2510" y="2332"/>
                    <a:pt x="2552" y="2348"/>
                  </a:cubicBezTo>
                  <a:cubicBezTo>
                    <a:pt x="2594" y="2364"/>
                    <a:pt x="2641" y="2374"/>
                    <a:pt x="2686" y="2374"/>
                  </a:cubicBezTo>
                  <a:cubicBezTo>
                    <a:pt x="2696" y="2374"/>
                    <a:pt x="2696" y="2374"/>
                    <a:pt x="2696" y="2374"/>
                  </a:cubicBezTo>
                  <a:cubicBezTo>
                    <a:pt x="2697" y="2374"/>
                    <a:pt x="2699" y="2374"/>
                    <a:pt x="2701" y="2374"/>
                  </a:cubicBezTo>
                  <a:cubicBezTo>
                    <a:pt x="2725" y="2374"/>
                    <a:pt x="2749" y="2371"/>
                    <a:pt x="2772" y="2366"/>
                  </a:cubicBezTo>
                  <a:cubicBezTo>
                    <a:pt x="2813" y="2357"/>
                    <a:pt x="2852" y="2341"/>
                    <a:pt x="2885" y="2324"/>
                  </a:cubicBezTo>
                  <a:cubicBezTo>
                    <a:pt x="2902" y="2315"/>
                    <a:pt x="2917" y="2306"/>
                    <a:pt x="2930" y="2297"/>
                  </a:cubicBezTo>
                  <a:cubicBezTo>
                    <a:pt x="2943" y="2288"/>
                    <a:pt x="2958" y="2278"/>
                    <a:pt x="2967" y="2270"/>
                  </a:cubicBezTo>
                  <a:cubicBezTo>
                    <a:pt x="2982" y="2258"/>
                    <a:pt x="2997" y="2246"/>
                    <a:pt x="3011" y="2234"/>
                  </a:cubicBezTo>
                  <a:cubicBezTo>
                    <a:pt x="3036" y="2213"/>
                    <a:pt x="3068" y="2186"/>
                    <a:pt x="3100" y="2158"/>
                  </a:cubicBezTo>
                  <a:cubicBezTo>
                    <a:pt x="3138" y="2124"/>
                    <a:pt x="3174" y="2092"/>
                    <a:pt x="3210" y="2060"/>
                  </a:cubicBezTo>
                  <a:cubicBezTo>
                    <a:pt x="3230" y="2043"/>
                    <a:pt x="3250" y="2025"/>
                    <a:pt x="3269" y="2007"/>
                  </a:cubicBezTo>
                  <a:cubicBezTo>
                    <a:pt x="3334" y="1949"/>
                    <a:pt x="3400" y="1896"/>
                    <a:pt x="3445" y="1863"/>
                  </a:cubicBezTo>
                  <a:cubicBezTo>
                    <a:pt x="3461" y="1850"/>
                    <a:pt x="3474" y="1841"/>
                    <a:pt x="3491" y="1828"/>
                  </a:cubicBezTo>
                  <a:cubicBezTo>
                    <a:pt x="3547" y="1784"/>
                    <a:pt x="3625" y="1712"/>
                    <a:pt x="3703" y="1646"/>
                  </a:cubicBezTo>
                  <a:cubicBezTo>
                    <a:pt x="3711" y="1640"/>
                    <a:pt x="3711" y="1640"/>
                    <a:pt x="3711" y="1640"/>
                  </a:cubicBezTo>
                  <a:cubicBezTo>
                    <a:pt x="3712" y="1639"/>
                    <a:pt x="3714" y="1637"/>
                    <a:pt x="3715" y="1636"/>
                  </a:cubicBezTo>
                  <a:cubicBezTo>
                    <a:pt x="3735" y="1619"/>
                    <a:pt x="3756" y="1602"/>
                    <a:pt x="3777" y="1586"/>
                  </a:cubicBezTo>
                  <a:cubicBezTo>
                    <a:pt x="3813" y="1557"/>
                    <a:pt x="3850" y="1530"/>
                    <a:pt x="3885" y="1507"/>
                  </a:cubicBezTo>
                  <a:cubicBezTo>
                    <a:pt x="3902" y="1496"/>
                    <a:pt x="3919" y="1485"/>
                    <a:pt x="3933" y="1476"/>
                  </a:cubicBezTo>
                  <a:cubicBezTo>
                    <a:pt x="3947" y="1468"/>
                    <a:pt x="3963" y="1458"/>
                    <a:pt x="3978" y="1449"/>
                  </a:cubicBezTo>
                  <a:cubicBezTo>
                    <a:pt x="3992" y="1440"/>
                    <a:pt x="4012" y="1430"/>
                    <a:pt x="4033" y="1420"/>
                  </a:cubicBezTo>
                  <a:cubicBezTo>
                    <a:pt x="4067" y="1405"/>
                    <a:pt x="4111" y="1390"/>
                    <a:pt x="4159" y="1380"/>
                  </a:cubicBezTo>
                  <a:cubicBezTo>
                    <a:pt x="4184" y="1375"/>
                    <a:pt x="4211" y="1372"/>
                    <a:pt x="4239" y="1370"/>
                  </a:cubicBezTo>
                  <a:cubicBezTo>
                    <a:pt x="4253" y="1369"/>
                    <a:pt x="4266" y="1368"/>
                    <a:pt x="4281" y="1369"/>
                  </a:cubicBezTo>
                  <a:cubicBezTo>
                    <a:pt x="4296" y="1369"/>
                    <a:pt x="4311" y="1370"/>
                    <a:pt x="4326" y="1372"/>
                  </a:cubicBezTo>
                  <a:cubicBezTo>
                    <a:pt x="4357" y="1376"/>
                    <a:pt x="4388" y="1384"/>
                    <a:pt x="4416" y="1396"/>
                  </a:cubicBezTo>
                  <a:cubicBezTo>
                    <a:pt x="4464" y="1415"/>
                    <a:pt x="4506" y="1443"/>
                    <a:pt x="4538" y="1475"/>
                  </a:cubicBezTo>
                  <a:cubicBezTo>
                    <a:pt x="4570" y="1506"/>
                    <a:pt x="4593" y="1540"/>
                    <a:pt x="4608" y="1569"/>
                  </a:cubicBezTo>
                  <a:cubicBezTo>
                    <a:pt x="4619" y="1590"/>
                    <a:pt x="4625" y="1607"/>
                    <a:pt x="4633" y="1631"/>
                  </a:cubicBezTo>
                  <a:cubicBezTo>
                    <a:pt x="4645" y="1669"/>
                    <a:pt x="4656" y="1717"/>
                    <a:pt x="4655" y="1771"/>
                  </a:cubicBezTo>
                  <a:cubicBezTo>
                    <a:pt x="4654" y="1819"/>
                    <a:pt x="4653" y="1870"/>
                    <a:pt x="4653" y="1920"/>
                  </a:cubicBezTo>
                  <a:cubicBezTo>
                    <a:pt x="4653" y="1930"/>
                    <a:pt x="4653" y="1930"/>
                    <a:pt x="4653" y="1930"/>
                  </a:cubicBezTo>
                  <a:cubicBezTo>
                    <a:pt x="4653" y="1932"/>
                    <a:pt x="4653" y="1934"/>
                    <a:pt x="4653" y="1936"/>
                  </a:cubicBezTo>
                  <a:cubicBezTo>
                    <a:pt x="4653" y="1962"/>
                    <a:pt x="4653" y="1988"/>
                    <a:pt x="4654" y="2014"/>
                  </a:cubicBezTo>
                  <a:cubicBezTo>
                    <a:pt x="4654" y="2059"/>
                    <a:pt x="4656" y="2104"/>
                    <a:pt x="4657" y="2144"/>
                  </a:cubicBezTo>
                  <a:cubicBezTo>
                    <a:pt x="4658" y="2164"/>
                    <a:pt x="4659" y="2183"/>
                    <a:pt x="4661" y="2199"/>
                  </a:cubicBezTo>
                  <a:cubicBezTo>
                    <a:pt x="4662" y="2218"/>
                    <a:pt x="4663" y="2231"/>
                    <a:pt x="4667" y="2242"/>
                  </a:cubicBezTo>
                  <a:cubicBezTo>
                    <a:pt x="4670" y="2255"/>
                    <a:pt x="4676" y="2271"/>
                    <a:pt x="4683" y="2287"/>
                  </a:cubicBezTo>
                  <a:cubicBezTo>
                    <a:pt x="4695" y="2313"/>
                    <a:pt x="4714" y="2343"/>
                    <a:pt x="4740" y="2371"/>
                  </a:cubicBezTo>
                  <a:cubicBezTo>
                    <a:pt x="4767" y="2401"/>
                    <a:pt x="4802" y="2430"/>
                    <a:pt x="4841" y="2453"/>
                  </a:cubicBezTo>
                  <a:cubicBezTo>
                    <a:pt x="4841" y="2453"/>
                    <a:pt x="4841" y="2453"/>
                    <a:pt x="4841" y="2453"/>
                  </a:cubicBezTo>
                  <a:cubicBezTo>
                    <a:pt x="4861" y="2466"/>
                    <a:pt x="4882" y="2477"/>
                    <a:pt x="4903" y="2486"/>
                  </a:cubicBezTo>
                  <a:cubicBezTo>
                    <a:pt x="4939" y="2502"/>
                    <a:pt x="4975" y="2514"/>
                    <a:pt x="5008" y="2521"/>
                  </a:cubicBezTo>
                  <a:cubicBezTo>
                    <a:pt x="5024" y="2524"/>
                    <a:pt x="5040" y="2526"/>
                    <a:pt x="5055" y="2528"/>
                  </a:cubicBezTo>
                  <a:cubicBezTo>
                    <a:pt x="5070" y="2529"/>
                    <a:pt x="5085" y="2530"/>
                    <a:pt x="5101" y="2531"/>
                  </a:cubicBezTo>
                  <a:cubicBezTo>
                    <a:pt x="5121" y="2533"/>
                    <a:pt x="5136" y="2535"/>
                    <a:pt x="5158" y="2536"/>
                  </a:cubicBezTo>
                  <a:cubicBezTo>
                    <a:pt x="5167" y="2536"/>
                    <a:pt x="5176" y="2536"/>
                    <a:pt x="5185" y="2536"/>
                  </a:cubicBezTo>
                  <a:cubicBezTo>
                    <a:pt x="5194" y="2536"/>
                    <a:pt x="5202" y="2536"/>
                    <a:pt x="5210" y="2536"/>
                  </a:cubicBezTo>
                  <a:cubicBezTo>
                    <a:pt x="5216" y="2536"/>
                    <a:pt x="5223" y="2536"/>
                    <a:pt x="5230" y="2535"/>
                  </a:cubicBezTo>
                  <a:cubicBezTo>
                    <a:pt x="5237" y="2534"/>
                    <a:pt x="5245" y="2533"/>
                    <a:pt x="5250" y="2528"/>
                  </a:cubicBezTo>
                  <a:cubicBezTo>
                    <a:pt x="5261" y="2516"/>
                    <a:pt x="5259" y="2499"/>
                    <a:pt x="5259" y="2484"/>
                  </a:cubicBezTo>
                  <a:cubicBezTo>
                    <a:pt x="5260" y="2459"/>
                    <a:pt x="5260" y="2435"/>
                    <a:pt x="5260" y="2411"/>
                  </a:cubicBezTo>
                  <a:cubicBezTo>
                    <a:pt x="5260" y="2401"/>
                    <a:pt x="5260" y="2401"/>
                    <a:pt x="5260" y="2401"/>
                  </a:cubicBezTo>
                  <a:cubicBezTo>
                    <a:pt x="5260" y="2399"/>
                    <a:pt x="5260" y="2398"/>
                    <a:pt x="5260" y="2396"/>
                  </a:cubicBezTo>
                  <a:cubicBezTo>
                    <a:pt x="5260" y="2370"/>
                    <a:pt x="5260" y="2344"/>
                    <a:pt x="5259" y="2318"/>
                  </a:cubicBezTo>
                  <a:cubicBezTo>
                    <a:pt x="5259" y="2273"/>
                    <a:pt x="5257" y="2228"/>
                    <a:pt x="5256" y="2188"/>
                  </a:cubicBezTo>
                  <a:cubicBezTo>
                    <a:pt x="5255" y="2168"/>
                    <a:pt x="5254" y="2149"/>
                    <a:pt x="5252" y="2133"/>
                  </a:cubicBezTo>
                  <a:cubicBezTo>
                    <a:pt x="5251" y="2116"/>
                    <a:pt x="5250" y="2097"/>
                    <a:pt x="5248" y="2084"/>
                  </a:cubicBezTo>
                  <a:cubicBezTo>
                    <a:pt x="5246" y="2068"/>
                    <a:pt x="5244" y="2047"/>
                    <a:pt x="5243" y="2025"/>
                  </a:cubicBezTo>
                  <a:cubicBezTo>
                    <a:pt x="5240" y="1991"/>
                    <a:pt x="5239" y="1948"/>
                    <a:pt x="5237" y="1904"/>
                  </a:cubicBezTo>
                  <a:cubicBezTo>
                    <a:pt x="5236" y="1856"/>
                    <a:pt x="5235" y="1805"/>
                    <a:pt x="5235" y="1754"/>
                  </a:cubicBezTo>
                  <a:cubicBezTo>
                    <a:pt x="5235" y="1754"/>
                    <a:pt x="5235" y="1754"/>
                    <a:pt x="5235" y="1754"/>
                  </a:cubicBezTo>
                  <a:cubicBezTo>
                    <a:pt x="5235" y="1728"/>
                    <a:pt x="5236" y="1701"/>
                    <a:pt x="5236" y="1674"/>
                  </a:cubicBezTo>
                  <a:cubicBezTo>
                    <a:pt x="5237" y="1587"/>
                    <a:pt x="5241" y="1505"/>
                    <a:pt x="5246" y="1447"/>
                  </a:cubicBezTo>
                  <a:cubicBezTo>
                    <a:pt x="5248" y="1428"/>
                    <a:pt x="5250" y="1408"/>
                    <a:pt x="5251" y="1389"/>
                  </a:cubicBezTo>
                  <a:cubicBezTo>
                    <a:pt x="5257" y="1318"/>
                    <a:pt x="5260" y="1212"/>
                    <a:pt x="5260" y="1112"/>
                  </a:cubicBezTo>
                  <a:cubicBezTo>
                    <a:pt x="5260" y="1102"/>
                    <a:pt x="5260" y="1102"/>
                    <a:pt x="5260" y="1102"/>
                  </a:cubicBezTo>
                  <a:cubicBezTo>
                    <a:pt x="5260" y="1100"/>
                    <a:pt x="5260" y="1098"/>
                    <a:pt x="5260" y="1096"/>
                  </a:cubicBezTo>
                  <a:cubicBezTo>
                    <a:pt x="5260" y="1071"/>
                    <a:pt x="5260" y="1045"/>
                    <a:pt x="5259" y="1019"/>
                  </a:cubicBezTo>
                  <a:cubicBezTo>
                    <a:pt x="5259" y="973"/>
                    <a:pt x="5257" y="929"/>
                    <a:pt x="5256" y="889"/>
                  </a:cubicBezTo>
                  <a:close/>
                  <a:moveTo>
                    <a:pt x="5207" y="1112"/>
                  </a:moveTo>
                  <a:cubicBezTo>
                    <a:pt x="5207" y="1138"/>
                    <a:pt x="5208" y="1164"/>
                    <a:pt x="5208" y="1190"/>
                  </a:cubicBezTo>
                  <a:cubicBezTo>
                    <a:pt x="5208" y="1235"/>
                    <a:pt x="5210" y="1280"/>
                    <a:pt x="5212" y="1320"/>
                  </a:cubicBezTo>
                  <a:cubicBezTo>
                    <a:pt x="5213" y="1340"/>
                    <a:pt x="5214" y="1359"/>
                    <a:pt x="5215" y="1375"/>
                  </a:cubicBezTo>
                  <a:cubicBezTo>
                    <a:pt x="5216" y="1393"/>
                    <a:pt x="5218" y="1411"/>
                    <a:pt x="5219" y="1424"/>
                  </a:cubicBezTo>
                  <a:cubicBezTo>
                    <a:pt x="5221" y="1440"/>
                    <a:pt x="5223" y="1462"/>
                    <a:pt x="5224" y="1482"/>
                  </a:cubicBezTo>
                  <a:cubicBezTo>
                    <a:pt x="5227" y="1517"/>
                    <a:pt x="5229" y="1560"/>
                    <a:pt x="5230" y="1604"/>
                  </a:cubicBezTo>
                  <a:cubicBezTo>
                    <a:pt x="5231" y="1652"/>
                    <a:pt x="5232" y="1703"/>
                    <a:pt x="5232" y="1754"/>
                  </a:cubicBezTo>
                  <a:cubicBezTo>
                    <a:pt x="5232" y="1780"/>
                    <a:pt x="5232" y="1807"/>
                    <a:pt x="5232" y="1833"/>
                  </a:cubicBezTo>
                  <a:cubicBezTo>
                    <a:pt x="5230" y="1921"/>
                    <a:pt x="5227" y="2003"/>
                    <a:pt x="5221" y="2061"/>
                  </a:cubicBezTo>
                  <a:cubicBezTo>
                    <a:pt x="5220" y="2080"/>
                    <a:pt x="5218" y="2100"/>
                    <a:pt x="5216" y="2119"/>
                  </a:cubicBezTo>
                  <a:cubicBezTo>
                    <a:pt x="5210" y="2190"/>
                    <a:pt x="5207" y="2296"/>
                    <a:pt x="5207" y="2396"/>
                  </a:cubicBezTo>
                  <a:cubicBezTo>
                    <a:pt x="5207" y="2398"/>
                    <a:pt x="5207" y="2400"/>
                    <a:pt x="5207" y="2401"/>
                  </a:cubicBezTo>
                  <a:cubicBezTo>
                    <a:pt x="5207" y="2405"/>
                    <a:pt x="5207" y="2408"/>
                    <a:pt x="5207" y="2412"/>
                  </a:cubicBezTo>
                  <a:cubicBezTo>
                    <a:pt x="5207" y="2424"/>
                    <a:pt x="5207" y="2438"/>
                    <a:pt x="5207" y="2451"/>
                  </a:cubicBezTo>
                  <a:cubicBezTo>
                    <a:pt x="5207" y="2451"/>
                    <a:pt x="5208" y="2475"/>
                    <a:pt x="5208" y="2479"/>
                  </a:cubicBezTo>
                  <a:cubicBezTo>
                    <a:pt x="5207" y="2484"/>
                    <a:pt x="5208" y="2493"/>
                    <a:pt x="5200" y="2494"/>
                  </a:cubicBezTo>
                  <a:cubicBezTo>
                    <a:pt x="5192" y="2495"/>
                    <a:pt x="5178" y="2497"/>
                    <a:pt x="5169" y="2498"/>
                  </a:cubicBezTo>
                  <a:cubicBezTo>
                    <a:pt x="5155" y="2500"/>
                    <a:pt x="5138" y="2502"/>
                    <a:pt x="5123" y="2504"/>
                  </a:cubicBezTo>
                  <a:cubicBezTo>
                    <a:pt x="5107" y="2507"/>
                    <a:pt x="5086" y="2509"/>
                    <a:pt x="5066" y="2510"/>
                  </a:cubicBezTo>
                  <a:cubicBezTo>
                    <a:pt x="5037" y="2513"/>
                    <a:pt x="5001" y="2511"/>
                    <a:pt x="4963" y="2501"/>
                  </a:cubicBezTo>
                  <a:cubicBezTo>
                    <a:pt x="4923" y="2492"/>
                    <a:pt x="4881" y="2475"/>
                    <a:pt x="4842" y="2451"/>
                  </a:cubicBezTo>
                  <a:cubicBezTo>
                    <a:pt x="4822" y="2439"/>
                    <a:pt x="4803" y="2424"/>
                    <a:pt x="4786" y="2410"/>
                  </a:cubicBezTo>
                  <a:cubicBezTo>
                    <a:pt x="4758" y="2385"/>
                    <a:pt x="4735" y="2356"/>
                    <a:pt x="4720" y="2329"/>
                  </a:cubicBezTo>
                  <a:cubicBezTo>
                    <a:pt x="4705" y="2301"/>
                    <a:pt x="4698" y="2275"/>
                    <a:pt x="4696" y="2255"/>
                  </a:cubicBezTo>
                  <a:cubicBezTo>
                    <a:pt x="4695" y="2239"/>
                    <a:pt x="4696" y="2229"/>
                    <a:pt x="4697" y="2213"/>
                  </a:cubicBezTo>
                  <a:cubicBezTo>
                    <a:pt x="4703" y="2142"/>
                    <a:pt x="4706" y="2036"/>
                    <a:pt x="4706" y="1936"/>
                  </a:cubicBezTo>
                  <a:cubicBezTo>
                    <a:pt x="4706" y="1934"/>
                    <a:pt x="4706" y="1932"/>
                    <a:pt x="4706" y="1930"/>
                  </a:cubicBezTo>
                  <a:cubicBezTo>
                    <a:pt x="4706" y="1927"/>
                    <a:pt x="4706" y="1923"/>
                    <a:pt x="4706" y="1920"/>
                  </a:cubicBezTo>
                  <a:cubicBezTo>
                    <a:pt x="4706" y="1894"/>
                    <a:pt x="4705" y="1868"/>
                    <a:pt x="4705" y="1843"/>
                  </a:cubicBezTo>
                  <a:cubicBezTo>
                    <a:pt x="4705" y="1821"/>
                    <a:pt x="4704" y="1798"/>
                    <a:pt x="4704" y="1775"/>
                  </a:cubicBezTo>
                  <a:cubicBezTo>
                    <a:pt x="4703" y="1748"/>
                    <a:pt x="4699" y="1722"/>
                    <a:pt x="4694" y="1697"/>
                  </a:cubicBezTo>
                  <a:cubicBezTo>
                    <a:pt x="4688" y="1673"/>
                    <a:pt x="4681" y="1651"/>
                    <a:pt x="4673" y="1633"/>
                  </a:cubicBezTo>
                  <a:cubicBezTo>
                    <a:pt x="4664" y="1613"/>
                    <a:pt x="4654" y="1593"/>
                    <a:pt x="4645" y="1580"/>
                  </a:cubicBezTo>
                  <a:cubicBezTo>
                    <a:pt x="4634" y="1563"/>
                    <a:pt x="4619" y="1542"/>
                    <a:pt x="4603" y="1523"/>
                  </a:cubicBezTo>
                  <a:cubicBezTo>
                    <a:pt x="4575" y="1491"/>
                    <a:pt x="4537" y="1456"/>
                    <a:pt x="4493" y="1429"/>
                  </a:cubicBezTo>
                  <a:cubicBezTo>
                    <a:pt x="4445" y="1399"/>
                    <a:pt x="4387" y="1377"/>
                    <a:pt x="4326" y="1369"/>
                  </a:cubicBezTo>
                  <a:cubicBezTo>
                    <a:pt x="4326" y="1369"/>
                    <a:pt x="4326" y="1369"/>
                    <a:pt x="4326" y="1369"/>
                  </a:cubicBezTo>
                  <a:cubicBezTo>
                    <a:pt x="4311" y="1367"/>
                    <a:pt x="4295" y="1366"/>
                    <a:pt x="4279" y="1365"/>
                  </a:cubicBezTo>
                  <a:cubicBezTo>
                    <a:pt x="4263" y="1365"/>
                    <a:pt x="4249" y="1365"/>
                    <a:pt x="4235" y="1366"/>
                  </a:cubicBezTo>
                  <a:cubicBezTo>
                    <a:pt x="4138" y="1370"/>
                    <a:pt x="4049" y="1395"/>
                    <a:pt x="3989" y="1415"/>
                  </a:cubicBezTo>
                  <a:cubicBezTo>
                    <a:pt x="3968" y="1422"/>
                    <a:pt x="3952" y="1427"/>
                    <a:pt x="3929" y="1437"/>
                  </a:cubicBezTo>
                  <a:cubicBezTo>
                    <a:pt x="3857" y="1466"/>
                    <a:pt x="3761" y="1529"/>
                    <a:pt x="3681" y="1596"/>
                  </a:cubicBezTo>
                  <a:cubicBezTo>
                    <a:pt x="3680" y="1597"/>
                    <a:pt x="3678" y="1598"/>
                    <a:pt x="3677" y="1599"/>
                  </a:cubicBezTo>
                  <a:cubicBezTo>
                    <a:pt x="3674" y="1602"/>
                    <a:pt x="3671" y="1604"/>
                    <a:pt x="3669" y="1606"/>
                  </a:cubicBezTo>
                  <a:cubicBezTo>
                    <a:pt x="3648" y="1624"/>
                    <a:pt x="3628" y="1642"/>
                    <a:pt x="3609" y="1659"/>
                  </a:cubicBezTo>
                  <a:cubicBezTo>
                    <a:pt x="3574" y="1691"/>
                    <a:pt x="3542" y="1723"/>
                    <a:pt x="3514" y="1752"/>
                  </a:cubicBezTo>
                  <a:cubicBezTo>
                    <a:pt x="3500" y="1766"/>
                    <a:pt x="3488" y="1779"/>
                    <a:pt x="3476" y="1792"/>
                  </a:cubicBezTo>
                  <a:cubicBezTo>
                    <a:pt x="3465" y="1804"/>
                    <a:pt x="3452" y="1818"/>
                    <a:pt x="3444" y="1828"/>
                  </a:cubicBezTo>
                  <a:cubicBezTo>
                    <a:pt x="3434" y="1840"/>
                    <a:pt x="3419" y="1855"/>
                    <a:pt x="3405" y="1870"/>
                  </a:cubicBezTo>
                  <a:cubicBezTo>
                    <a:pt x="3381" y="1895"/>
                    <a:pt x="3349" y="1925"/>
                    <a:pt x="3318" y="1956"/>
                  </a:cubicBezTo>
                  <a:cubicBezTo>
                    <a:pt x="3283" y="1989"/>
                    <a:pt x="3246" y="2024"/>
                    <a:pt x="3208" y="2058"/>
                  </a:cubicBezTo>
                  <a:cubicBezTo>
                    <a:pt x="3189" y="2075"/>
                    <a:pt x="3169" y="2093"/>
                    <a:pt x="3149" y="2109"/>
                  </a:cubicBezTo>
                  <a:cubicBezTo>
                    <a:pt x="3084" y="2165"/>
                    <a:pt x="3019" y="2211"/>
                    <a:pt x="2971" y="2236"/>
                  </a:cubicBezTo>
                  <a:cubicBezTo>
                    <a:pt x="2954" y="2245"/>
                    <a:pt x="2941" y="2251"/>
                    <a:pt x="2923" y="2259"/>
                  </a:cubicBezTo>
                  <a:cubicBezTo>
                    <a:pt x="2893" y="2273"/>
                    <a:pt x="2858" y="2289"/>
                    <a:pt x="2819" y="2301"/>
                  </a:cubicBezTo>
                  <a:cubicBezTo>
                    <a:pt x="2780" y="2313"/>
                    <a:pt x="2739" y="2321"/>
                    <a:pt x="2700" y="2321"/>
                  </a:cubicBezTo>
                  <a:cubicBezTo>
                    <a:pt x="2695" y="2321"/>
                    <a:pt x="2695" y="2321"/>
                    <a:pt x="2695" y="2321"/>
                  </a:cubicBezTo>
                  <a:cubicBezTo>
                    <a:pt x="2692" y="2321"/>
                    <a:pt x="2690" y="2321"/>
                    <a:pt x="2687" y="2321"/>
                  </a:cubicBezTo>
                  <a:cubicBezTo>
                    <a:pt x="2666" y="2321"/>
                    <a:pt x="2645" y="2319"/>
                    <a:pt x="2625" y="2316"/>
                  </a:cubicBezTo>
                  <a:cubicBezTo>
                    <a:pt x="2589" y="2309"/>
                    <a:pt x="2553" y="2298"/>
                    <a:pt x="2520" y="2285"/>
                  </a:cubicBezTo>
                  <a:cubicBezTo>
                    <a:pt x="2504" y="2279"/>
                    <a:pt x="2489" y="2272"/>
                    <a:pt x="2475" y="2266"/>
                  </a:cubicBezTo>
                  <a:cubicBezTo>
                    <a:pt x="2463" y="2260"/>
                    <a:pt x="2448" y="2253"/>
                    <a:pt x="2435" y="2247"/>
                  </a:cubicBezTo>
                  <a:cubicBezTo>
                    <a:pt x="2421" y="2241"/>
                    <a:pt x="2404" y="2231"/>
                    <a:pt x="2387" y="2221"/>
                  </a:cubicBezTo>
                  <a:cubicBezTo>
                    <a:pt x="2358" y="2204"/>
                    <a:pt x="2325" y="2180"/>
                    <a:pt x="2291" y="2154"/>
                  </a:cubicBezTo>
                  <a:cubicBezTo>
                    <a:pt x="2254" y="2126"/>
                    <a:pt x="2216" y="2094"/>
                    <a:pt x="2178" y="2060"/>
                  </a:cubicBezTo>
                  <a:cubicBezTo>
                    <a:pt x="2178" y="2060"/>
                    <a:pt x="2178" y="2060"/>
                    <a:pt x="2178" y="2060"/>
                  </a:cubicBezTo>
                  <a:cubicBezTo>
                    <a:pt x="2159" y="2042"/>
                    <a:pt x="2139" y="2024"/>
                    <a:pt x="2120" y="2006"/>
                  </a:cubicBezTo>
                  <a:cubicBezTo>
                    <a:pt x="2088" y="1976"/>
                    <a:pt x="2057" y="1947"/>
                    <a:pt x="2029" y="1920"/>
                  </a:cubicBezTo>
                  <a:cubicBezTo>
                    <a:pt x="2002" y="1892"/>
                    <a:pt x="1976" y="1867"/>
                    <a:pt x="1958" y="1847"/>
                  </a:cubicBezTo>
                  <a:cubicBezTo>
                    <a:pt x="1945" y="1832"/>
                    <a:pt x="1932" y="1818"/>
                    <a:pt x="1919" y="1804"/>
                  </a:cubicBezTo>
                  <a:cubicBezTo>
                    <a:pt x="1872" y="1752"/>
                    <a:pt x="1797" y="1675"/>
                    <a:pt x="1718" y="1608"/>
                  </a:cubicBezTo>
                  <a:cubicBezTo>
                    <a:pt x="1713" y="1604"/>
                    <a:pt x="1713" y="1604"/>
                    <a:pt x="1713" y="1604"/>
                  </a:cubicBezTo>
                  <a:cubicBezTo>
                    <a:pt x="1705" y="1597"/>
                    <a:pt x="1705" y="1597"/>
                    <a:pt x="1705" y="1597"/>
                  </a:cubicBezTo>
                  <a:cubicBezTo>
                    <a:pt x="1685" y="1580"/>
                    <a:pt x="1663" y="1563"/>
                    <a:pt x="1642" y="1547"/>
                  </a:cubicBezTo>
                  <a:cubicBezTo>
                    <a:pt x="1603" y="1519"/>
                    <a:pt x="1563" y="1492"/>
                    <a:pt x="1525" y="1471"/>
                  </a:cubicBezTo>
                  <a:cubicBezTo>
                    <a:pt x="1506" y="1461"/>
                    <a:pt x="1488" y="1452"/>
                    <a:pt x="1472" y="1444"/>
                  </a:cubicBezTo>
                  <a:cubicBezTo>
                    <a:pt x="1454" y="1437"/>
                    <a:pt x="1436" y="1429"/>
                    <a:pt x="1422" y="1424"/>
                  </a:cubicBezTo>
                  <a:cubicBezTo>
                    <a:pt x="1405" y="1419"/>
                    <a:pt x="1383" y="1411"/>
                    <a:pt x="1361" y="1404"/>
                  </a:cubicBezTo>
                  <a:cubicBezTo>
                    <a:pt x="1324" y="1393"/>
                    <a:pt x="1278" y="1381"/>
                    <a:pt x="1230" y="1374"/>
                  </a:cubicBezTo>
                  <a:cubicBezTo>
                    <a:pt x="1204" y="1370"/>
                    <a:pt x="1177" y="1367"/>
                    <a:pt x="1149" y="1366"/>
                  </a:cubicBezTo>
                  <a:cubicBezTo>
                    <a:pt x="1135" y="1365"/>
                    <a:pt x="1122" y="1365"/>
                    <a:pt x="1107" y="1365"/>
                  </a:cubicBezTo>
                  <a:cubicBezTo>
                    <a:pt x="1092" y="1365"/>
                    <a:pt x="1077" y="1366"/>
                    <a:pt x="1062" y="1368"/>
                  </a:cubicBezTo>
                  <a:cubicBezTo>
                    <a:pt x="1031" y="1372"/>
                    <a:pt x="999" y="1380"/>
                    <a:pt x="970" y="1391"/>
                  </a:cubicBezTo>
                  <a:cubicBezTo>
                    <a:pt x="921" y="1408"/>
                    <a:pt x="877" y="1435"/>
                    <a:pt x="841" y="1464"/>
                  </a:cubicBezTo>
                  <a:cubicBezTo>
                    <a:pt x="806" y="1493"/>
                    <a:pt x="778" y="1525"/>
                    <a:pt x="757" y="1553"/>
                  </a:cubicBezTo>
                  <a:cubicBezTo>
                    <a:pt x="743" y="1573"/>
                    <a:pt x="732" y="1589"/>
                    <a:pt x="720" y="1614"/>
                  </a:cubicBezTo>
                  <a:cubicBezTo>
                    <a:pt x="700" y="1653"/>
                    <a:pt x="684" y="1706"/>
                    <a:pt x="681" y="1766"/>
                  </a:cubicBezTo>
                  <a:cubicBezTo>
                    <a:pt x="680" y="1792"/>
                    <a:pt x="680" y="1817"/>
                    <a:pt x="679" y="1842"/>
                  </a:cubicBezTo>
                  <a:cubicBezTo>
                    <a:pt x="679" y="1868"/>
                    <a:pt x="679" y="1893"/>
                    <a:pt x="679" y="1918"/>
                  </a:cubicBezTo>
                  <a:cubicBezTo>
                    <a:pt x="679" y="1919"/>
                    <a:pt x="679" y="1921"/>
                    <a:pt x="679" y="1923"/>
                  </a:cubicBezTo>
                  <a:cubicBezTo>
                    <a:pt x="679" y="1926"/>
                    <a:pt x="679" y="1930"/>
                    <a:pt x="679" y="1933"/>
                  </a:cubicBezTo>
                  <a:cubicBezTo>
                    <a:pt x="679" y="1959"/>
                    <a:pt x="679" y="1985"/>
                    <a:pt x="679" y="2011"/>
                  </a:cubicBezTo>
                  <a:cubicBezTo>
                    <a:pt x="680" y="2056"/>
                    <a:pt x="681" y="2101"/>
                    <a:pt x="683" y="2141"/>
                  </a:cubicBezTo>
                  <a:cubicBezTo>
                    <a:pt x="684" y="2161"/>
                    <a:pt x="685" y="2179"/>
                    <a:pt x="686" y="2196"/>
                  </a:cubicBezTo>
                  <a:cubicBezTo>
                    <a:pt x="687" y="2213"/>
                    <a:pt x="689" y="2232"/>
                    <a:pt x="690" y="2245"/>
                  </a:cubicBezTo>
                  <a:cubicBezTo>
                    <a:pt x="692" y="2261"/>
                    <a:pt x="694" y="2282"/>
                    <a:pt x="696" y="2303"/>
                  </a:cubicBezTo>
                  <a:cubicBezTo>
                    <a:pt x="698" y="2338"/>
                    <a:pt x="700" y="2381"/>
                    <a:pt x="701" y="2425"/>
                  </a:cubicBezTo>
                  <a:cubicBezTo>
                    <a:pt x="702" y="2437"/>
                    <a:pt x="702" y="2449"/>
                    <a:pt x="702" y="2461"/>
                  </a:cubicBezTo>
                  <a:cubicBezTo>
                    <a:pt x="703" y="2480"/>
                    <a:pt x="703" y="2480"/>
                    <a:pt x="703" y="2480"/>
                  </a:cubicBezTo>
                  <a:cubicBezTo>
                    <a:pt x="703" y="2487"/>
                    <a:pt x="703" y="2487"/>
                    <a:pt x="703" y="2487"/>
                  </a:cubicBezTo>
                  <a:cubicBezTo>
                    <a:pt x="703" y="2495"/>
                    <a:pt x="704" y="2506"/>
                    <a:pt x="695" y="2510"/>
                  </a:cubicBezTo>
                  <a:cubicBezTo>
                    <a:pt x="695" y="2510"/>
                    <a:pt x="695" y="2510"/>
                    <a:pt x="695" y="2510"/>
                  </a:cubicBezTo>
                  <a:cubicBezTo>
                    <a:pt x="691" y="2512"/>
                    <a:pt x="686" y="2513"/>
                    <a:pt x="681" y="2513"/>
                  </a:cubicBezTo>
                  <a:cubicBezTo>
                    <a:pt x="674" y="2514"/>
                    <a:pt x="674" y="2514"/>
                    <a:pt x="674" y="2514"/>
                  </a:cubicBezTo>
                  <a:cubicBezTo>
                    <a:pt x="661" y="2515"/>
                    <a:pt x="661" y="2515"/>
                    <a:pt x="661" y="2515"/>
                  </a:cubicBezTo>
                  <a:cubicBezTo>
                    <a:pt x="620" y="2516"/>
                    <a:pt x="578" y="2516"/>
                    <a:pt x="540" y="2514"/>
                  </a:cubicBezTo>
                  <a:cubicBezTo>
                    <a:pt x="526" y="2513"/>
                    <a:pt x="526" y="2513"/>
                    <a:pt x="526" y="2513"/>
                  </a:cubicBezTo>
                  <a:cubicBezTo>
                    <a:pt x="514" y="2512"/>
                    <a:pt x="514" y="2512"/>
                    <a:pt x="514" y="2512"/>
                  </a:cubicBezTo>
                  <a:cubicBezTo>
                    <a:pt x="507" y="2511"/>
                    <a:pt x="499" y="2510"/>
                    <a:pt x="492" y="2509"/>
                  </a:cubicBezTo>
                  <a:cubicBezTo>
                    <a:pt x="478" y="2506"/>
                    <a:pt x="465" y="2503"/>
                    <a:pt x="454" y="2499"/>
                  </a:cubicBezTo>
                  <a:cubicBezTo>
                    <a:pt x="437" y="2494"/>
                    <a:pt x="425" y="2488"/>
                    <a:pt x="408" y="2481"/>
                  </a:cubicBezTo>
                  <a:cubicBezTo>
                    <a:pt x="381" y="2468"/>
                    <a:pt x="347" y="2451"/>
                    <a:pt x="315" y="2428"/>
                  </a:cubicBezTo>
                  <a:cubicBezTo>
                    <a:pt x="282" y="2405"/>
                    <a:pt x="251" y="2377"/>
                    <a:pt x="227" y="2346"/>
                  </a:cubicBezTo>
                  <a:cubicBezTo>
                    <a:pt x="225" y="2343"/>
                    <a:pt x="225" y="2343"/>
                    <a:pt x="225" y="2343"/>
                  </a:cubicBezTo>
                  <a:cubicBezTo>
                    <a:pt x="220" y="2337"/>
                    <a:pt x="220" y="2337"/>
                    <a:pt x="220" y="2337"/>
                  </a:cubicBezTo>
                  <a:cubicBezTo>
                    <a:pt x="208" y="2320"/>
                    <a:pt x="199" y="2304"/>
                    <a:pt x="191" y="2287"/>
                  </a:cubicBezTo>
                  <a:cubicBezTo>
                    <a:pt x="185" y="2272"/>
                    <a:pt x="180" y="2257"/>
                    <a:pt x="177" y="2243"/>
                  </a:cubicBezTo>
                  <a:cubicBezTo>
                    <a:pt x="176" y="2235"/>
                    <a:pt x="175" y="2228"/>
                    <a:pt x="174" y="2221"/>
                  </a:cubicBezTo>
                  <a:cubicBezTo>
                    <a:pt x="173" y="2216"/>
                    <a:pt x="173" y="2203"/>
                    <a:pt x="173" y="2193"/>
                  </a:cubicBezTo>
                  <a:cubicBezTo>
                    <a:pt x="172" y="2173"/>
                    <a:pt x="171" y="2155"/>
                    <a:pt x="169" y="2138"/>
                  </a:cubicBezTo>
                  <a:cubicBezTo>
                    <a:pt x="168" y="2121"/>
                    <a:pt x="167" y="2103"/>
                    <a:pt x="165" y="2089"/>
                  </a:cubicBezTo>
                  <a:cubicBezTo>
                    <a:pt x="163" y="2073"/>
                    <a:pt x="161" y="2052"/>
                    <a:pt x="160" y="2031"/>
                  </a:cubicBezTo>
                  <a:cubicBezTo>
                    <a:pt x="157" y="1996"/>
                    <a:pt x="156" y="1953"/>
                    <a:pt x="154" y="1909"/>
                  </a:cubicBezTo>
                  <a:cubicBezTo>
                    <a:pt x="153" y="1862"/>
                    <a:pt x="152" y="1811"/>
                    <a:pt x="152" y="1759"/>
                  </a:cubicBezTo>
                  <a:cubicBezTo>
                    <a:pt x="152" y="1759"/>
                    <a:pt x="152" y="1759"/>
                    <a:pt x="152" y="1759"/>
                  </a:cubicBezTo>
                  <a:cubicBezTo>
                    <a:pt x="152" y="1733"/>
                    <a:pt x="153" y="1706"/>
                    <a:pt x="153" y="1680"/>
                  </a:cubicBezTo>
                  <a:cubicBezTo>
                    <a:pt x="154" y="1592"/>
                    <a:pt x="158" y="1510"/>
                    <a:pt x="163" y="1453"/>
                  </a:cubicBezTo>
                  <a:cubicBezTo>
                    <a:pt x="165" y="1433"/>
                    <a:pt x="167" y="1413"/>
                    <a:pt x="168" y="1394"/>
                  </a:cubicBezTo>
                  <a:cubicBezTo>
                    <a:pt x="174" y="1323"/>
                    <a:pt x="177" y="1218"/>
                    <a:pt x="177" y="1118"/>
                  </a:cubicBezTo>
                  <a:cubicBezTo>
                    <a:pt x="177" y="1112"/>
                    <a:pt x="177" y="1112"/>
                    <a:pt x="177" y="1112"/>
                  </a:cubicBezTo>
                  <a:cubicBezTo>
                    <a:pt x="177" y="1109"/>
                    <a:pt x="177" y="1105"/>
                    <a:pt x="177" y="1102"/>
                  </a:cubicBezTo>
                  <a:cubicBezTo>
                    <a:pt x="177" y="1076"/>
                    <a:pt x="177" y="1050"/>
                    <a:pt x="176" y="1025"/>
                  </a:cubicBezTo>
                  <a:cubicBezTo>
                    <a:pt x="176" y="979"/>
                    <a:pt x="174" y="934"/>
                    <a:pt x="173" y="894"/>
                  </a:cubicBezTo>
                  <a:cubicBezTo>
                    <a:pt x="172" y="874"/>
                    <a:pt x="171" y="856"/>
                    <a:pt x="169" y="839"/>
                  </a:cubicBezTo>
                  <a:cubicBezTo>
                    <a:pt x="168" y="822"/>
                    <a:pt x="167" y="803"/>
                    <a:pt x="165" y="790"/>
                  </a:cubicBezTo>
                  <a:cubicBezTo>
                    <a:pt x="163" y="774"/>
                    <a:pt x="161" y="753"/>
                    <a:pt x="160" y="732"/>
                  </a:cubicBezTo>
                  <a:cubicBezTo>
                    <a:pt x="157" y="697"/>
                    <a:pt x="156" y="654"/>
                    <a:pt x="154" y="610"/>
                  </a:cubicBezTo>
                  <a:cubicBezTo>
                    <a:pt x="153" y="562"/>
                    <a:pt x="152" y="511"/>
                    <a:pt x="152" y="460"/>
                  </a:cubicBezTo>
                  <a:cubicBezTo>
                    <a:pt x="152" y="460"/>
                    <a:pt x="152" y="460"/>
                    <a:pt x="152" y="460"/>
                  </a:cubicBezTo>
                  <a:cubicBezTo>
                    <a:pt x="152" y="434"/>
                    <a:pt x="153" y="368"/>
                    <a:pt x="153" y="341"/>
                  </a:cubicBezTo>
                  <a:cubicBezTo>
                    <a:pt x="153" y="299"/>
                    <a:pt x="158" y="180"/>
                    <a:pt x="159" y="169"/>
                  </a:cubicBezTo>
                  <a:cubicBezTo>
                    <a:pt x="159" y="157"/>
                    <a:pt x="195" y="158"/>
                    <a:pt x="205" y="158"/>
                  </a:cubicBezTo>
                  <a:cubicBezTo>
                    <a:pt x="228" y="157"/>
                    <a:pt x="645" y="158"/>
                    <a:pt x="660" y="158"/>
                  </a:cubicBezTo>
                  <a:cubicBezTo>
                    <a:pt x="796" y="158"/>
                    <a:pt x="848" y="198"/>
                    <a:pt x="883" y="217"/>
                  </a:cubicBezTo>
                  <a:cubicBezTo>
                    <a:pt x="922" y="237"/>
                    <a:pt x="960" y="261"/>
                    <a:pt x="995" y="291"/>
                  </a:cubicBezTo>
                  <a:cubicBezTo>
                    <a:pt x="1004" y="299"/>
                    <a:pt x="1013" y="306"/>
                    <a:pt x="1022" y="315"/>
                  </a:cubicBezTo>
                  <a:cubicBezTo>
                    <a:pt x="1032" y="324"/>
                    <a:pt x="1041" y="334"/>
                    <a:pt x="1051" y="343"/>
                  </a:cubicBezTo>
                  <a:cubicBezTo>
                    <a:pt x="1114" y="403"/>
                    <a:pt x="1171" y="462"/>
                    <a:pt x="1209" y="505"/>
                  </a:cubicBezTo>
                  <a:cubicBezTo>
                    <a:pt x="1222" y="520"/>
                    <a:pt x="1235" y="535"/>
                    <a:pt x="1248" y="549"/>
                  </a:cubicBezTo>
                  <a:cubicBezTo>
                    <a:pt x="1296" y="602"/>
                    <a:pt x="1371" y="676"/>
                    <a:pt x="1443" y="745"/>
                  </a:cubicBezTo>
                  <a:cubicBezTo>
                    <a:pt x="1447" y="748"/>
                    <a:pt x="1447" y="748"/>
                    <a:pt x="1447" y="748"/>
                  </a:cubicBezTo>
                  <a:cubicBezTo>
                    <a:pt x="1455" y="755"/>
                    <a:pt x="1455" y="755"/>
                    <a:pt x="1455" y="755"/>
                  </a:cubicBezTo>
                  <a:cubicBezTo>
                    <a:pt x="1473" y="773"/>
                    <a:pt x="1493" y="790"/>
                    <a:pt x="1511" y="808"/>
                  </a:cubicBezTo>
                  <a:cubicBezTo>
                    <a:pt x="1543" y="836"/>
                    <a:pt x="1576" y="865"/>
                    <a:pt x="1609" y="895"/>
                  </a:cubicBezTo>
                  <a:cubicBezTo>
                    <a:pt x="1625" y="909"/>
                    <a:pt x="1640" y="922"/>
                    <a:pt x="1655" y="932"/>
                  </a:cubicBezTo>
                  <a:cubicBezTo>
                    <a:pt x="1669" y="943"/>
                    <a:pt x="1685" y="954"/>
                    <a:pt x="1697" y="962"/>
                  </a:cubicBezTo>
                  <a:cubicBezTo>
                    <a:pt x="1714" y="973"/>
                    <a:pt x="1732" y="985"/>
                    <a:pt x="1748" y="996"/>
                  </a:cubicBezTo>
                  <a:cubicBezTo>
                    <a:pt x="1779" y="1016"/>
                    <a:pt x="1817" y="1040"/>
                    <a:pt x="1857" y="1063"/>
                  </a:cubicBezTo>
                  <a:cubicBezTo>
                    <a:pt x="1900" y="1088"/>
                    <a:pt x="1947" y="1114"/>
                    <a:pt x="1995" y="1137"/>
                  </a:cubicBezTo>
                  <a:cubicBezTo>
                    <a:pt x="2020" y="1149"/>
                    <a:pt x="2045" y="1161"/>
                    <a:pt x="2070" y="1172"/>
                  </a:cubicBezTo>
                  <a:cubicBezTo>
                    <a:pt x="2154" y="1208"/>
                    <a:pt x="2235" y="1237"/>
                    <a:pt x="2293" y="1256"/>
                  </a:cubicBezTo>
                  <a:cubicBezTo>
                    <a:pt x="2313" y="1263"/>
                    <a:pt x="2329" y="1269"/>
                    <a:pt x="2351" y="1275"/>
                  </a:cubicBezTo>
                  <a:cubicBezTo>
                    <a:pt x="2423" y="1297"/>
                    <a:pt x="2534" y="1315"/>
                    <a:pt x="2639" y="1318"/>
                  </a:cubicBezTo>
                  <a:cubicBezTo>
                    <a:pt x="2645" y="1318"/>
                    <a:pt x="2645" y="1318"/>
                    <a:pt x="2645" y="1318"/>
                  </a:cubicBezTo>
                  <a:cubicBezTo>
                    <a:pt x="2649" y="1318"/>
                    <a:pt x="2652" y="1318"/>
                    <a:pt x="2656" y="1318"/>
                  </a:cubicBezTo>
                  <a:cubicBezTo>
                    <a:pt x="2683" y="1319"/>
                    <a:pt x="2711" y="1319"/>
                    <a:pt x="2737" y="1318"/>
                  </a:cubicBezTo>
                  <a:cubicBezTo>
                    <a:pt x="2785" y="1316"/>
                    <a:pt x="2832" y="1311"/>
                    <a:pt x="2874" y="1305"/>
                  </a:cubicBezTo>
                  <a:cubicBezTo>
                    <a:pt x="2895" y="1301"/>
                    <a:pt x="2914" y="1298"/>
                    <a:pt x="2931" y="1294"/>
                  </a:cubicBezTo>
                  <a:cubicBezTo>
                    <a:pt x="2949" y="1291"/>
                    <a:pt x="2968" y="1286"/>
                    <a:pt x="2981" y="1282"/>
                  </a:cubicBezTo>
                  <a:cubicBezTo>
                    <a:pt x="3001" y="1276"/>
                    <a:pt x="3021" y="1271"/>
                    <a:pt x="3040" y="1265"/>
                  </a:cubicBezTo>
                  <a:cubicBezTo>
                    <a:pt x="3075" y="1255"/>
                    <a:pt x="3118" y="1243"/>
                    <a:pt x="3162" y="1228"/>
                  </a:cubicBezTo>
                  <a:cubicBezTo>
                    <a:pt x="3209" y="1213"/>
                    <a:pt x="3259" y="1194"/>
                    <a:pt x="3309" y="1174"/>
                  </a:cubicBezTo>
                  <a:cubicBezTo>
                    <a:pt x="3309" y="1174"/>
                    <a:pt x="3309" y="1174"/>
                    <a:pt x="3309" y="1174"/>
                  </a:cubicBezTo>
                  <a:cubicBezTo>
                    <a:pt x="3334" y="1163"/>
                    <a:pt x="3360" y="1152"/>
                    <a:pt x="3384" y="1140"/>
                  </a:cubicBezTo>
                  <a:cubicBezTo>
                    <a:pt x="3468" y="1102"/>
                    <a:pt x="3542" y="1060"/>
                    <a:pt x="3595" y="1029"/>
                  </a:cubicBezTo>
                  <a:cubicBezTo>
                    <a:pt x="3614" y="1018"/>
                    <a:pt x="3629" y="1010"/>
                    <a:pt x="3648" y="998"/>
                  </a:cubicBezTo>
                  <a:cubicBezTo>
                    <a:pt x="3680" y="977"/>
                    <a:pt x="3718" y="949"/>
                    <a:pt x="3756" y="916"/>
                  </a:cubicBezTo>
                  <a:cubicBezTo>
                    <a:pt x="3794" y="883"/>
                    <a:pt x="3831" y="849"/>
                    <a:pt x="3867" y="815"/>
                  </a:cubicBezTo>
                  <a:cubicBezTo>
                    <a:pt x="3869" y="814"/>
                    <a:pt x="3870" y="812"/>
                    <a:pt x="3871" y="811"/>
                  </a:cubicBezTo>
                  <a:cubicBezTo>
                    <a:pt x="3879" y="804"/>
                    <a:pt x="3879" y="804"/>
                    <a:pt x="3879" y="804"/>
                  </a:cubicBezTo>
                  <a:cubicBezTo>
                    <a:pt x="3897" y="786"/>
                    <a:pt x="3916" y="768"/>
                    <a:pt x="3935" y="751"/>
                  </a:cubicBezTo>
                  <a:cubicBezTo>
                    <a:pt x="3968" y="719"/>
                    <a:pt x="3999" y="687"/>
                    <a:pt x="4027" y="658"/>
                  </a:cubicBezTo>
                  <a:cubicBezTo>
                    <a:pt x="4041" y="644"/>
                    <a:pt x="4054" y="631"/>
                    <a:pt x="4065" y="619"/>
                  </a:cubicBezTo>
                  <a:cubicBezTo>
                    <a:pt x="4077" y="606"/>
                    <a:pt x="4089" y="592"/>
                    <a:pt x="4098" y="582"/>
                  </a:cubicBezTo>
                  <a:cubicBezTo>
                    <a:pt x="4108" y="570"/>
                    <a:pt x="4122" y="554"/>
                    <a:pt x="4137" y="538"/>
                  </a:cubicBezTo>
                  <a:cubicBezTo>
                    <a:pt x="4160" y="512"/>
                    <a:pt x="4190" y="482"/>
                    <a:pt x="4222" y="451"/>
                  </a:cubicBezTo>
                  <a:cubicBezTo>
                    <a:pt x="4255" y="417"/>
                    <a:pt x="4292" y="382"/>
                    <a:pt x="4329" y="346"/>
                  </a:cubicBezTo>
                  <a:cubicBezTo>
                    <a:pt x="4348" y="329"/>
                    <a:pt x="4368" y="310"/>
                    <a:pt x="4388" y="292"/>
                  </a:cubicBezTo>
                  <a:cubicBezTo>
                    <a:pt x="4415" y="267"/>
                    <a:pt x="4443" y="243"/>
                    <a:pt x="4468" y="220"/>
                  </a:cubicBezTo>
                  <a:cubicBezTo>
                    <a:pt x="4481" y="210"/>
                    <a:pt x="4514" y="180"/>
                    <a:pt x="4523" y="174"/>
                  </a:cubicBezTo>
                  <a:cubicBezTo>
                    <a:pt x="4532" y="168"/>
                    <a:pt x="4539" y="165"/>
                    <a:pt x="4548" y="166"/>
                  </a:cubicBezTo>
                  <a:cubicBezTo>
                    <a:pt x="4557" y="167"/>
                    <a:pt x="4564" y="167"/>
                    <a:pt x="4571" y="168"/>
                  </a:cubicBezTo>
                  <a:cubicBezTo>
                    <a:pt x="4642" y="174"/>
                    <a:pt x="4748" y="177"/>
                    <a:pt x="4848" y="177"/>
                  </a:cubicBezTo>
                  <a:cubicBezTo>
                    <a:pt x="4853" y="177"/>
                    <a:pt x="4853" y="177"/>
                    <a:pt x="4853" y="177"/>
                  </a:cubicBezTo>
                  <a:cubicBezTo>
                    <a:pt x="4864" y="177"/>
                    <a:pt x="4864" y="177"/>
                    <a:pt x="4864" y="177"/>
                  </a:cubicBezTo>
                  <a:cubicBezTo>
                    <a:pt x="4888" y="176"/>
                    <a:pt x="4913" y="176"/>
                    <a:pt x="4938" y="176"/>
                  </a:cubicBezTo>
                  <a:cubicBezTo>
                    <a:pt x="4973" y="177"/>
                    <a:pt x="5007" y="183"/>
                    <a:pt x="5036" y="193"/>
                  </a:cubicBezTo>
                  <a:cubicBezTo>
                    <a:pt x="5050" y="198"/>
                    <a:pt x="5064" y="204"/>
                    <a:pt x="5075" y="209"/>
                  </a:cubicBezTo>
                  <a:cubicBezTo>
                    <a:pt x="5088" y="215"/>
                    <a:pt x="5100" y="222"/>
                    <a:pt x="5109" y="228"/>
                  </a:cubicBezTo>
                  <a:cubicBezTo>
                    <a:pt x="5120" y="234"/>
                    <a:pt x="5134" y="244"/>
                    <a:pt x="5147" y="256"/>
                  </a:cubicBezTo>
                  <a:cubicBezTo>
                    <a:pt x="5168" y="274"/>
                    <a:pt x="5190" y="303"/>
                    <a:pt x="5205" y="335"/>
                  </a:cubicBezTo>
                  <a:cubicBezTo>
                    <a:pt x="5222" y="371"/>
                    <a:pt x="5232" y="412"/>
                    <a:pt x="5232" y="455"/>
                  </a:cubicBezTo>
                  <a:cubicBezTo>
                    <a:pt x="5232" y="481"/>
                    <a:pt x="5232" y="508"/>
                    <a:pt x="5232" y="534"/>
                  </a:cubicBezTo>
                  <a:cubicBezTo>
                    <a:pt x="5230" y="622"/>
                    <a:pt x="5227" y="704"/>
                    <a:pt x="5221" y="762"/>
                  </a:cubicBezTo>
                  <a:cubicBezTo>
                    <a:pt x="5220" y="781"/>
                    <a:pt x="5218" y="801"/>
                    <a:pt x="5216" y="820"/>
                  </a:cubicBezTo>
                  <a:cubicBezTo>
                    <a:pt x="5210" y="891"/>
                    <a:pt x="5207" y="997"/>
                    <a:pt x="5207" y="1097"/>
                  </a:cubicBezTo>
                  <a:cubicBezTo>
                    <a:pt x="5207" y="1099"/>
                    <a:pt x="5207" y="1100"/>
                    <a:pt x="5207" y="1102"/>
                  </a:cubicBezTo>
                  <a:cubicBezTo>
                    <a:pt x="5207" y="1106"/>
                    <a:pt x="5207" y="1109"/>
                    <a:pt x="5207" y="111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221E7F94-259E-46BF-812C-047303A1CD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4738" y="2455863"/>
              <a:ext cx="2447925" cy="1181100"/>
            </a:xfrm>
            <a:custGeom>
              <a:avLst/>
              <a:gdLst>
                <a:gd name="T0" fmla="*/ 5208 w 5260"/>
                <a:gd name="T1" fmla="*/ 1128 h 2536"/>
                <a:gd name="T2" fmla="*/ 5232 w 5260"/>
                <a:gd name="T3" fmla="*/ 1692 h 2536"/>
                <a:gd name="T4" fmla="*/ 5208 w 5260"/>
                <a:gd name="T5" fmla="*/ 2424 h 2536"/>
                <a:gd name="T6" fmla="*/ 5004 w 5260"/>
                <a:gd name="T7" fmla="*/ 2510 h 2536"/>
                <a:gd name="T8" fmla="*/ 4573 w 5260"/>
                <a:gd name="T9" fmla="*/ 2151 h 2536"/>
                <a:gd name="T10" fmla="*/ 4552 w 5260"/>
                <a:gd name="T11" fmla="*/ 1591 h 2536"/>
                <a:gd name="T12" fmla="*/ 3951 w 5260"/>
                <a:gd name="T13" fmla="*/ 1410 h 2536"/>
                <a:gd name="T14" fmla="*/ 3456 w 5260"/>
                <a:gd name="T15" fmla="*/ 1775 h 2536"/>
                <a:gd name="T16" fmla="*/ 2943 w 5260"/>
                <a:gd name="T17" fmla="*/ 2225 h 2536"/>
                <a:gd name="T18" fmla="*/ 2432 w 5260"/>
                <a:gd name="T19" fmla="*/ 2279 h 2536"/>
                <a:gd name="T20" fmla="*/ 2016 w 5260"/>
                <a:gd name="T21" fmla="*/ 1990 h 2536"/>
                <a:gd name="T22" fmla="*/ 1430 w 5260"/>
                <a:gd name="T23" fmla="*/ 1462 h 2536"/>
                <a:gd name="T24" fmla="*/ 929 w 5260"/>
                <a:gd name="T25" fmla="*/ 1386 h 2536"/>
                <a:gd name="T26" fmla="*/ 679 w 5260"/>
                <a:gd name="T27" fmla="*/ 1948 h 2536"/>
                <a:gd name="T28" fmla="*/ 701 w 5260"/>
                <a:gd name="T29" fmla="*/ 2473 h 2536"/>
                <a:gd name="T30" fmla="*/ 219 w 5260"/>
                <a:gd name="T31" fmla="*/ 2418 h 2536"/>
                <a:gd name="T32" fmla="*/ 45 w 5260"/>
                <a:gd name="T33" fmla="*/ 2076 h 2536"/>
                <a:gd name="T34" fmla="*/ 38 w 5260"/>
                <a:gd name="T35" fmla="*/ 1390 h 2536"/>
                <a:gd name="T36" fmla="*/ 45 w 5260"/>
                <a:gd name="T37" fmla="*/ 777 h 2536"/>
                <a:gd name="T38" fmla="*/ 32 w 5260"/>
                <a:gd name="T39" fmla="*/ 160 h 2536"/>
                <a:gd name="T40" fmla="*/ 973 w 5260"/>
                <a:gd name="T41" fmla="*/ 181 h 2536"/>
                <a:gd name="T42" fmla="*/ 1492 w 5260"/>
                <a:gd name="T43" fmla="*/ 701 h 2536"/>
                <a:gd name="T44" fmla="*/ 1960 w 5260"/>
                <a:gd name="T45" fmla="*/ 1019 h 2536"/>
                <a:gd name="T46" fmla="*/ 2673 w 5260"/>
                <a:gd name="T47" fmla="*/ 1193 h 2536"/>
                <a:gd name="T48" fmla="*/ 3222 w 5260"/>
                <a:gd name="T49" fmla="*/ 1054 h 2536"/>
                <a:gd name="T50" fmla="*/ 3774 w 5260"/>
                <a:gd name="T51" fmla="*/ 697 h 2536"/>
                <a:gd name="T52" fmla="*/ 4224 w 5260"/>
                <a:gd name="T53" fmla="*/ 239 h 2536"/>
                <a:gd name="T54" fmla="*/ 4509 w 5260"/>
                <a:gd name="T55" fmla="*/ 44 h 2536"/>
                <a:gd name="T56" fmla="*/ 5086 w 5260"/>
                <a:gd name="T57" fmla="*/ 117 h 2536"/>
                <a:gd name="T58" fmla="*/ 5076 w 5260"/>
                <a:gd name="T59" fmla="*/ 70 h 2536"/>
                <a:gd name="T60" fmla="*/ 4577 w 5260"/>
                <a:gd name="T61" fmla="*/ 4 h 2536"/>
                <a:gd name="T62" fmla="*/ 3991 w 5260"/>
                <a:gd name="T63" fmla="*/ 439 h 2536"/>
                <a:gd name="T64" fmla="*/ 3537 w 5260"/>
                <a:gd name="T65" fmla="*/ 849 h 2536"/>
                <a:gd name="T66" fmla="*/ 2926 w 5260"/>
                <a:gd name="T67" fmla="*/ 1128 h 2536"/>
                <a:gd name="T68" fmla="*/ 2322 w 5260"/>
                <a:gd name="T69" fmla="*/ 1119 h 2536"/>
                <a:gd name="T70" fmla="*/ 1708 w 5260"/>
                <a:gd name="T71" fmla="*/ 845 h 2536"/>
                <a:gd name="T72" fmla="*/ 1306 w 5260"/>
                <a:gd name="T73" fmla="*/ 460 h 2536"/>
                <a:gd name="T74" fmla="*/ 911 w 5260"/>
                <a:gd name="T75" fmla="*/ 131 h 2536"/>
                <a:gd name="T76" fmla="*/ 23 w 5260"/>
                <a:gd name="T77" fmla="*/ 209 h 2536"/>
                <a:gd name="T78" fmla="*/ 0 w 5260"/>
                <a:gd name="T79" fmla="*/ 1050 h 2536"/>
                <a:gd name="T80" fmla="*/ 23 w 5260"/>
                <a:gd name="T81" fmla="*/ 1548 h 2536"/>
                <a:gd name="T82" fmla="*/ 3 w 5260"/>
                <a:gd name="T83" fmla="*/ 2155 h 2536"/>
                <a:gd name="T84" fmla="*/ 300 w 5260"/>
                <a:gd name="T85" fmla="*/ 2507 h 2536"/>
                <a:gd name="T86" fmla="*/ 704 w 5260"/>
                <a:gd name="T87" fmla="*/ 2473 h 2536"/>
                <a:gd name="T88" fmla="*/ 731 w 5260"/>
                <a:gd name="T89" fmla="*/ 1778 h 2536"/>
                <a:gd name="T90" fmla="*/ 1007 w 5260"/>
                <a:gd name="T91" fmla="*/ 1371 h 2536"/>
                <a:gd name="T92" fmla="*/ 1581 w 5260"/>
                <a:gd name="T93" fmla="*/ 1634 h 2536"/>
                <a:gd name="T94" fmla="*/ 2072 w 5260"/>
                <a:gd name="T95" fmla="*/ 2046 h 2536"/>
                <a:gd name="T96" fmla="*/ 2634 w 5260"/>
                <a:gd name="T97" fmla="*/ 2374 h 2536"/>
                <a:gd name="T98" fmla="*/ 3078 w 5260"/>
                <a:gd name="T99" fmla="*/ 2144 h 2536"/>
                <a:gd name="T100" fmla="*/ 3688 w 5260"/>
                <a:gd name="T101" fmla="*/ 1625 h 2536"/>
                <a:gd name="T102" fmla="*/ 4107 w 5260"/>
                <a:gd name="T103" fmla="*/ 1379 h 2536"/>
                <a:gd name="T104" fmla="*/ 4531 w 5260"/>
                <a:gd name="T105" fmla="*/ 1710 h 2536"/>
                <a:gd name="T106" fmla="*/ 4543 w 5260"/>
                <a:gd name="T107" fmla="*/ 2188 h 2536"/>
                <a:gd name="T108" fmla="*/ 5039 w 5260"/>
                <a:gd name="T109" fmla="*/ 2531 h 2536"/>
                <a:gd name="T110" fmla="*/ 5259 w 5260"/>
                <a:gd name="T111" fmla="*/ 2426 h 2536"/>
                <a:gd name="T112" fmla="*/ 5248 w 5260"/>
                <a:gd name="T113" fmla="*/ 2022 h 2536"/>
                <a:gd name="T114" fmla="*/ 5251 w 5260"/>
                <a:gd name="T115" fmla="*/ 1327 h 2536"/>
                <a:gd name="T116" fmla="*/ 5248 w 5260"/>
                <a:gd name="T117" fmla="*/ 723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0" h="2536">
                  <a:moveTo>
                    <a:pt x="5231" y="472"/>
                  </a:moveTo>
                  <a:cubicBezTo>
                    <a:pt x="5230" y="560"/>
                    <a:pt x="5226" y="642"/>
                    <a:pt x="5221" y="700"/>
                  </a:cubicBezTo>
                  <a:cubicBezTo>
                    <a:pt x="5219" y="719"/>
                    <a:pt x="5217" y="739"/>
                    <a:pt x="5216" y="758"/>
                  </a:cubicBezTo>
                  <a:cubicBezTo>
                    <a:pt x="5210" y="829"/>
                    <a:pt x="5207" y="935"/>
                    <a:pt x="5207" y="1035"/>
                  </a:cubicBezTo>
                  <a:cubicBezTo>
                    <a:pt x="5207" y="1036"/>
                    <a:pt x="5207" y="1038"/>
                    <a:pt x="5207" y="1040"/>
                  </a:cubicBezTo>
                  <a:cubicBezTo>
                    <a:pt x="5207" y="1043"/>
                    <a:pt x="5207" y="1047"/>
                    <a:pt x="5207" y="1050"/>
                  </a:cubicBezTo>
                  <a:cubicBezTo>
                    <a:pt x="5207" y="1076"/>
                    <a:pt x="5207" y="1102"/>
                    <a:pt x="5208" y="1128"/>
                  </a:cubicBezTo>
                  <a:cubicBezTo>
                    <a:pt x="5208" y="1173"/>
                    <a:pt x="5210" y="1218"/>
                    <a:pt x="5211" y="1258"/>
                  </a:cubicBezTo>
                  <a:cubicBezTo>
                    <a:pt x="5212" y="1278"/>
                    <a:pt x="5213" y="1296"/>
                    <a:pt x="5215" y="1313"/>
                  </a:cubicBezTo>
                  <a:cubicBezTo>
                    <a:pt x="5216" y="1330"/>
                    <a:pt x="5217" y="1349"/>
                    <a:pt x="5219" y="1362"/>
                  </a:cubicBezTo>
                  <a:cubicBezTo>
                    <a:pt x="5221" y="1378"/>
                    <a:pt x="5223" y="1399"/>
                    <a:pt x="5224" y="1420"/>
                  </a:cubicBezTo>
                  <a:cubicBezTo>
                    <a:pt x="5227" y="1455"/>
                    <a:pt x="5228" y="1498"/>
                    <a:pt x="5230" y="1542"/>
                  </a:cubicBezTo>
                  <a:cubicBezTo>
                    <a:pt x="5231" y="1590"/>
                    <a:pt x="5232" y="1641"/>
                    <a:pt x="5232" y="1692"/>
                  </a:cubicBezTo>
                  <a:cubicBezTo>
                    <a:pt x="5232" y="1692"/>
                    <a:pt x="5232" y="1692"/>
                    <a:pt x="5232" y="1692"/>
                  </a:cubicBezTo>
                  <a:cubicBezTo>
                    <a:pt x="5232" y="1718"/>
                    <a:pt x="5231" y="1745"/>
                    <a:pt x="5231" y="1771"/>
                  </a:cubicBezTo>
                  <a:cubicBezTo>
                    <a:pt x="5230" y="1859"/>
                    <a:pt x="5226" y="1941"/>
                    <a:pt x="5221" y="1999"/>
                  </a:cubicBezTo>
                  <a:cubicBezTo>
                    <a:pt x="5219" y="2018"/>
                    <a:pt x="5217" y="2038"/>
                    <a:pt x="5216" y="2057"/>
                  </a:cubicBezTo>
                  <a:cubicBezTo>
                    <a:pt x="5210" y="2128"/>
                    <a:pt x="5207" y="2234"/>
                    <a:pt x="5207" y="2334"/>
                  </a:cubicBezTo>
                  <a:cubicBezTo>
                    <a:pt x="5207" y="2336"/>
                    <a:pt x="5207" y="2338"/>
                    <a:pt x="5207" y="2339"/>
                  </a:cubicBezTo>
                  <a:cubicBezTo>
                    <a:pt x="5207" y="2343"/>
                    <a:pt x="5207" y="2346"/>
                    <a:pt x="5207" y="2350"/>
                  </a:cubicBezTo>
                  <a:cubicBezTo>
                    <a:pt x="5207" y="2374"/>
                    <a:pt x="5207" y="2399"/>
                    <a:pt x="5208" y="2424"/>
                  </a:cubicBezTo>
                  <a:cubicBezTo>
                    <a:pt x="5207" y="2441"/>
                    <a:pt x="5211" y="2459"/>
                    <a:pt x="5202" y="2474"/>
                  </a:cubicBezTo>
                  <a:cubicBezTo>
                    <a:pt x="5197" y="2481"/>
                    <a:pt x="5189" y="2485"/>
                    <a:pt x="5182" y="2487"/>
                  </a:cubicBezTo>
                  <a:cubicBezTo>
                    <a:pt x="5174" y="2489"/>
                    <a:pt x="5166" y="2490"/>
                    <a:pt x="5159" y="2492"/>
                  </a:cubicBezTo>
                  <a:cubicBezTo>
                    <a:pt x="5151" y="2493"/>
                    <a:pt x="5145" y="2494"/>
                    <a:pt x="5136" y="2495"/>
                  </a:cubicBezTo>
                  <a:cubicBezTo>
                    <a:pt x="5127" y="2496"/>
                    <a:pt x="5119" y="2497"/>
                    <a:pt x="5110" y="2498"/>
                  </a:cubicBezTo>
                  <a:cubicBezTo>
                    <a:pt x="5095" y="2500"/>
                    <a:pt x="5078" y="2502"/>
                    <a:pt x="5062" y="2504"/>
                  </a:cubicBezTo>
                  <a:cubicBezTo>
                    <a:pt x="5046" y="2506"/>
                    <a:pt x="5025" y="2509"/>
                    <a:pt x="5004" y="2510"/>
                  </a:cubicBezTo>
                  <a:cubicBezTo>
                    <a:pt x="4970" y="2513"/>
                    <a:pt x="4927" y="2510"/>
                    <a:pt x="4884" y="2499"/>
                  </a:cubicBezTo>
                  <a:cubicBezTo>
                    <a:pt x="4838" y="2488"/>
                    <a:pt x="4791" y="2468"/>
                    <a:pt x="4747" y="2441"/>
                  </a:cubicBezTo>
                  <a:cubicBezTo>
                    <a:pt x="4747" y="2441"/>
                    <a:pt x="4747" y="2441"/>
                    <a:pt x="4747" y="2441"/>
                  </a:cubicBezTo>
                  <a:cubicBezTo>
                    <a:pt x="4725" y="2428"/>
                    <a:pt x="4703" y="2412"/>
                    <a:pt x="4684" y="2395"/>
                  </a:cubicBezTo>
                  <a:cubicBezTo>
                    <a:pt x="4651" y="2366"/>
                    <a:pt x="4624" y="2333"/>
                    <a:pt x="4605" y="2299"/>
                  </a:cubicBezTo>
                  <a:cubicBezTo>
                    <a:pt x="4586" y="2266"/>
                    <a:pt x="4576" y="2233"/>
                    <a:pt x="4573" y="2206"/>
                  </a:cubicBezTo>
                  <a:cubicBezTo>
                    <a:pt x="4571" y="2186"/>
                    <a:pt x="4571" y="2171"/>
                    <a:pt x="4573" y="2151"/>
                  </a:cubicBezTo>
                  <a:cubicBezTo>
                    <a:pt x="4578" y="2080"/>
                    <a:pt x="4581" y="1974"/>
                    <a:pt x="4581" y="1874"/>
                  </a:cubicBezTo>
                  <a:cubicBezTo>
                    <a:pt x="4581" y="1872"/>
                    <a:pt x="4581" y="1870"/>
                    <a:pt x="4581" y="1868"/>
                  </a:cubicBezTo>
                  <a:cubicBezTo>
                    <a:pt x="4581" y="1865"/>
                    <a:pt x="4581" y="1861"/>
                    <a:pt x="4581" y="1858"/>
                  </a:cubicBezTo>
                  <a:cubicBezTo>
                    <a:pt x="4581" y="1833"/>
                    <a:pt x="4581" y="1806"/>
                    <a:pt x="4581" y="1781"/>
                  </a:cubicBezTo>
                  <a:cubicBezTo>
                    <a:pt x="4580" y="1759"/>
                    <a:pt x="4580" y="1736"/>
                    <a:pt x="4579" y="1713"/>
                  </a:cubicBezTo>
                  <a:cubicBezTo>
                    <a:pt x="4578" y="1690"/>
                    <a:pt x="4575" y="1668"/>
                    <a:pt x="4570" y="1647"/>
                  </a:cubicBezTo>
                  <a:cubicBezTo>
                    <a:pt x="4566" y="1626"/>
                    <a:pt x="4559" y="1607"/>
                    <a:pt x="4552" y="1591"/>
                  </a:cubicBezTo>
                  <a:cubicBezTo>
                    <a:pt x="4545" y="1575"/>
                    <a:pt x="4536" y="1558"/>
                    <a:pt x="4528" y="1546"/>
                  </a:cubicBezTo>
                  <a:cubicBezTo>
                    <a:pt x="4518" y="1532"/>
                    <a:pt x="4505" y="1514"/>
                    <a:pt x="4491" y="1498"/>
                  </a:cubicBezTo>
                  <a:cubicBezTo>
                    <a:pt x="4467" y="1471"/>
                    <a:pt x="4435" y="1441"/>
                    <a:pt x="4397" y="1418"/>
                  </a:cubicBezTo>
                  <a:cubicBezTo>
                    <a:pt x="4356" y="1393"/>
                    <a:pt x="4307" y="1375"/>
                    <a:pt x="4256" y="1368"/>
                  </a:cubicBezTo>
                  <a:cubicBezTo>
                    <a:pt x="4256" y="1368"/>
                    <a:pt x="4256" y="1368"/>
                    <a:pt x="4256" y="1368"/>
                  </a:cubicBezTo>
                  <a:cubicBezTo>
                    <a:pt x="4229" y="1365"/>
                    <a:pt x="4202" y="1365"/>
                    <a:pt x="4176" y="1366"/>
                  </a:cubicBezTo>
                  <a:cubicBezTo>
                    <a:pt x="4088" y="1369"/>
                    <a:pt x="4007" y="1391"/>
                    <a:pt x="3951" y="1410"/>
                  </a:cubicBezTo>
                  <a:cubicBezTo>
                    <a:pt x="3932" y="1416"/>
                    <a:pt x="3916" y="1421"/>
                    <a:pt x="3895" y="1430"/>
                  </a:cubicBezTo>
                  <a:cubicBezTo>
                    <a:pt x="3828" y="1457"/>
                    <a:pt x="3736" y="1516"/>
                    <a:pt x="3659" y="1581"/>
                  </a:cubicBezTo>
                  <a:cubicBezTo>
                    <a:pt x="3657" y="1582"/>
                    <a:pt x="3656" y="1584"/>
                    <a:pt x="3654" y="1585"/>
                  </a:cubicBezTo>
                  <a:cubicBezTo>
                    <a:pt x="3646" y="1591"/>
                    <a:pt x="3646" y="1591"/>
                    <a:pt x="3646" y="1591"/>
                  </a:cubicBezTo>
                  <a:cubicBezTo>
                    <a:pt x="3626" y="1608"/>
                    <a:pt x="3607" y="1626"/>
                    <a:pt x="3588" y="1643"/>
                  </a:cubicBezTo>
                  <a:cubicBezTo>
                    <a:pt x="3554" y="1674"/>
                    <a:pt x="3522" y="1706"/>
                    <a:pt x="3494" y="1735"/>
                  </a:cubicBezTo>
                  <a:cubicBezTo>
                    <a:pt x="3480" y="1749"/>
                    <a:pt x="3468" y="1763"/>
                    <a:pt x="3456" y="1775"/>
                  </a:cubicBezTo>
                  <a:cubicBezTo>
                    <a:pt x="3445" y="1788"/>
                    <a:pt x="3432" y="1801"/>
                    <a:pt x="3424" y="1811"/>
                  </a:cubicBezTo>
                  <a:cubicBezTo>
                    <a:pt x="3413" y="1823"/>
                    <a:pt x="3399" y="1839"/>
                    <a:pt x="3384" y="1854"/>
                  </a:cubicBezTo>
                  <a:cubicBezTo>
                    <a:pt x="3360" y="1879"/>
                    <a:pt x="3329" y="1909"/>
                    <a:pt x="3297" y="1939"/>
                  </a:cubicBezTo>
                  <a:cubicBezTo>
                    <a:pt x="3263" y="1973"/>
                    <a:pt x="3226" y="2008"/>
                    <a:pt x="3187" y="2042"/>
                  </a:cubicBezTo>
                  <a:cubicBezTo>
                    <a:pt x="3187" y="2042"/>
                    <a:pt x="3187" y="2042"/>
                    <a:pt x="3187" y="2042"/>
                  </a:cubicBezTo>
                  <a:cubicBezTo>
                    <a:pt x="3168" y="2059"/>
                    <a:pt x="3147" y="2077"/>
                    <a:pt x="3128" y="2094"/>
                  </a:cubicBezTo>
                  <a:cubicBezTo>
                    <a:pt x="3061" y="2151"/>
                    <a:pt x="2994" y="2198"/>
                    <a:pt x="2943" y="2225"/>
                  </a:cubicBezTo>
                  <a:cubicBezTo>
                    <a:pt x="2925" y="2235"/>
                    <a:pt x="2911" y="2241"/>
                    <a:pt x="2891" y="2251"/>
                  </a:cubicBezTo>
                  <a:cubicBezTo>
                    <a:pt x="2860" y="2266"/>
                    <a:pt x="2821" y="2284"/>
                    <a:pt x="2777" y="2297"/>
                  </a:cubicBezTo>
                  <a:cubicBezTo>
                    <a:pt x="2734" y="2311"/>
                    <a:pt x="2685" y="2320"/>
                    <a:pt x="2638" y="2321"/>
                  </a:cubicBezTo>
                  <a:cubicBezTo>
                    <a:pt x="2637" y="2321"/>
                    <a:pt x="2635" y="2321"/>
                    <a:pt x="2633" y="2321"/>
                  </a:cubicBezTo>
                  <a:cubicBezTo>
                    <a:pt x="2630" y="2321"/>
                    <a:pt x="2627" y="2321"/>
                    <a:pt x="2624" y="2321"/>
                  </a:cubicBezTo>
                  <a:cubicBezTo>
                    <a:pt x="2599" y="2321"/>
                    <a:pt x="2575" y="2318"/>
                    <a:pt x="2551" y="2314"/>
                  </a:cubicBezTo>
                  <a:cubicBezTo>
                    <a:pt x="2509" y="2307"/>
                    <a:pt x="2468" y="2294"/>
                    <a:pt x="2432" y="2279"/>
                  </a:cubicBezTo>
                  <a:cubicBezTo>
                    <a:pt x="2414" y="2272"/>
                    <a:pt x="2398" y="2265"/>
                    <a:pt x="2383" y="2258"/>
                  </a:cubicBezTo>
                  <a:cubicBezTo>
                    <a:pt x="2369" y="2251"/>
                    <a:pt x="2354" y="2244"/>
                    <a:pt x="2339" y="2237"/>
                  </a:cubicBezTo>
                  <a:cubicBezTo>
                    <a:pt x="2325" y="2230"/>
                    <a:pt x="2306" y="2220"/>
                    <a:pt x="2288" y="2209"/>
                  </a:cubicBezTo>
                  <a:cubicBezTo>
                    <a:pt x="2259" y="2192"/>
                    <a:pt x="2224" y="2167"/>
                    <a:pt x="2189" y="2140"/>
                  </a:cubicBezTo>
                  <a:cubicBezTo>
                    <a:pt x="2151" y="2111"/>
                    <a:pt x="2113" y="2078"/>
                    <a:pt x="2074" y="2044"/>
                  </a:cubicBezTo>
                  <a:cubicBezTo>
                    <a:pt x="2074" y="2044"/>
                    <a:pt x="2074" y="2044"/>
                    <a:pt x="2074" y="2044"/>
                  </a:cubicBezTo>
                  <a:cubicBezTo>
                    <a:pt x="2055" y="2026"/>
                    <a:pt x="2035" y="2008"/>
                    <a:pt x="2016" y="1990"/>
                  </a:cubicBezTo>
                  <a:cubicBezTo>
                    <a:pt x="1952" y="1930"/>
                    <a:pt x="1893" y="1873"/>
                    <a:pt x="1854" y="1830"/>
                  </a:cubicBezTo>
                  <a:cubicBezTo>
                    <a:pt x="1841" y="1816"/>
                    <a:pt x="1828" y="1801"/>
                    <a:pt x="1815" y="1787"/>
                  </a:cubicBezTo>
                  <a:cubicBezTo>
                    <a:pt x="1767" y="1735"/>
                    <a:pt x="1693" y="1659"/>
                    <a:pt x="1615" y="1593"/>
                  </a:cubicBezTo>
                  <a:cubicBezTo>
                    <a:pt x="1611" y="1590"/>
                    <a:pt x="1611" y="1590"/>
                    <a:pt x="1611" y="1590"/>
                  </a:cubicBezTo>
                  <a:cubicBezTo>
                    <a:pt x="1603" y="1583"/>
                    <a:pt x="1603" y="1583"/>
                    <a:pt x="1603" y="1583"/>
                  </a:cubicBezTo>
                  <a:cubicBezTo>
                    <a:pt x="1583" y="1566"/>
                    <a:pt x="1562" y="1550"/>
                    <a:pt x="1542" y="1534"/>
                  </a:cubicBezTo>
                  <a:cubicBezTo>
                    <a:pt x="1504" y="1507"/>
                    <a:pt x="1466" y="1482"/>
                    <a:pt x="1430" y="1462"/>
                  </a:cubicBezTo>
                  <a:cubicBezTo>
                    <a:pt x="1412" y="1452"/>
                    <a:pt x="1395" y="1444"/>
                    <a:pt x="1380" y="1437"/>
                  </a:cubicBezTo>
                  <a:cubicBezTo>
                    <a:pt x="1364" y="1430"/>
                    <a:pt x="1346" y="1423"/>
                    <a:pt x="1333" y="1418"/>
                  </a:cubicBezTo>
                  <a:cubicBezTo>
                    <a:pt x="1318" y="1413"/>
                    <a:pt x="1297" y="1406"/>
                    <a:pt x="1277" y="1400"/>
                  </a:cubicBezTo>
                  <a:cubicBezTo>
                    <a:pt x="1243" y="1390"/>
                    <a:pt x="1201" y="1379"/>
                    <a:pt x="1157" y="1373"/>
                  </a:cubicBezTo>
                  <a:cubicBezTo>
                    <a:pt x="1110" y="1366"/>
                    <a:pt x="1058" y="1362"/>
                    <a:pt x="1007" y="1368"/>
                  </a:cubicBezTo>
                  <a:cubicBezTo>
                    <a:pt x="1007" y="1368"/>
                    <a:pt x="1007" y="1368"/>
                    <a:pt x="1007" y="1368"/>
                  </a:cubicBezTo>
                  <a:cubicBezTo>
                    <a:pt x="981" y="1371"/>
                    <a:pt x="954" y="1377"/>
                    <a:pt x="929" y="1386"/>
                  </a:cubicBezTo>
                  <a:cubicBezTo>
                    <a:pt x="846" y="1416"/>
                    <a:pt x="783" y="1476"/>
                    <a:pt x="747" y="1524"/>
                  </a:cubicBezTo>
                  <a:cubicBezTo>
                    <a:pt x="735" y="1541"/>
                    <a:pt x="725" y="1554"/>
                    <a:pt x="715" y="1575"/>
                  </a:cubicBezTo>
                  <a:cubicBezTo>
                    <a:pt x="698" y="1609"/>
                    <a:pt x="683" y="1654"/>
                    <a:pt x="681" y="1705"/>
                  </a:cubicBezTo>
                  <a:cubicBezTo>
                    <a:pt x="679" y="1755"/>
                    <a:pt x="678" y="1805"/>
                    <a:pt x="678" y="1855"/>
                  </a:cubicBezTo>
                  <a:cubicBezTo>
                    <a:pt x="678" y="1857"/>
                    <a:pt x="678" y="1859"/>
                    <a:pt x="678" y="1861"/>
                  </a:cubicBezTo>
                  <a:cubicBezTo>
                    <a:pt x="678" y="1864"/>
                    <a:pt x="678" y="1868"/>
                    <a:pt x="678" y="1871"/>
                  </a:cubicBezTo>
                  <a:cubicBezTo>
                    <a:pt x="678" y="1897"/>
                    <a:pt x="679" y="1923"/>
                    <a:pt x="679" y="1948"/>
                  </a:cubicBezTo>
                  <a:cubicBezTo>
                    <a:pt x="680" y="1994"/>
                    <a:pt x="681" y="2039"/>
                    <a:pt x="683" y="2079"/>
                  </a:cubicBezTo>
                  <a:cubicBezTo>
                    <a:pt x="684" y="2099"/>
                    <a:pt x="685" y="2117"/>
                    <a:pt x="686" y="2134"/>
                  </a:cubicBezTo>
                  <a:cubicBezTo>
                    <a:pt x="687" y="2151"/>
                    <a:pt x="689" y="2169"/>
                    <a:pt x="690" y="2183"/>
                  </a:cubicBezTo>
                  <a:cubicBezTo>
                    <a:pt x="692" y="2199"/>
                    <a:pt x="694" y="2220"/>
                    <a:pt x="695" y="2241"/>
                  </a:cubicBezTo>
                  <a:cubicBezTo>
                    <a:pt x="698" y="2276"/>
                    <a:pt x="700" y="2319"/>
                    <a:pt x="701" y="2363"/>
                  </a:cubicBezTo>
                  <a:cubicBezTo>
                    <a:pt x="702" y="2388"/>
                    <a:pt x="702" y="2412"/>
                    <a:pt x="703" y="2436"/>
                  </a:cubicBezTo>
                  <a:cubicBezTo>
                    <a:pt x="703" y="2448"/>
                    <a:pt x="703" y="2461"/>
                    <a:pt x="701" y="2473"/>
                  </a:cubicBezTo>
                  <a:cubicBezTo>
                    <a:pt x="698" y="2486"/>
                    <a:pt x="691" y="2497"/>
                    <a:pt x="679" y="2503"/>
                  </a:cubicBezTo>
                  <a:cubicBezTo>
                    <a:pt x="679" y="2503"/>
                    <a:pt x="679" y="2503"/>
                    <a:pt x="679" y="2503"/>
                  </a:cubicBezTo>
                  <a:cubicBezTo>
                    <a:pt x="655" y="2512"/>
                    <a:pt x="628" y="2513"/>
                    <a:pt x="602" y="2514"/>
                  </a:cubicBezTo>
                  <a:cubicBezTo>
                    <a:pt x="558" y="2516"/>
                    <a:pt x="516" y="2515"/>
                    <a:pt x="478" y="2514"/>
                  </a:cubicBezTo>
                  <a:cubicBezTo>
                    <a:pt x="439" y="2513"/>
                    <a:pt x="405" y="2506"/>
                    <a:pt x="378" y="2498"/>
                  </a:cubicBezTo>
                  <a:cubicBezTo>
                    <a:pt x="359" y="2492"/>
                    <a:pt x="345" y="2486"/>
                    <a:pt x="325" y="2477"/>
                  </a:cubicBezTo>
                  <a:cubicBezTo>
                    <a:pt x="294" y="2463"/>
                    <a:pt x="256" y="2444"/>
                    <a:pt x="219" y="2418"/>
                  </a:cubicBezTo>
                  <a:cubicBezTo>
                    <a:pt x="181" y="2392"/>
                    <a:pt x="145" y="2359"/>
                    <a:pt x="116" y="2322"/>
                  </a:cubicBezTo>
                  <a:cubicBezTo>
                    <a:pt x="113" y="2318"/>
                    <a:pt x="113" y="2318"/>
                    <a:pt x="113" y="2318"/>
                  </a:cubicBezTo>
                  <a:cubicBezTo>
                    <a:pt x="107" y="2311"/>
                    <a:pt x="107" y="2311"/>
                    <a:pt x="107" y="2311"/>
                  </a:cubicBezTo>
                  <a:cubicBezTo>
                    <a:pt x="93" y="2291"/>
                    <a:pt x="81" y="2270"/>
                    <a:pt x="72" y="2249"/>
                  </a:cubicBezTo>
                  <a:cubicBezTo>
                    <a:pt x="63" y="2230"/>
                    <a:pt x="57" y="2210"/>
                    <a:pt x="54" y="2190"/>
                  </a:cubicBezTo>
                  <a:cubicBezTo>
                    <a:pt x="50" y="2171"/>
                    <a:pt x="49" y="2152"/>
                    <a:pt x="48" y="2131"/>
                  </a:cubicBezTo>
                  <a:cubicBezTo>
                    <a:pt x="47" y="2111"/>
                    <a:pt x="46" y="2093"/>
                    <a:pt x="45" y="2076"/>
                  </a:cubicBezTo>
                  <a:cubicBezTo>
                    <a:pt x="44" y="2059"/>
                    <a:pt x="42" y="2040"/>
                    <a:pt x="41" y="2027"/>
                  </a:cubicBezTo>
                  <a:cubicBezTo>
                    <a:pt x="39" y="2011"/>
                    <a:pt x="37" y="1990"/>
                    <a:pt x="36" y="1969"/>
                  </a:cubicBezTo>
                  <a:cubicBezTo>
                    <a:pt x="33" y="1934"/>
                    <a:pt x="31" y="1891"/>
                    <a:pt x="30" y="1847"/>
                  </a:cubicBezTo>
                  <a:cubicBezTo>
                    <a:pt x="28" y="1799"/>
                    <a:pt x="28" y="1749"/>
                    <a:pt x="28" y="1697"/>
                  </a:cubicBezTo>
                  <a:cubicBezTo>
                    <a:pt x="28" y="1697"/>
                    <a:pt x="28" y="1697"/>
                    <a:pt x="28" y="1697"/>
                  </a:cubicBezTo>
                  <a:cubicBezTo>
                    <a:pt x="28" y="1671"/>
                    <a:pt x="28" y="1644"/>
                    <a:pt x="28" y="1618"/>
                  </a:cubicBezTo>
                  <a:cubicBezTo>
                    <a:pt x="30" y="1530"/>
                    <a:pt x="33" y="1448"/>
                    <a:pt x="38" y="1390"/>
                  </a:cubicBezTo>
                  <a:cubicBezTo>
                    <a:pt x="40" y="1371"/>
                    <a:pt x="42" y="1351"/>
                    <a:pt x="44" y="1332"/>
                  </a:cubicBezTo>
                  <a:cubicBezTo>
                    <a:pt x="50" y="1261"/>
                    <a:pt x="53" y="1155"/>
                    <a:pt x="53" y="1055"/>
                  </a:cubicBezTo>
                  <a:cubicBezTo>
                    <a:pt x="53" y="1050"/>
                    <a:pt x="53" y="1050"/>
                    <a:pt x="53" y="1050"/>
                  </a:cubicBezTo>
                  <a:cubicBezTo>
                    <a:pt x="53" y="1047"/>
                    <a:pt x="53" y="1043"/>
                    <a:pt x="53" y="1040"/>
                  </a:cubicBezTo>
                  <a:cubicBezTo>
                    <a:pt x="53" y="1014"/>
                    <a:pt x="52" y="988"/>
                    <a:pt x="52" y="962"/>
                  </a:cubicBezTo>
                  <a:cubicBezTo>
                    <a:pt x="51" y="917"/>
                    <a:pt x="50" y="872"/>
                    <a:pt x="48" y="832"/>
                  </a:cubicBezTo>
                  <a:cubicBezTo>
                    <a:pt x="47" y="812"/>
                    <a:pt x="46" y="794"/>
                    <a:pt x="45" y="777"/>
                  </a:cubicBezTo>
                  <a:cubicBezTo>
                    <a:pt x="44" y="760"/>
                    <a:pt x="42" y="741"/>
                    <a:pt x="41" y="728"/>
                  </a:cubicBezTo>
                  <a:cubicBezTo>
                    <a:pt x="39" y="712"/>
                    <a:pt x="37" y="691"/>
                    <a:pt x="36" y="670"/>
                  </a:cubicBezTo>
                  <a:cubicBezTo>
                    <a:pt x="33" y="635"/>
                    <a:pt x="31" y="592"/>
                    <a:pt x="30" y="548"/>
                  </a:cubicBezTo>
                  <a:cubicBezTo>
                    <a:pt x="28" y="500"/>
                    <a:pt x="28" y="449"/>
                    <a:pt x="28" y="398"/>
                  </a:cubicBezTo>
                  <a:cubicBezTo>
                    <a:pt x="28" y="398"/>
                    <a:pt x="28" y="398"/>
                    <a:pt x="28" y="398"/>
                  </a:cubicBezTo>
                  <a:cubicBezTo>
                    <a:pt x="28" y="372"/>
                    <a:pt x="28" y="305"/>
                    <a:pt x="28" y="279"/>
                  </a:cubicBezTo>
                  <a:cubicBezTo>
                    <a:pt x="29" y="237"/>
                    <a:pt x="30" y="197"/>
                    <a:pt x="32" y="160"/>
                  </a:cubicBezTo>
                  <a:cubicBezTo>
                    <a:pt x="33" y="142"/>
                    <a:pt x="37" y="80"/>
                    <a:pt x="38" y="65"/>
                  </a:cubicBezTo>
                  <a:cubicBezTo>
                    <a:pt x="39" y="50"/>
                    <a:pt x="46" y="39"/>
                    <a:pt x="70" y="39"/>
                  </a:cubicBezTo>
                  <a:cubicBezTo>
                    <a:pt x="94" y="39"/>
                    <a:pt x="557" y="41"/>
                    <a:pt x="605" y="39"/>
                  </a:cubicBezTo>
                  <a:cubicBezTo>
                    <a:pt x="653" y="37"/>
                    <a:pt x="713" y="57"/>
                    <a:pt x="734" y="61"/>
                  </a:cubicBezTo>
                  <a:cubicBezTo>
                    <a:pt x="767" y="69"/>
                    <a:pt x="808" y="82"/>
                    <a:pt x="847" y="101"/>
                  </a:cubicBezTo>
                  <a:cubicBezTo>
                    <a:pt x="890" y="121"/>
                    <a:pt x="934" y="148"/>
                    <a:pt x="973" y="181"/>
                  </a:cubicBezTo>
                  <a:cubicBezTo>
                    <a:pt x="973" y="181"/>
                    <a:pt x="973" y="181"/>
                    <a:pt x="973" y="181"/>
                  </a:cubicBezTo>
                  <a:cubicBezTo>
                    <a:pt x="993" y="198"/>
                    <a:pt x="1012" y="217"/>
                    <a:pt x="1031" y="235"/>
                  </a:cubicBezTo>
                  <a:cubicBezTo>
                    <a:pt x="1094" y="296"/>
                    <a:pt x="1151" y="355"/>
                    <a:pt x="1190" y="398"/>
                  </a:cubicBezTo>
                  <a:cubicBezTo>
                    <a:pt x="1203" y="413"/>
                    <a:pt x="1216" y="428"/>
                    <a:pt x="1228" y="442"/>
                  </a:cubicBezTo>
                  <a:cubicBezTo>
                    <a:pt x="1276" y="495"/>
                    <a:pt x="1351" y="569"/>
                    <a:pt x="1424" y="638"/>
                  </a:cubicBezTo>
                  <a:cubicBezTo>
                    <a:pt x="1428" y="642"/>
                    <a:pt x="1428" y="642"/>
                    <a:pt x="1428" y="642"/>
                  </a:cubicBezTo>
                  <a:cubicBezTo>
                    <a:pt x="1435" y="648"/>
                    <a:pt x="1435" y="648"/>
                    <a:pt x="1435" y="648"/>
                  </a:cubicBezTo>
                  <a:cubicBezTo>
                    <a:pt x="1454" y="666"/>
                    <a:pt x="1473" y="683"/>
                    <a:pt x="1492" y="701"/>
                  </a:cubicBezTo>
                  <a:cubicBezTo>
                    <a:pt x="1523" y="729"/>
                    <a:pt x="1556" y="758"/>
                    <a:pt x="1590" y="788"/>
                  </a:cubicBezTo>
                  <a:cubicBezTo>
                    <a:pt x="1605" y="801"/>
                    <a:pt x="1619" y="813"/>
                    <a:pt x="1633" y="823"/>
                  </a:cubicBezTo>
                  <a:cubicBezTo>
                    <a:pt x="1647" y="834"/>
                    <a:pt x="1662" y="845"/>
                    <a:pt x="1673" y="852"/>
                  </a:cubicBezTo>
                  <a:cubicBezTo>
                    <a:pt x="1690" y="863"/>
                    <a:pt x="1708" y="874"/>
                    <a:pt x="1723" y="884"/>
                  </a:cubicBezTo>
                  <a:cubicBezTo>
                    <a:pt x="1753" y="903"/>
                    <a:pt x="1789" y="926"/>
                    <a:pt x="1827" y="948"/>
                  </a:cubicBezTo>
                  <a:cubicBezTo>
                    <a:pt x="1869" y="972"/>
                    <a:pt x="1913" y="997"/>
                    <a:pt x="1960" y="1019"/>
                  </a:cubicBezTo>
                  <a:cubicBezTo>
                    <a:pt x="1960" y="1019"/>
                    <a:pt x="1960" y="1019"/>
                    <a:pt x="1960" y="1019"/>
                  </a:cubicBezTo>
                  <a:cubicBezTo>
                    <a:pt x="1983" y="1030"/>
                    <a:pt x="2008" y="1042"/>
                    <a:pt x="2032" y="1052"/>
                  </a:cubicBezTo>
                  <a:cubicBezTo>
                    <a:pt x="2112" y="1088"/>
                    <a:pt x="2190" y="1115"/>
                    <a:pt x="2245" y="1134"/>
                  </a:cubicBezTo>
                  <a:cubicBezTo>
                    <a:pt x="2265" y="1140"/>
                    <a:pt x="2280" y="1146"/>
                    <a:pt x="2301" y="1152"/>
                  </a:cubicBezTo>
                  <a:cubicBezTo>
                    <a:pt x="2370" y="1173"/>
                    <a:pt x="2477" y="1191"/>
                    <a:pt x="2579" y="1194"/>
                  </a:cubicBezTo>
                  <a:cubicBezTo>
                    <a:pt x="2584" y="1194"/>
                    <a:pt x="2584" y="1194"/>
                    <a:pt x="2584" y="1194"/>
                  </a:cubicBezTo>
                  <a:cubicBezTo>
                    <a:pt x="2588" y="1194"/>
                    <a:pt x="2591" y="1194"/>
                    <a:pt x="2595" y="1194"/>
                  </a:cubicBezTo>
                  <a:cubicBezTo>
                    <a:pt x="2621" y="1195"/>
                    <a:pt x="2648" y="1194"/>
                    <a:pt x="2673" y="1193"/>
                  </a:cubicBezTo>
                  <a:cubicBezTo>
                    <a:pt x="2720" y="1192"/>
                    <a:pt x="2765" y="1187"/>
                    <a:pt x="2805" y="1181"/>
                  </a:cubicBezTo>
                  <a:cubicBezTo>
                    <a:pt x="2825" y="1178"/>
                    <a:pt x="2843" y="1174"/>
                    <a:pt x="2860" y="1171"/>
                  </a:cubicBezTo>
                  <a:cubicBezTo>
                    <a:pt x="2877" y="1167"/>
                    <a:pt x="2895" y="1163"/>
                    <a:pt x="2908" y="1159"/>
                  </a:cubicBezTo>
                  <a:cubicBezTo>
                    <a:pt x="2927" y="1153"/>
                    <a:pt x="2947" y="1148"/>
                    <a:pt x="2965" y="1142"/>
                  </a:cubicBezTo>
                  <a:cubicBezTo>
                    <a:pt x="2999" y="1133"/>
                    <a:pt x="3040" y="1121"/>
                    <a:pt x="3082" y="1107"/>
                  </a:cubicBezTo>
                  <a:cubicBezTo>
                    <a:pt x="3127" y="1091"/>
                    <a:pt x="3175" y="1074"/>
                    <a:pt x="3222" y="1054"/>
                  </a:cubicBezTo>
                  <a:cubicBezTo>
                    <a:pt x="3222" y="1054"/>
                    <a:pt x="3222" y="1054"/>
                    <a:pt x="3222" y="1054"/>
                  </a:cubicBezTo>
                  <a:cubicBezTo>
                    <a:pt x="3247" y="1044"/>
                    <a:pt x="3272" y="1033"/>
                    <a:pt x="3295" y="1022"/>
                  </a:cubicBezTo>
                  <a:cubicBezTo>
                    <a:pt x="3375" y="986"/>
                    <a:pt x="3447" y="945"/>
                    <a:pt x="3498" y="916"/>
                  </a:cubicBezTo>
                  <a:cubicBezTo>
                    <a:pt x="3515" y="906"/>
                    <a:pt x="3530" y="898"/>
                    <a:pt x="3549" y="886"/>
                  </a:cubicBezTo>
                  <a:cubicBezTo>
                    <a:pt x="3579" y="867"/>
                    <a:pt x="3615" y="840"/>
                    <a:pt x="3652" y="808"/>
                  </a:cubicBezTo>
                  <a:cubicBezTo>
                    <a:pt x="3689" y="776"/>
                    <a:pt x="3726" y="742"/>
                    <a:pt x="3763" y="707"/>
                  </a:cubicBezTo>
                  <a:cubicBezTo>
                    <a:pt x="3764" y="706"/>
                    <a:pt x="3765" y="705"/>
                    <a:pt x="3767" y="704"/>
                  </a:cubicBezTo>
                  <a:cubicBezTo>
                    <a:pt x="3774" y="697"/>
                    <a:pt x="3774" y="697"/>
                    <a:pt x="3774" y="697"/>
                  </a:cubicBezTo>
                  <a:cubicBezTo>
                    <a:pt x="3793" y="679"/>
                    <a:pt x="3811" y="661"/>
                    <a:pt x="3830" y="643"/>
                  </a:cubicBezTo>
                  <a:cubicBezTo>
                    <a:pt x="3863" y="611"/>
                    <a:pt x="3894" y="580"/>
                    <a:pt x="3922" y="551"/>
                  </a:cubicBezTo>
                  <a:cubicBezTo>
                    <a:pt x="3936" y="537"/>
                    <a:pt x="3949" y="523"/>
                    <a:pt x="3960" y="511"/>
                  </a:cubicBezTo>
                  <a:cubicBezTo>
                    <a:pt x="3972" y="498"/>
                    <a:pt x="3984" y="485"/>
                    <a:pt x="3993" y="475"/>
                  </a:cubicBezTo>
                  <a:cubicBezTo>
                    <a:pt x="4003" y="462"/>
                    <a:pt x="4018" y="446"/>
                    <a:pt x="4032" y="431"/>
                  </a:cubicBezTo>
                  <a:cubicBezTo>
                    <a:pt x="4056" y="405"/>
                    <a:pt x="4086" y="374"/>
                    <a:pt x="4117" y="343"/>
                  </a:cubicBezTo>
                  <a:cubicBezTo>
                    <a:pt x="4151" y="309"/>
                    <a:pt x="4187" y="274"/>
                    <a:pt x="4224" y="239"/>
                  </a:cubicBezTo>
                  <a:cubicBezTo>
                    <a:pt x="4224" y="239"/>
                    <a:pt x="4224" y="239"/>
                    <a:pt x="4224" y="239"/>
                  </a:cubicBezTo>
                  <a:cubicBezTo>
                    <a:pt x="4244" y="221"/>
                    <a:pt x="4263" y="203"/>
                    <a:pt x="4283" y="185"/>
                  </a:cubicBezTo>
                  <a:cubicBezTo>
                    <a:pt x="4311" y="160"/>
                    <a:pt x="4338" y="135"/>
                    <a:pt x="4364" y="113"/>
                  </a:cubicBezTo>
                  <a:cubicBezTo>
                    <a:pt x="4376" y="103"/>
                    <a:pt x="4388" y="92"/>
                    <a:pt x="4401" y="81"/>
                  </a:cubicBezTo>
                  <a:cubicBezTo>
                    <a:pt x="4407" y="76"/>
                    <a:pt x="4421" y="64"/>
                    <a:pt x="4433" y="54"/>
                  </a:cubicBezTo>
                  <a:cubicBezTo>
                    <a:pt x="4446" y="44"/>
                    <a:pt x="4469" y="40"/>
                    <a:pt x="4479" y="41"/>
                  </a:cubicBezTo>
                  <a:cubicBezTo>
                    <a:pt x="4489" y="42"/>
                    <a:pt x="4499" y="43"/>
                    <a:pt x="4509" y="44"/>
                  </a:cubicBezTo>
                  <a:cubicBezTo>
                    <a:pt x="4579" y="49"/>
                    <a:pt x="4685" y="52"/>
                    <a:pt x="4785" y="52"/>
                  </a:cubicBezTo>
                  <a:cubicBezTo>
                    <a:pt x="4791" y="52"/>
                    <a:pt x="4791" y="52"/>
                    <a:pt x="4791" y="52"/>
                  </a:cubicBezTo>
                  <a:cubicBezTo>
                    <a:pt x="4801" y="52"/>
                    <a:pt x="4801" y="52"/>
                    <a:pt x="4801" y="52"/>
                  </a:cubicBezTo>
                  <a:cubicBezTo>
                    <a:pt x="4826" y="52"/>
                    <a:pt x="4852" y="52"/>
                    <a:pt x="4878" y="52"/>
                  </a:cubicBezTo>
                  <a:cubicBezTo>
                    <a:pt x="4920" y="53"/>
                    <a:pt x="4961" y="61"/>
                    <a:pt x="4997" y="74"/>
                  </a:cubicBezTo>
                  <a:cubicBezTo>
                    <a:pt x="5015" y="80"/>
                    <a:pt x="5031" y="87"/>
                    <a:pt x="5045" y="94"/>
                  </a:cubicBezTo>
                  <a:cubicBezTo>
                    <a:pt x="5060" y="101"/>
                    <a:pt x="5075" y="110"/>
                    <a:pt x="5086" y="117"/>
                  </a:cubicBezTo>
                  <a:cubicBezTo>
                    <a:pt x="5099" y="125"/>
                    <a:pt x="5116" y="137"/>
                    <a:pt x="5131" y="152"/>
                  </a:cubicBezTo>
                  <a:cubicBezTo>
                    <a:pt x="5155" y="175"/>
                    <a:pt x="5182" y="209"/>
                    <a:pt x="5200" y="248"/>
                  </a:cubicBezTo>
                  <a:cubicBezTo>
                    <a:pt x="5220" y="291"/>
                    <a:pt x="5232" y="342"/>
                    <a:pt x="5232" y="393"/>
                  </a:cubicBezTo>
                  <a:cubicBezTo>
                    <a:pt x="5235" y="393"/>
                    <a:pt x="5235" y="393"/>
                    <a:pt x="5235" y="393"/>
                  </a:cubicBezTo>
                  <a:cubicBezTo>
                    <a:pt x="5235" y="366"/>
                    <a:pt x="5232" y="339"/>
                    <a:pt x="5227" y="313"/>
                  </a:cubicBezTo>
                  <a:cubicBezTo>
                    <a:pt x="5210" y="226"/>
                    <a:pt x="5161" y="154"/>
                    <a:pt x="5120" y="111"/>
                  </a:cubicBezTo>
                  <a:cubicBezTo>
                    <a:pt x="5106" y="96"/>
                    <a:pt x="5094" y="84"/>
                    <a:pt x="5076" y="70"/>
                  </a:cubicBezTo>
                  <a:cubicBezTo>
                    <a:pt x="5046" y="47"/>
                    <a:pt x="5004" y="25"/>
                    <a:pt x="4955" y="12"/>
                  </a:cubicBezTo>
                  <a:cubicBezTo>
                    <a:pt x="4930" y="5"/>
                    <a:pt x="4904" y="1"/>
                    <a:pt x="4877" y="0"/>
                  </a:cubicBezTo>
                  <a:cubicBezTo>
                    <a:pt x="4850" y="0"/>
                    <a:pt x="4826" y="0"/>
                    <a:pt x="4801" y="0"/>
                  </a:cubicBezTo>
                  <a:cubicBezTo>
                    <a:pt x="4791" y="0"/>
                    <a:pt x="4791" y="0"/>
                    <a:pt x="4791" y="0"/>
                  </a:cubicBezTo>
                  <a:cubicBezTo>
                    <a:pt x="4785" y="0"/>
                    <a:pt x="4785" y="0"/>
                    <a:pt x="4785" y="0"/>
                  </a:cubicBezTo>
                  <a:cubicBezTo>
                    <a:pt x="4759" y="0"/>
                    <a:pt x="4733" y="0"/>
                    <a:pt x="4708" y="0"/>
                  </a:cubicBezTo>
                  <a:cubicBezTo>
                    <a:pt x="4662" y="1"/>
                    <a:pt x="4617" y="2"/>
                    <a:pt x="4577" y="4"/>
                  </a:cubicBezTo>
                  <a:cubicBezTo>
                    <a:pt x="4557" y="5"/>
                    <a:pt x="4490" y="8"/>
                    <a:pt x="4474" y="11"/>
                  </a:cubicBezTo>
                  <a:cubicBezTo>
                    <a:pt x="4459" y="15"/>
                    <a:pt x="4436" y="23"/>
                    <a:pt x="4423" y="37"/>
                  </a:cubicBezTo>
                  <a:cubicBezTo>
                    <a:pt x="4409" y="51"/>
                    <a:pt x="4361" y="101"/>
                    <a:pt x="4330" y="133"/>
                  </a:cubicBezTo>
                  <a:cubicBezTo>
                    <a:pt x="4296" y="166"/>
                    <a:pt x="4260" y="202"/>
                    <a:pt x="4222" y="237"/>
                  </a:cubicBezTo>
                  <a:cubicBezTo>
                    <a:pt x="4222" y="237"/>
                    <a:pt x="4222" y="237"/>
                    <a:pt x="4222" y="237"/>
                  </a:cubicBezTo>
                  <a:cubicBezTo>
                    <a:pt x="4203" y="255"/>
                    <a:pt x="4183" y="273"/>
                    <a:pt x="4164" y="291"/>
                  </a:cubicBezTo>
                  <a:cubicBezTo>
                    <a:pt x="4099" y="350"/>
                    <a:pt x="4037" y="404"/>
                    <a:pt x="3991" y="439"/>
                  </a:cubicBezTo>
                  <a:cubicBezTo>
                    <a:pt x="3976" y="451"/>
                    <a:pt x="3960" y="463"/>
                    <a:pt x="3945" y="475"/>
                  </a:cubicBezTo>
                  <a:cubicBezTo>
                    <a:pt x="3890" y="519"/>
                    <a:pt x="3811" y="590"/>
                    <a:pt x="3738" y="658"/>
                  </a:cubicBezTo>
                  <a:cubicBezTo>
                    <a:pt x="3730" y="665"/>
                    <a:pt x="3730" y="665"/>
                    <a:pt x="3730" y="665"/>
                  </a:cubicBezTo>
                  <a:cubicBezTo>
                    <a:pt x="3726" y="669"/>
                    <a:pt x="3726" y="669"/>
                    <a:pt x="3726" y="669"/>
                  </a:cubicBezTo>
                  <a:cubicBezTo>
                    <a:pt x="3708" y="687"/>
                    <a:pt x="3689" y="705"/>
                    <a:pt x="3670" y="723"/>
                  </a:cubicBezTo>
                  <a:cubicBezTo>
                    <a:pt x="3637" y="755"/>
                    <a:pt x="3606" y="786"/>
                    <a:pt x="3577" y="812"/>
                  </a:cubicBezTo>
                  <a:cubicBezTo>
                    <a:pt x="3564" y="824"/>
                    <a:pt x="3551" y="836"/>
                    <a:pt x="3537" y="849"/>
                  </a:cubicBezTo>
                  <a:cubicBezTo>
                    <a:pt x="3526" y="859"/>
                    <a:pt x="3513" y="870"/>
                    <a:pt x="3501" y="881"/>
                  </a:cubicBezTo>
                  <a:cubicBezTo>
                    <a:pt x="3489" y="892"/>
                    <a:pt x="3473" y="905"/>
                    <a:pt x="3456" y="918"/>
                  </a:cubicBezTo>
                  <a:cubicBezTo>
                    <a:pt x="3429" y="939"/>
                    <a:pt x="3393" y="963"/>
                    <a:pt x="3355" y="985"/>
                  </a:cubicBezTo>
                  <a:cubicBezTo>
                    <a:pt x="3314" y="1009"/>
                    <a:pt x="3268" y="1032"/>
                    <a:pt x="3221" y="1052"/>
                  </a:cubicBezTo>
                  <a:cubicBezTo>
                    <a:pt x="3221" y="1052"/>
                    <a:pt x="3221" y="1052"/>
                    <a:pt x="3221" y="1052"/>
                  </a:cubicBezTo>
                  <a:cubicBezTo>
                    <a:pt x="3197" y="1062"/>
                    <a:pt x="3171" y="1071"/>
                    <a:pt x="3147" y="1079"/>
                  </a:cubicBezTo>
                  <a:cubicBezTo>
                    <a:pt x="3064" y="1108"/>
                    <a:pt x="2983" y="1123"/>
                    <a:pt x="2926" y="1128"/>
                  </a:cubicBezTo>
                  <a:cubicBezTo>
                    <a:pt x="2906" y="1130"/>
                    <a:pt x="2890" y="1131"/>
                    <a:pt x="2868" y="1132"/>
                  </a:cubicBezTo>
                  <a:cubicBezTo>
                    <a:pt x="2798" y="1138"/>
                    <a:pt x="2694" y="1144"/>
                    <a:pt x="2596" y="1141"/>
                  </a:cubicBezTo>
                  <a:cubicBezTo>
                    <a:pt x="2586" y="1141"/>
                    <a:pt x="2586" y="1141"/>
                    <a:pt x="2586" y="1141"/>
                  </a:cubicBezTo>
                  <a:cubicBezTo>
                    <a:pt x="2580" y="1141"/>
                    <a:pt x="2580" y="1141"/>
                    <a:pt x="2580" y="1141"/>
                  </a:cubicBezTo>
                  <a:cubicBezTo>
                    <a:pt x="2555" y="1140"/>
                    <a:pt x="2529" y="1139"/>
                    <a:pt x="2504" y="1137"/>
                  </a:cubicBezTo>
                  <a:cubicBezTo>
                    <a:pt x="2459" y="1134"/>
                    <a:pt x="2415" y="1131"/>
                    <a:pt x="2376" y="1126"/>
                  </a:cubicBezTo>
                  <a:cubicBezTo>
                    <a:pt x="2358" y="1124"/>
                    <a:pt x="2341" y="1122"/>
                    <a:pt x="2322" y="1119"/>
                  </a:cubicBezTo>
                  <a:cubicBezTo>
                    <a:pt x="2307" y="1117"/>
                    <a:pt x="2290" y="1115"/>
                    <a:pt x="2274" y="1113"/>
                  </a:cubicBezTo>
                  <a:cubicBezTo>
                    <a:pt x="2258" y="1112"/>
                    <a:pt x="2237" y="1108"/>
                    <a:pt x="2216" y="1104"/>
                  </a:cubicBezTo>
                  <a:cubicBezTo>
                    <a:pt x="2182" y="1098"/>
                    <a:pt x="2141" y="1086"/>
                    <a:pt x="2099" y="1073"/>
                  </a:cubicBezTo>
                  <a:cubicBezTo>
                    <a:pt x="2054" y="1058"/>
                    <a:pt x="2007" y="1039"/>
                    <a:pt x="1961" y="1016"/>
                  </a:cubicBezTo>
                  <a:cubicBezTo>
                    <a:pt x="1961" y="1016"/>
                    <a:pt x="1961" y="1016"/>
                    <a:pt x="1961" y="1016"/>
                  </a:cubicBezTo>
                  <a:cubicBezTo>
                    <a:pt x="1937" y="1005"/>
                    <a:pt x="1913" y="992"/>
                    <a:pt x="1891" y="979"/>
                  </a:cubicBezTo>
                  <a:cubicBezTo>
                    <a:pt x="1815" y="935"/>
                    <a:pt x="1750" y="885"/>
                    <a:pt x="1708" y="845"/>
                  </a:cubicBezTo>
                  <a:cubicBezTo>
                    <a:pt x="1693" y="832"/>
                    <a:pt x="1683" y="820"/>
                    <a:pt x="1667" y="805"/>
                  </a:cubicBezTo>
                  <a:cubicBezTo>
                    <a:pt x="1636" y="773"/>
                    <a:pt x="1607" y="743"/>
                    <a:pt x="1579" y="714"/>
                  </a:cubicBezTo>
                  <a:cubicBezTo>
                    <a:pt x="1545" y="680"/>
                    <a:pt x="1508" y="644"/>
                    <a:pt x="1472" y="610"/>
                  </a:cubicBezTo>
                  <a:cubicBezTo>
                    <a:pt x="1465" y="603"/>
                    <a:pt x="1465" y="603"/>
                    <a:pt x="1465" y="603"/>
                  </a:cubicBezTo>
                  <a:cubicBezTo>
                    <a:pt x="1463" y="602"/>
                    <a:pt x="1462" y="601"/>
                    <a:pt x="1460" y="599"/>
                  </a:cubicBezTo>
                  <a:cubicBezTo>
                    <a:pt x="1441" y="582"/>
                    <a:pt x="1422" y="564"/>
                    <a:pt x="1403" y="547"/>
                  </a:cubicBezTo>
                  <a:cubicBezTo>
                    <a:pt x="1370" y="516"/>
                    <a:pt x="1336" y="486"/>
                    <a:pt x="1306" y="460"/>
                  </a:cubicBezTo>
                  <a:cubicBezTo>
                    <a:pt x="1291" y="447"/>
                    <a:pt x="1276" y="435"/>
                    <a:pt x="1263" y="425"/>
                  </a:cubicBezTo>
                  <a:cubicBezTo>
                    <a:pt x="1250" y="414"/>
                    <a:pt x="1235" y="402"/>
                    <a:pt x="1225" y="395"/>
                  </a:cubicBezTo>
                  <a:cubicBezTo>
                    <a:pt x="1212" y="385"/>
                    <a:pt x="1195" y="372"/>
                    <a:pt x="1178" y="358"/>
                  </a:cubicBezTo>
                  <a:cubicBezTo>
                    <a:pt x="1152" y="336"/>
                    <a:pt x="1119" y="308"/>
                    <a:pt x="1086" y="279"/>
                  </a:cubicBezTo>
                  <a:cubicBezTo>
                    <a:pt x="1050" y="248"/>
                    <a:pt x="1014" y="212"/>
                    <a:pt x="975" y="179"/>
                  </a:cubicBezTo>
                  <a:cubicBezTo>
                    <a:pt x="975" y="179"/>
                    <a:pt x="975" y="179"/>
                    <a:pt x="975" y="179"/>
                  </a:cubicBezTo>
                  <a:cubicBezTo>
                    <a:pt x="954" y="162"/>
                    <a:pt x="933" y="145"/>
                    <a:pt x="911" y="131"/>
                  </a:cubicBezTo>
                  <a:cubicBezTo>
                    <a:pt x="838" y="81"/>
                    <a:pt x="761" y="50"/>
                    <a:pt x="705" y="32"/>
                  </a:cubicBezTo>
                  <a:cubicBezTo>
                    <a:pt x="685" y="25"/>
                    <a:pt x="669" y="20"/>
                    <a:pt x="647" y="15"/>
                  </a:cubicBezTo>
                  <a:cubicBezTo>
                    <a:pt x="629" y="11"/>
                    <a:pt x="609" y="8"/>
                    <a:pt x="587" y="5"/>
                  </a:cubicBezTo>
                  <a:cubicBezTo>
                    <a:pt x="570" y="4"/>
                    <a:pt x="570" y="4"/>
                    <a:pt x="570" y="4"/>
                  </a:cubicBezTo>
                  <a:cubicBezTo>
                    <a:pt x="563" y="3"/>
                    <a:pt x="76" y="5"/>
                    <a:pt x="56" y="7"/>
                  </a:cubicBezTo>
                  <a:cubicBezTo>
                    <a:pt x="35" y="10"/>
                    <a:pt x="13" y="25"/>
                    <a:pt x="15" y="55"/>
                  </a:cubicBezTo>
                  <a:cubicBezTo>
                    <a:pt x="17" y="85"/>
                    <a:pt x="21" y="164"/>
                    <a:pt x="23" y="209"/>
                  </a:cubicBezTo>
                  <a:cubicBezTo>
                    <a:pt x="24" y="257"/>
                    <a:pt x="25" y="347"/>
                    <a:pt x="25" y="398"/>
                  </a:cubicBezTo>
                  <a:cubicBezTo>
                    <a:pt x="25" y="398"/>
                    <a:pt x="25" y="398"/>
                    <a:pt x="25" y="398"/>
                  </a:cubicBezTo>
                  <a:cubicBezTo>
                    <a:pt x="25" y="424"/>
                    <a:pt x="24" y="451"/>
                    <a:pt x="24" y="478"/>
                  </a:cubicBezTo>
                  <a:cubicBezTo>
                    <a:pt x="23" y="565"/>
                    <a:pt x="19" y="647"/>
                    <a:pt x="14" y="705"/>
                  </a:cubicBezTo>
                  <a:cubicBezTo>
                    <a:pt x="12" y="724"/>
                    <a:pt x="10" y="744"/>
                    <a:pt x="8" y="763"/>
                  </a:cubicBezTo>
                  <a:cubicBezTo>
                    <a:pt x="3" y="834"/>
                    <a:pt x="0" y="940"/>
                    <a:pt x="0" y="1040"/>
                  </a:cubicBezTo>
                  <a:cubicBezTo>
                    <a:pt x="0" y="1050"/>
                    <a:pt x="0" y="1050"/>
                    <a:pt x="0" y="1050"/>
                  </a:cubicBezTo>
                  <a:cubicBezTo>
                    <a:pt x="0" y="1052"/>
                    <a:pt x="0" y="1054"/>
                    <a:pt x="0" y="1056"/>
                  </a:cubicBezTo>
                  <a:cubicBezTo>
                    <a:pt x="0" y="1081"/>
                    <a:pt x="0" y="1107"/>
                    <a:pt x="0" y="1133"/>
                  </a:cubicBezTo>
                  <a:cubicBezTo>
                    <a:pt x="1" y="1179"/>
                    <a:pt x="3" y="1223"/>
                    <a:pt x="4" y="1264"/>
                  </a:cubicBezTo>
                  <a:cubicBezTo>
                    <a:pt x="5" y="1283"/>
                    <a:pt x="6" y="1302"/>
                    <a:pt x="7" y="1319"/>
                  </a:cubicBezTo>
                  <a:cubicBezTo>
                    <a:pt x="9" y="1336"/>
                    <a:pt x="10" y="1354"/>
                    <a:pt x="12" y="1367"/>
                  </a:cubicBezTo>
                  <a:cubicBezTo>
                    <a:pt x="14" y="1384"/>
                    <a:pt x="15" y="1405"/>
                    <a:pt x="17" y="1426"/>
                  </a:cubicBezTo>
                  <a:cubicBezTo>
                    <a:pt x="20" y="1461"/>
                    <a:pt x="21" y="1504"/>
                    <a:pt x="23" y="1548"/>
                  </a:cubicBezTo>
                  <a:cubicBezTo>
                    <a:pt x="24" y="1595"/>
                    <a:pt x="25" y="1646"/>
                    <a:pt x="25" y="1697"/>
                  </a:cubicBezTo>
                  <a:cubicBezTo>
                    <a:pt x="25" y="1697"/>
                    <a:pt x="25" y="1697"/>
                    <a:pt x="25" y="1697"/>
                  </a:cubicBezTo>
                  <a:cubicBezTo>
                    <a:pt x="25" y="1724"/>
                    <a:pt x="24" y="1750"/>
                    <a:pt x="24" y="1777"/>
                  </a:cubicBezTo>
                  <a:cubicBezTo>
                    <a:pt x="23" y="1864"/>
                    <a:pt x="19" y="1946"/>
                    <a:pt x="14" y="2004"/>
                  </a:cubicBezTo>
                  <a:cubicBezTo>
                    <a:pt x="12" y="2023"/>
                    <a:pt x="10" y="2043"/>
                    <a:pt x="8" y="2063"/>
                  </a:cubicBezTo>
                  <a:cubicBezTo>
                    <a:pt x="7" y="2080"/>
                    <a:pt x="6" y="2100"/>
                    <a:pt x="5" y="2121"/>
                  </a:cubicBezTo>
                  <a:cubicBezTo>
                    <a:pt x="4" y="2133"/>
                    <a:pt x="4" y="2144"/>
                    <a:pt x="3" y="2155"/>
                  </a:cubicBezTo>
                  <a:cubicBezTo>
                    <a:pt x="3" y="2167"/>
                    <a:pt x="3" y="2180"/>
                    <a:pt x="5" y="2193"/>
                  </a:cubicBezTo>
                  <a:cubicBezTo>
                    <a:pt x="11" y="2245"/>
                    <a:pt x="33" y="2298"/>
                    <a:pt x="65" y="2342"/>
                  </a:cubicBezTo>
                  <a:cubicBezTo>
                    <a:pt x="71" y="2350"/>
                    <a:pt x="71" y="2350"/>
                    <a:pt x="71" y="2350"/>
                  </a:cubicBezTo>
                  <a:cubicBezTo>
                    <a:pt x="72" y="2352"/>
                    <a:pt x="73" y="2353"/>
                    <a:pt x="75" y="2355"/>
                  </a:cubicBezTo>
                  <a:cubicBezTo>
                    <a:pt x="92" y="2377"/>
                    <a:pt x="111" y="2397"/>
                    <a:pt x="132" y="2414"/>
                  </a:cubicBezTo>
                  <a:cubicBezTo>
                    <a:pt x="168" y="2446"/>
                    <a:pt x="208" y="2470"/>
                    <a:pt x="247" y="2487"/>
                  </a:cubicBezTo>
                  <a:cubicBezTo>
                    <a:pt x="266" y="2495"/>
                    <a:pt x="284" y="2502"/>
                    <a:pt x="300" y="2507"/>
                  </a:cubicBezTo>
                  <a:cubicBezTo>
                    <a:pt x="317" y="2512"/>
                    <a:pt x="336" y="2516"/>
                    <a:pt x="350" y="2518"/>
                  </a:cubicBezTo>
                  <a:cubicBezTo>
                    <a:pt x="366" y="2521"/>
                    <a:pt x="388" y="2524"/>
                    <a:pt x="410" y="2525"/>
                  </a:cubicBezTo>
                  <a:cubicBezTo>
                    <a:pt x="445" y="2528"/>
                    <a:pt x="488" y="2524"/>
                    <a:pt x="532" y="2523"/>
                  </a:cubicBezTo>
                  <a:cubicBezTo>
                    <a:pt x="556" y="2521"/>
                    <a:pt x="581" y="2520"/>
                    <a:pt x="606" y="2518"/>
                  </a:cubicBezTo>
                  <a:cubicBezTo>
                    <a:pt x="631" y="2516"/>
                    <a:pt x="657" y="2515"/>
                    <a:pt x="682" y="2505"/>
                  </a:cubicBezTo>
                  <a:cubicBezTo>
                    <a:pt x="682" y="2505"/>
                    <a:pt x="682" y="2505"/>
                    <a:pt x="682" y="2505"/>
                  </a:cubicBezTo>
                  <a:cubicBezTo>
                    <a:pt x="694" y="2499"/>
                    <a:pt x="702" y="2487"/>
                    <a:pt x="704" y="2473"/>
                  </a:cubicBezTo>
                  <a:cubicBezTo>
                    <a:pt x="707" y="2460"/>
                    <a:pt x="706" y="2447"/>
                    <a:pt x="707" y="2433"/>
                  </a:cubicBezTo>
                  <a:cubicBezTo>
                    <a:pt x="708" y="2345"/>
                    <a:pt x="712" y="2264"/>
                    <a:pt x="717" y="2206"/>
                  </a:cubicBezTo>
                  <a:cubicBezTo>
                    <a:pt x="719" y="2186"/>
                    <a:pt x="721" y="2167"/>
                    <a:pt x="723" y="2147"/>
                  </a:cubicBezTo>
                  <a:cubicBezTo>
                    <a:pt x="728" y="2077"/>
                    <a:pt x="731" y="1971"/>
                    <a:pt x="731" y="1871"/>
                  </a:cubicBezTo>
                  <a:cubicBezTo>
                    <a:pt x="731" y="1861"/>
                    <a:pt x="731" y="1861"/>
                    <a:pt x="731" y="1861"/>
                  </a:cubicBezTo>
                  <a:cubicBezTo>
                    <a:pt x="731" y="1859"/>
                    <a:pt x="731" y="1857"/>
                    <a:pt x="731" y="1855"/>
                  </a:cubicBezTo>
                  <a:cubicBezTo>
                    <a:pt x="731" y="1830"/>
                    <a:pt x="731" y="1803"/>
                    <a:pt x="731" y="1778"/>
                  </a:cubicBezTo>
                  <a:cubicBezTo>
                    <a:pt x="730" y="1756"/>
                    <a:pt x="730" y="1734"/>
                    <a:pt x="729" y="1711"/>
                  </a:cubicBezTo>
                  <a:cubicBezTo>
                    <a:pt x="729" y="1690"/>
                    <a:pt x="730" y="1671"/>
                    <a:pt x="733" y="1652"/>
                  </a:cubicBezTo>
                  <a:cubicBezTo>
                    <a:pt x="736" y="1633"/>
                    <a:pt x="739" y="1616"/>
                    <a:pt x="744" y="1601"/>
                  </a:cubicBezTo>
                  <a:cubicBezTo>
                    <a:pt x="748" y="1586"/>
                    <a:pt x="754" y="1569"/>
                    <a:pt x="759" y="1557"/>
                  </a:cubicBezTo>
                  <a:cubicBezTo>
                    <a:pt x="765" y="1543"/>
                    <a:pt x="774" y="1524"/>
                    <a:pt x="785" y="1507"/>
                  </a:cubicBezTo>
                  <a:cubicBezTo>
                    <a:pt x="804" y="1479"/>
                    <a:pt x="833" y="1447"/>
                    <a:pt x="869" y="1423"/>
                  </a:cubicBezTo>
                  <a:cubicBezTo>
                    <a:pt x="908" y="1396"/>
                    <a:pt x="957" y="1377"/>
                    <a:pt x="1007" y="1371"/>
                  </a:cubicBezTo>
                  <a:cubicBezTo>
                    <a:pt x="1007" y="1371"/>
                    <a:pt x="1007" y="1371"/>
                    <a:pt x="1007" y="1371"/>
                  </a:cubicBezTo>
                  <a:cubicBezTo>
                    <a:pt x="1033" y="1367"/>
                    <a:pt x="1061" y="1368"/>
                    <a:pt x="1087" y="1370"/>
                  </a:cubicBezTo>
                  <a:cubicBezTo>
                    <a:pt x="1174" y="1376"/>
                    <a:pt x="1252" y="1406"/>
                    <a:pt x="1301" y="1433"/>
                  </a:cubicBezTo>
                  <a:cubicBezTo>
                    <a:pt x="1319" y="1443"/>
                    <a:pt x="1332" y="1451"/>
                    <a:pt x="1351" y="1463"/>
                  </a:cubicBezTo>
                  <a:cubicBezTo>
                    <a:pt x="1410" y="1499"/>
                    <a:pt x="1494" y="1560"/>
                    <a:pt x="1570" y="1624"/>
                  </a:cubicBezTo>
                  <a:cubicBezTo>
                    <a:pt x="1577" y="1630"/>
                    <a:pt x="1577" y="1630"/>
                    <a:pt x="1577" y="1630"/>
                  </a:cubicBezTo>
                  <a:cubicBezTo>
                    <a:pt x="1581" y="1634"/>
                    <a:pt x="1581" y="1634"/>
                    <a:pt x="1581" y="1634"/>
                  </a:cubicBezTo>
                  <a:cubicBezTo>
                    <a:pt x="1601" y="1650"/>
                    <a:pt x="1620" y="1667"/>
                    <a:pt x="1639" y="1684"/>
                  </a:cubicBezTo>
                  <a:cubicBezTo>
                    <a:pt x="1671" y="1711"/>
                    <a:pt x="1704" y="1740"/>
                    <a:pt x="1738" y="1769"/>
                  </a:cubicBezTo>
                  <a:cubicBezTo>
                    <a:pt x="1753" y="1782"/>
                    <a:pt x="1767" y="1794"/>
                    <a:pt x="1780" y="1804"/>
                  </a:cubicBezTo>
                  <a:cubicBezTo>
                    <a:pt x="1793" y="1815"/>
                    <a:pt x="1808" y="1827"/>
                    <a:pt x="1819" y="1835"/>
                  </a:cubicBezTo>
                  <a:cubicBezTo>
                    <a:pt x="1834" y="1846"/>
                    <a:pt x="1851" y="1859"/>
                    <a:pt x="1866" y="1870"/>
                  </a:cubicBezTo>
                  <a:cubicBezTo>
                    <a:pt x="1893" y="1891"/>
                    <a:pt x="1927" y="1918"/>
                    <a:pt x="1960" y="1947"/>
                  </a:cubicBezTo>
                  <a:cubicBezTo>
                    <a:pt x="1996" y="1978"/>
                    <a:pt x="2034" y="2012"/>
                    <a:pt x="2072" y="2046"/>
                  </a:cubicBezTo>
                  <a:cubicBezTo>
                    <a:pt x="2072" y="2046"/>
                    <a:pt x="2072" y="2046"/>
                    <a:pt x="2072" y="2046"/>
                  </a:cubicBezTo>
                  <a:cubicBezTo>
                    <a:pt x="2092" y="2063"/>
                    <a:pt x="2112" y="2081"/>
                    <a:pt x="2132" y="2099"/>
                  </a:cubicBezTo>
                  <a:cubicBezTo>
                    <a:pt x="2197" y="2158"/>
                    <a:pt x="2260" y="2211"/>
                    <a:pt x="2306" y="2247"/>
                  </a:cubicBezTo>
                  <a:cubicBezTo>
                    <a:pt x="2322" y="2260"/>
                    <a:pt x="2334" y="2270"/>
                    <a:pt x="2353" y="2283"/>
                  </a:cubicBezTo>
                  <a:cubicBezTo>
                    <a:pt x="2383" y="2304"/>
                    <a:pt x="2423" y="2326"/>
                    <a:pt x="2470" y="2344"/>
                  </a:cubicBezTo>
                  <a:cubicBezTo>
                    <a:pt x="2516" y="2362"/>
                    <a:pt x="2570" y="2373"/>
                    <a:pt x="2623" y="2374"/>
                  </a:cubicBezTo>
                  <a:cubicBezTo>
                    <a:pt x="2634" y="2374"/>
                    <a:pt x="2634" y="2374"/>
                    <a:pt x="2634" y="2374"/>
                  </a:cubicBezTo>
                  <a:cubicBezTo>
                    <a:pt x="2636" y="2374"/>
                    <a:pt x="2638" y="2374"/>
                    <a:pt x="2640" y="2374"/>
                  </a:cubicBezTo>
                  <a:cubicBezTo>
                    <a:pt x="2667" y="2373"/>
                    <a:pt x="2695" y="2370"/>
                    <a:pt x="2721" y="2364"/>
                  </a:cubicBezTo>
                  <a:cubicBezTo>
                    <a:pt x="2768" y="2355"/>
                    <a:pt x="2812" y="2337"/>
                    <a:pt x="2849" y="2318"/>
                  </a:cubicBezTo>
                  <a:cubicBezTo>
                    <a:pt x="2867" y="2308"/>
                    <a:pt x="2883" y="2299"/>
                    <a:pt x="2898" y="2289"/>
                  </a:cubicBezTo>
                  <a:cubicBezTo>
                    <a:pt x="2913" y="2280"/>
                    <a:pt x="2928" y="2269"/>
                    <a:pt x="2938" y="2260"/>
                  </a:cubicBezTo>
                  <a:cubicBezTo>
                    <a:pt x="2954" y="2248"/>
                    <a:pt x="2970" y="2235"/>
                    <a:pt x="2984" y="2223"/>
                  </a:cubicBezTo>
                  <a:cubicBezTo>
                    <a:pt x="3011" y="2201"/>
                    <a:pt x="3044" y="2173"/>
                    <a:pt x="3078" y="2144"/>
                  </a:cubicBezTo>
                  <a:cubicBezTo>
                    <a:pt x="3116" y="2109"/>
                    <a:pt x="3153" y="2077"/>
                    <a:pt x="3189" y="2044"/>
                  </a:cubicBezTo>
                  <a:cubicBezTo>
                    <a:pt x="3190" y="2044"/>
                    <a:pt x="3190" y="2044"/>
                    <a:pt x="3190" y="2044"/>
                  </a:cubicBezTo>
                  <a:cubicBezTo>
                    <a:pt x="3209" y="2027"/>
                    <a:pt x="3229" y="2009"/>
                    <a:pt x="3249" y="1991"/>
                  </a:cubicBezTo>
                  <a:cubicBezTo>
                    <a:pt x="3314" y="1933"/>
                    <a:pt x="3378" y="1881"/>
                    <a:pt x="3425" y="1846"/>
                  </a:cubicBezTo>
                  <a:cubicBezTo>
                    <a:pt x="3441" y="1834"/>
                    <a:pt x="3454" y="1825"/>
                    <a:pt x="3471" y="1811"/>
                  </a:cubicBezTo>
                  <a:cubicBezTo>
                    <a:pt x="3527" y="1767"/>
                    <a:pt x="3605" y="1695"/>
                    <a:pt x="3681" y="1632"/>
                  </a:cubicBezTo>
                  <a:cubicBezTo>
                    <a:pt x="3688" y="1625"/>
                    <a:pt x="3688" y="1625"/>
                    <a:pt x="3688" y="1625"/>
                  </a:cubicBezTo>
                  <a:cubicBezTo>
                    <a:pt x="3690" y="1624"/>
                    <a:pt x="3691" y="1623"/>
                    <a:pt x="3693" y="1622"/>
                  </a:cubicBezTo>
                  <a:cubicBezTo>
                    <a:pt x="3712" y="1605"/>
                    <a:pt x="3732" y="1589"/>
                    <a:pt x="3752" y="1574"/>
                  </a:cubicBezTo>
                  <a:cubicBezTo>
                    <a:pt x="3787" y="1546"/>
                    <a:pt x="3822" y="1520"/>
                    <a:pt x="3855" y="1498"/>
                  </a:cubicBezTo>
                  <a:cubicBezTo>
                    <a:pt x="3871" y="1487"/>
                    <a:pt x="3886" y="1477"/>
                    <a:pt x="3900" y="1469"/>
                  </a:cubicBezTo>
                  <a:cubicBezTo>
                    <a:pt x="3913" y="1461"/>
                    <a:pt x="3928" y="1452"/>
                    <a:pt x="3941" y="1443"/>
                  </a:cubicBezTo>
                  <a:cubicBezTo>
                    <a:pt x="3955" y="1435"/>
                    <a:pt x="3973" y="1425"/>
                    <a:pt x="3992" y="1416"/>
                  </a:cubicBezTo>
                  <a:cubicBezTo>
                    <a:pt x="4024" y="1402"/>
                    <a:pt x="4064" y="1388"/>
                    <a:pt x="4107" y="1379"/>
                  </a:cubicBezTo>
                  <a:cubicBezTo>
                    <a:pt x="4153" y="1370"/>
                    <a:pt x="4205" y="1365"/>
                    <a:pt x="4255" y="1371"/>
                  </a:cubicBezTo>
                  <a:cubicBezTo>
                    <a:pt x="4255" y="1371"/>
                    <a:pt x="4255" y="1371"/>
                    <a:pt x="4255" y="1371"/>
                  </a:cubicBezTo>
                  <a:cubicBezTo>
                    <a:pt x="4281" y="1375"/>
                    <a:pt x="4308" y="1382"/>
                    <a:pt x="4332" y="1391"/>
                  </a:cubicBezTo>
                  <a:cubicBezTo>
                    <a:pt x="4372" y="1408"/>
                    <a:pt x="4407" y="1432"/>
                    <a:pt x="4434" y="1459"/>
                  </a:cubicBezTo>
                  <a:cubicBezTo>
                    <a:pt x="4462" y="1485"/>
                    <a:pt x="4481" y="1514"/>
                    <a:pt x="4493" y="1539"/>
                  </a:cubicBezTo>
                  <a:cubicBezTo>
                    <a:pt x="4502" y="1557"/>
                    <a:pt x="4507" y="1572"/>
                    <a:pt x="4513" y="1592"/>
                  </a:cubicBezTo>
                  <a:cubicBezTo>
                    <a:pt x="4523" y="1624"/>
                    <a:pt x="4531" y="1665"/>
                    <a:pt x="4531" y="1710"/>
                  </a:cubicBezTo>
                  <a:cubicBezTo>
                    <a:pt x="4529" y="1757"/>
                    <a:pt x="4529" y="1809"/>
                    <a:pt x="4529" y="1859"/>
                  </a:cubicBezTo>
                  <a:cubicBezTo>
                    <a:pt x="4529" y="1868"/>
                    <a:pt x="4529" y="1868"/>
                    <a:pt x="4529" y="1868"/>
                  </a:cubicBezTo>
                  <a:cubicBezTo>
                    <a:pt x="4529" y="1870"/>
                    <a:pt x="4529" y="1872"/>
                    <a:pt x="4529" y="1874"/>
                  </a:cubicBezTo>
                  <a:cubicBezTo>
                    <a:pt x="4529" y="1900"/>
                    <a:pt x="4529" y="1926"/>
                    <a:pt x="4529" y="1952"/>
                  </a:cubicBezTo>
                  <a:cubicBezTo>
                    <a:pt x="4530" y="1997"/>
                    <a:pt x="4531" y="2042"/>
                    <a:pt x="4533" y="2082"/>
                  </a:cubicBezTo>
                  <a:cubicBezTo>
                    <a:pt x="4534" y="2102"/>
                    <a:pt x="4535" y="2120"/>
                    <a:pt x="4536" y="2137"/>
                  </a:cubicBezTo>
                  <a:cubicBezTo>
                    <a:pt x="4537" y="2154"/>
                    <a:pt x="4539" y="2174"/>
                    <a:pt x="4543" y="2188"/>
                  </a:cubicBezTo>
                  <a:cubicBezTo>
                    <a:pt x="4547" y="2204"/>
                    <a:pt x="4553" y="2226"/>
                    <a:pt x="4562" y="2246"/>
                  </a:cubicBezTo>
                  <a:cubicBezTo>
                    <a:pt x="4577" y="2279"/>
                    <a:pt x="4600" y="2316"/>
                    <a:pt x="4630" y="2349"/>
                  </a:cubicBezTo>
                  <a:cubicBezTo>
                    <a:pt x="4662" y="2385"/>
                    <a:pt x="4702" y="2417"/>
                    <a:pt x="4746" y="2444"/>
                  </a:cubicBezTo>
                  <a:cubicBezTo>
                    <a:pt x="4746" y="2444"/>
                    <a:pt x="4746" y="2444"/>
                    <a:pt x="4746" y="2444"/>
                  </a:cubicBezTo>
                  <a:cubicBezTo>
                    <a:pt x="4768" y="2458"/>
                    <a:pt x="4793" y="2471"/>
                    <a:pt x="4816" y="2481"/>
                  </a:cubicBezTo>
                  <a:cubicBezTo>
                    <a:pt x="4857" y="2499"/>
                    <a:pt x="4897" y="2512"/>
                    <a:pt x="4936" y="2520"/>
                  </a:cubicBezTo>
                  <a:cubicBezTo>
                    <a:pt x="4974" y="2528"/>
                    <a:pt x="5010" y="2529"/>
                    <a:pt x="5039" y="2531"/>
                  </a:cubicBezTo>
                  <a:cubicBezTo>
                    <a:pt x="5060" y="2533"/>
                    <a:pt x="5076" y="2535"/>
                    <a:pt x="5098" y="2535"/>
                  </a:cubicBezTo>
                  <a:cubicBezTo>
                    <a:pt x="5107" y="2536"/>
                    <a:pt x="5116" y="2536"/>
                    <a:pt x="5127" y="2536"/>
                  </a:cubicBezTo>
                  <a:cubicBezTo>
                    <a:pt x="5142" y="2536"/>
                    <a:pt x="5142" y="2536"/>
                    <a:pt x="5142" y="2536"/>
                  </a:cubicBezTo>
                  <a:cubicBezTo>
                    <a:pt x="5161" y="2535"/>
                    <a:pt x="5161" y="2535"/>
                    <a:pt x="5161" y="2535"/>
                  </a:cubicBezTo>
                  <a:cubicBezTo>
                    <a:pt x="5174" y="2534"/>
                    <a:pt x="5188" y="2533"/>
                    <a:pt x="5201" y="2530"/>
                  </a:cubicBezTo>
                  <a:cubicBezTo>
                    <a:pt x="5214" y="2527"/>
                    <a:pt x="5228" y="2523"/>
                    <a:pt x="5238" y="2512"/>
                  </a:cubicBezTo>
                  <a:cubicBezTo>
                    <a:pt x="5259" y="2490"/>
                    <a:pt x="5259" y="2458"/>
                    <a:pt x="5259" y="2426"/>
                  </a:cubicBezTo>
                  <a:cubicBezTo>
                    <a:pt x="5259" y="2400"/>
                    <a:pt x="5260" y="2374"/>
                    <a:pt x="5260" y="2349"/>
                  </a:cubicBezTo>
                  <a:cubicBezTo>
                    <a:pt x="5260" y="2339"/>
                    <a:pt x="5260" y="2339"/>
                    <a:pt x="5260" y="2339"/>
                  </a:cubicBezTo>
                  <a:cubicBezTo>
                    <a:pt x="5260" y="2337"/>
                    <a:pt x="5260" y="2335"/>
                    <a:pt x="5260" y="2333"/>
                  </a:cubicBezTo>
                  <a:cubicBezTo>
                    <a:pt x="5260" y="2308"/>
                    <a:pt x="5259" y="2282"/>
                    <a:pt x="5259" y="2256"/>
                  </a:cubicBezTo>
                  <a:cubicBezTo>
                    <a:pt x="5259" y="2210"/>
                    <a:pt x="5257" y="2166"/>
                    <a:pt x="5255" y="2126"/>
                  </a:cubicBezTo>
                  <a:cubicBezTo>
                    <a:pt x="5254" y="2106"/>
                    <a:pt x="5253" y="2087"/>
                    <a:pt x="5252" y="2071"/>
                  </a:cubicBezTo>
                  <a:cubicBezTo>
                    <a:pt x="5251" y="2053"/>
                    <a:pt x="5249" y="2035"/>
                    <a:pt x="5248" y="2022"/>
                  </a:cubicBezTo>
                  <a:cubicBezTo>
                    <a:pt x="5246" y="2006"/>
                    <a:pt x="5244" y="1984"/>
                    <a:pt x="5243" y="1963"/>
                  </a:cubicBezTo>
                  <a:cubicBezTo>
                    <a:pt x="5240" y="1929"/>
                    <a:pt x="5238" y="1886"/>
                    <a:pt x="5237" y="1842"/>
                  </a:cubicBezTo>
                  <a:cubicBezTo>
                    <a:pt x="5236" y="1794"/>
                    <a:pt x="5235" y="1743"/>
                    <a:pt x="5235" y="1692"/>
                  </a:cubicBezTo>
                  <a:cubicBezTo>
                    <a:pt x="5235" y="1692"/>
                    <a:pt x="5235" y="1692"/>
                    <a:pt x="5235" y="1692"/>
                  </a:cubicBezTo>
                  <a:cubicBezTo>
                    <a:pt x="5235" y="1666"/>
                    <a:pt x="5235" y="1639"/>
                    <a:pt x="5235" y="1612"/>
                  </a:cubicBezTo>
                  <a:cubicBezTo>
                    <a:pt x="5237" y="1525"/>
                    <a:pt x="5240" y="1443"/>
                    <a:pt x="5246" y="1385"/>
                  </a:cubicBezTo>
                  <a:cubicBezTo>
                    <a:pt x="5247" y="1366"/>
                    <a:pt x="5249" y="1346"/>
                    <a:pt x="5251" y="1327"/>
                  </a:cubicBezTo>
                  <a:cubicBezTo>
                    <a:pt x="5257" y="1256"/>
                    <a:pt x="5260" y="1150"/>
                    <a:pt x="5260" y="1050"/>
                  </a:cubicBezTo>
                  <a:cubicBezTo>
                    <a:pt x="5260" y="1040"/>
                    <a:pt x="5260" y="1040"/>
                    <a:pt x="5260" y="1040"/>
                  </a:cubicBezTo>
                  <a:cubicBezTo>
                    <a:pt x="5260" y="1038"/>
                    <a:pt x="5260" y="1036"/>
                    <a:pt x="5260" y="1034"/>
                  </a:cubicBezTo>
                  <a:cubicBezTo>
                    <a:pt x="5260" y="1009"/>
                    <a:pt x="5259" y="983"/>
                    <a:pt x="5259" y="957"/>
                  </a:cubicBezTo>
                  <a:cubicBezTo>
                    <a:pt x="5259" y="911"/>
                    <a:pt x="5257" y="867"/>
                    <a:pt x="5255" y="826"/>
                  </a:cubicBezTo>
                  <a:cubicBezTo>
                    <a:pt x="5254" y="806"/>
                    <a:pt x="5253" y="788"/>
                    <a:pt x="5252" y="771"/>
                  </a:cubicBezTo>
                  <a:cubicBezTo>
                    <a:pt x="5251" y="754"/>
                    <a:pt x="5249" y="736"/>
                    <a:pt x="5248" y="723"/>
                  </a:cubicBezTo>
                  <a:cubicBezTo>
                    <a:pt x="5246" y="707"/>
                    <a:pt x="5244" y="685"/>
                    <a:pt x="5243" y="664"/>
                  </a:cubicBezTo>
                  <a:cubicBezTo>
                    <a:pt x="5240" y="629"/>
                    <a:pt x="5238" y="587"/>
                    <a:pt x="5237" y="542"/>
                  </a:cubicBezTo>
                  <a:cubicBezTo>
                    <a:pt x="5236" y="495"/>
                    <a:pt x="5235" y="444"/>
                    <a:pt x="5235" y="393"/>
                  </a:cubicBezTo>
                  <a:cubicBezTo>
                    <a:pt x="5232" y="393"/>
                    <a:pt x="5232" y="393"/>
                    <a:pt x="5232" y="393"/>
                  </a:cubicBezTo>
                  <a:cubicBezTo>
                    <a:pt x="5232" y="419"/>
                    <a:pt x="5231" y="446"/>
                    <a:pt x="5231" y="4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6B5AD07-8AB5-451B-BF11-A7AD39392140}"/>
              </a:ext>
            </a:extLst>
          </p:cNvPr>
          <p:cNvGrpSpPr/>
          <p:nvPr userDrawn="1"/>
        </p:nvGrpSpPr>
        <p:grpSpPr>
          <a:xfrm>
            <a:off x="4038600" y="2403132"/>
            <a:ext cx="4114800" cy="2051736"/>
            <a:chOff x="4370388" y="5081588"/>
            <a:chExt cx="4114800" cy="2051736"/>
          </a:xfrm>
        </p:grpSpPr>
        <p:sp>
          <p:nvSpPr>
            <p:cNvPr id="6" name="Freeform 23">
              <a:extLst>
                <a:ext uri="{FF2B5EF4-FFF2-40B4-BE49-F238E27FC236}">
                  <a16:creationId xmlns:a16="http://schemas.microsoft.com/office/drawing/2014/main" id="{4B17D468-7155-40FF-9BF2-C3649D7EBB7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81588"/>
              <a:ext cx="4114800" cy="2051736"/>
            </a:xfrm>
            <a:custGeom>
              <a:avLst/>
              <a:gdLst>
                <a:gd name="T0" fmla="*/ 1206 w 1231"/>
                <a:gd name="T1" fmla="*/ 36 h 613"/>
                <a:gd name="T2" fmla="*/ 1174 w 1231"/>
                <a:gd name="T3" fmla="*/ 11 h 613"/>
                <a:gd name="T4" fmla="*/ 1018 w 1231"/>
                <a:gd name="T5" fmla="*/ 4 h 613"/>
                <a:gd name="T6" fmla="*/ 994 w 1231"/>
                <a:gd name="T7" fmla="*/ 23 h 613"/>
                <a:gd name="T8" fmla="*/ 825 w 1231"/>
                <a:gd name="T9" fmla="*/ 179 h 613"/>
                <a:gd name="T10" fmla="*/ 605 w 1231"/>
                <a:gd name="T11" fmla="*/ 261 h 613"/>
                <a:gd name="T12" fmla="*/ 397 w 1231"/>
                <a:gd name="T13" fmla="*/ 172 h 613"/>
                <a:gd name="T14" fmla="*/ 262 w 1231"/>
                <a:gd name="T15" fmla="*/ 46 h 613"/>
                <a:gd name="T16" fmla="*/ 155 w 1231"/>
                <a:gd name="T17" fmla="*/ 0 h 613"/>
                <a:gd name="T18" fmla="*/ 0 w 1231"/>
                <a:gd name="T19" fmla="*/ 25 h 613"/>
                <a:gd name="T20" fmla="*/ 0 w 1231"/>
                <a:gd name="T21" fmla="*/ 506 h 613"/>
                <a:gd name="T22" fmla="*/ 28 w 1231"/>
                <a:gd name="T23" fmla="*/ 580 h 613"/>
                <a:gd name="T24" fmla="*/ 64 w 1231"/>
                <a:gd name="T25" fmla="*/ 604 h 613"/>
                <a:gd name="T26" fmla="*/ 136 w 1231"/>
                <a:gd name="T27" fmla="*/ 613 h 613"/>
                <a:gd name="T28" fmla="*/ 205 w 1231"/>
                <a:gd name="T29" fmla="*/ 396 h 613"/>
                <a:gd name="T30" fmla="*/ 220 w 1231"/>
                <a:gd name="T31" fmla="*/ 364 h 613"/>
                <a:gd name="T32" fmla="*/ 264 w 1231"/>
                <a:gd name="T33" fmla="*/ 350 h 613"/>
                <a:gd name="T34" fmla="*/ 342 w 1231"/>
                <a:gd name="T35" fmla="*/ 383 h 613"/>
                <a:gd name="T36" fmla="*/ 452 w 1231"/>
                <a:gd name="T37" fmla="*/ 482 h 613"/>
                <a:gd name="T38" fmla="*/ 615 w 1231"/>
                <a:gd name="T39" fmla="*/ 575 h 613"/>
                <a:gd name="T40" fmla="*/ 709 w 1231"/>
                <a:gd name="T41" fmla="*/ 541 h 613"/>
                <a:gd name="T42" fmla="*/ 762 w 1231"/>
                <a:gd name="T43" fmla="*/ 497 h 613"/>
                <a:gd name="T44" fmla="*/ 886 w 1231"/>
                <a:gd name="T45" fmla="*/ 386 h 613"/>
                <a:gd name="T46" fmla="*/ 957 w 1231"/>
                <a:gd name="T47" fmla="*/ 351 h 613"/>
                <a:gd name="T48" fmla="*/ 974 w 1231"/>
                <a:gd name="T49" fmla="*/ 350 h 613"/>
                <a:gd name="T50" fmla="*/ 1010 w 1231"/>
                <a:gd name="T51" fmla="*/ 365 h 613"/>
                <a:gd name="T52" fmla="*/ 1027 w 1231"/>
                <a:gd name="T53" fmla="*/ 403 h 613"/>
                <a:gd name="T54" fmla="*/ 1065 w 1231"/>
                <a:gd name="T55" fmla="*/ 589 h 613"/>
                <a:gd name="T56" fmla="*/ 1154 w 1231"/>
                <a:gd name="T57" fmla="*/ 613 h 613"/>
                <a:gd name="T58" fmla="*/ 1231 w 1231"/>
                <a:gd name="T59" fmla="*/ 116 h 613"/>
                <a:gd name="T60" fmla="*/ 65 w 1231"/>
                <a:gd name="T61" fmla="*/ 548 h 613"/>
                <a:gd name="T62" fmla="*/ 1130 w 1231"/>
                <a:gd name="T63" fmla="*/ 563 h 613"/>
                <a:gd name="T64" fmla="*/ 1076 w 1231"/>
                <a:gd name="T65" fmla="*/ 407 h 613"/>
                <a:gd name="T66" fmla="*/ 1048 w 1231"/>
                <a:gd name="T67" fmla="*/ 332 h 613"/>
                <a:gd name="T68" fmla="*/ 1003 w 1231"/>
                <a:gd name="T69" fmla="*/ 305 h 613"/>
                <a:gd name="T70" fmla="*/ 950 w 1231"/>
                <a:gd name="T71" fmla="*/ 302 h 613"/>
                <a:gd name="T72" fmla="*/ 856 w 1231"/>
                <a:gd name="T73" fmla="*/ 346 h 613"/>
                <a:gd name="T74" fmla="*/ 729 w 1231"/>
                <a:gd name="T75" fmla="*/ 461 h 613"/>
                <a:gd name="T76" fmla="*/ 681 w 1231"/>
                <a:gd name="T77" fmla="*/ 500 h 613"/>
                <a:gd name="T78" fmla="*/ 615 w 1231"/>
                <a:gd name="T79" fmla="*/ 526 h 613"/>
                <a:gd name="T80" fmla="*/ 485 w 1231"/>
                <a:gd name="T81" fmla="*/ 445 h 613"/>
                <a:gd name="T82" fmla="*/ 372 w 1231"/>
                <a:gd name="T83" fmla="*/ 344 h 613"/>
                <a:gd name="T84" fmla="*/ 267 w 1231"/>
                <a:gd name="T85" fmla="*/ 301 h 613"/>
                <a:gd name="T86" fmla="*/ 189 w 1231"/>
                <a:gd name="T87" fmla="*/ 327 h 613"/>
                <a:gd name="T88" fmla="*/ 164 w 1231"/>
                <a:gd name="T89" fmla="*/ 361 h 613"/>
                <a:gd name="T90" fmla="*/ 136 w 1231"/>
                <a:gd name="T91" fmla="*/ 563 h 613"/>
                <a:gd name="T92" fmla="*/ 70 w 1231"/>
                <a:gd name="T93" fmla="*/ 551 h 613"/>
                <a:gd name="T94" fmla="*/ 64 w 1231"/>
                <a:gd name="T95" fmla="*/ 546 h 613"/>
                <a:gd name="T96" fmla="*/ 50 w 1231"/>
                <a:gd name="T97" fmla="*/ 513 h 613"/>
                <a:gd name="T98" fmla="*/ 49 w 1231"/>
                <a:gd name="T99" fmla="*/ 366 h 613"/>
                <a:gd name="T100" fmla="*/ 149 w 1231"/>
                <a:gd name="T101" fmla="*/ 49 h 613"/>
                <a:gd name="T102" fmla="*/ 226 w 1231"/>
                <a:gd name="T103" fmla="*/ 80 h 613"/>
                <a:gd name="T104" fmla="*/ 329 w 1231"/>
                <a:gd name="T105" fmla="*/ 176 h 613"/>
                <a:gd name="T106" fmla="*/ 487 w 1231"/>
                <a:gd name="T107" fmla="*/ 287 h 613"/>
                <a:gd name="T108" fmla="*/ 759 w 1231"/>
                <a:gd name="T109" fmla="*/ 281 h 613"/>
                <a:gd name="T110" fmla="*/ 994 w 1231"/>
                <a:gd name="T111" fmla="*/ 91 h 613"/>
                <a:gd name="T112" fmla="*/ 1040 w 1231"/>
                <a:gd name="T113" fmla="*/ 49 h 613"/>
                <a:gd name="T114" fmla="*/ 1168 w 1231"/>
                <a:gd name="T115" fmla="*/ 67 h 613"/>
                <a:gd name="T116" fmla="*/ 1182 w 1231"/>
                <a:gd name="T117" fmla="*/ 116 h 613"/>
                <a:gd name="T118" fmla="*/ 1141 w 1231"/>
                <a:gd name="T119" fmla="*/ 563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1" h="613">
                  <a:moveTo>
                    <a:pt x="1231" y="110"/>
                  </a:moveTo>
                  <a:cubicBezTo>
                    <a:pt x="1231" y="108"/>
                    <a:pt x="1231" y="106"/>
                    <a:pt x="1231" y="104"/>
                  </a:cubicBezTo>
                  <a:cubicBezTo>
                    <a:pt x="1230" y="95"/>
                    <a:pt x="1229" y="86"/>
                    <a:pt x="1227" y="77"/>
                  </a:cubicBezTo>
                  <a:cubicBezTo>
                    <a:pt x="1225" y="68"/>
                    <a:pt x="1221" y="59"/>
                    <a:pt x="1216" y="51"/>
                  </a:cubicBezTo>
                  <a:cubicBezTo>
                    <a:pt x="1214" y="47"/>
                    <a:pt x="1211" y="43"/>
                    <a:pt x="1208" y="39"/>
                  </a:cubicBezTo>
                  <a:cubicBezTo>
                    <a:pt x="1207" y="38"/>
                    <a:pt x="1207" y="37"/>
                    <a:pt x="1206" y="36"/>
                  </a:cubicBezTo>
                  <a:cubicBezTo>
                    <a:pt x="1205" y="35"/>
                    <a:pt x="1205" y="35"/>
                    <a:pt x="1205" y="35"/>
                  </a:cubicBezTo>
                  <a:cubicBezTo>
                    <a:pt x="1203" y="33"/>
                    <a:pt x="1203" y="33"/>
                    <a:pt x="1203" y="33"/>
                  </a:cubicBezTo>
                  <a:cubicBezTo>
                    <a:pt x="1202" y="32"/>
                    <a:pt x="1202" y="31"/>
                    <a:pt x="1201" y="31"/>
                  </a:cubicBezTo>
                  <a:cubicBezTo>
                    <a:pt x="1199" y="29"/>
                    <a:pt x="1199" y="29"/>
                    <a:pt x="1199" y="29"/>
                  </a:cubicBezTo>
                  <a:cubicBezTo>
                    <a:pt x="1198" y="28"/>
                    <a:pt x="1198" y="28"/>
                    <a:pt x="1198" y="28"/>
                  </a:cubicBezTo>
                  <a:cubicBezTo>
                    <a:pt x="1191" y="21"/>
                    <a:pt x="1183" y="16"/>
                    <a:pt x="1174" y="11"/>
                  </a:cubicBezTo>
                  <a:cubicBezTo>
                    <a:pt x="1165" y="7"/>
                    <a:pt x="1156" y="4"/>
                    <a:pt x="1147" y="3"/>
                  </a:cubicBezTo>
                  <a:cubicBezTo>
                    <a:pt x="1138" y="1"/>
                    <a:pt x="1130" y="0"/>
                    <a:pt x="1121" y="0"/>
                  </a:cubicBezTo>
                  <a:cubicBezTo>
                    <a:pt x="1033" y="0"/>
                    <a:pt x="1033" y="0"/>
                    <a:pt x="1033" y="0"/>
                  </a:cubicBezTo>
                  <a:cubicBezTo>
                    <a:pt x="1033" y="0"/>
                    <a:pt x="1033" y="0"/>
                    <a:pt x="1033" y="0"/>
                  </a:cubicBezTo>
                  <a:cubicBezTo>
                    <a:pt x="1029" y="0"/>
                    <a:pt x="1025" y="1"/>
                    <a:pt x="1022" y="3"/>
                  </a:cubicBezTo>
                  <a:cubicBezTo>
                    <a:pt x="1020" y="3"/>
                    <a:pt x="1019" y="4"/>
                    <a:pt x="1018" y="4"/>
                  </a:cubicBezTo>
                  <a:cubicBezTo>
                    <a:pt x="1016" y="6"/>
                    <a:pt x="1016" y="6"/>
                    <a:pt x="1016" y="6"/>
                  </a:cubicBezTo>
                  <a:cubicBezTo>
                    <a:pt x="1014" y="7"/>
                    <a:pt x="1013" y="8"/>
                    <a:pt x="1011" y="9"/>
                  </a:cubicBezTo>
                  <a:cubicBezTo>
                    <a:pt x="1008" y="11"/>
                    <a:pt x="1005" y="13"/>
                    <a:pt x="1002" y="16"/>
                  </a:cubicBezTo>
                  <a:cubicBezTo>
                    <a:pt x="1000" y="17"/>
                    <a:pt x="999" y="18"/>
                    <a:pt x="997" y="20"/>
                  </a:cubicBezTo>
                  <a:cubicBezTo>
                    <a:pt x="996" y="21"/>
                    <a:pt x="996" y="21"/>
                    <a:pt x="996" y="21"/>
                  </a:cubicBezTo>
                  <a:cubicBezTo>
                    <a:pt x="994" y="23"/>
                    <a:pt x="994" y="23"/>
                    <a:pt x="994" y="23"/>
                  </a:cubicBezTo>
                  <a:cubicBezTo>
                    <a:pt x="987" y="29"/>
                    <a:pt x="987" y="29"/>
                    <a:pt x="987" y="29"/>
                  </a:cubicBezTo>
                  <a:cubicBezTo>
                    <a:pt x="960" y="55"/>
                    <a:pt x="960" y="55"/>
                    <a:pt x="960" y="55"/>
                  </a:cubicBezTo>
                  <a:cubicBezTo>
                    <a:pt x="906" y="105"/>
                    <a:pt x="906" y="105"/>
                    <a:pt x="906" y="105"/>
                  </a:cubicBezTo>
                  <a:cubicBezTo>
                    <a:pt x="852" y="155"/>
                    <a:pt x="852" y="155"/>
                    <a:pt x="852" y="155"/>
                  </a:cubicBezTo>
                  <a:cubicBezTo>
                    <a:pt x="838" y="168"/>
                    <a:pt x="838" y="168"/>
                    <a:pt x="838" y="168"/>
                  </a:cubicBezTo>
                  <a:cubicBezTo>
                    <a:pt x="834" y="172"/>
                    <a:pt x="830" y="176"/>
                    <a:pt x="825" y="179"/>
                  </a:cubicBezTo>
                  <a:cubicBezTo>
                    <a:pt x="816" y="187"/>
                    <a:pt x="807" y="194"/>
                    <a:pt x="798" y="201"/>
                  </a:cubicBezTo>
                  <a:cubicBezTo>
                    <a:pt x="779" y="215"/>
                    <a:pt x="759" y="226"/>
                    <a:pt x="738" y="236"/>
                  </a:cubicBezTo>
                  <a:cubicBezTo>
                    <a:pt x="718" y="246"/>
                    <a:pt x="696" y="252"/>
                    <a:pt x="674" y="256"/>
                  </a:cubicBezTo>
                  <a:cubicBezTo>
                    <a:pt x="663" y="258"/>
                    <a:pt x="651" y="259"/>
                    <a:pt x="640" y="260"/>
                  </a:cubicBezTo>
                  <a:cubicBezTo>
                    <a:pt x="634" y="260"/>
                    <a:pt x="628" y="260"/>
                    <a:pt x="623" y="261"/>
                  </a:cubicBezTo>
                  <a:cubicBezTo>
                    <a:pt x="617" y="261"/>
                    <a:pt x="611" y="261"/>
                    <a:pt x="605" y="261"/>
                  </a:cubicBezTo>
                  <a:cubicBezTo>
                    <a:pt x="582" y="260"/>
                    <a:pt x="559" y="257"/>
                    <a:pt x="537" y="252"/>
                  </a:cubicBezTo>
                  <a:cubicBezTo>
                    <a:pt x="526" y="249"/>
                    <a:pt x="516" y="246"/>
                    <a:pt x="505" y="242"/>
                  </a:cubicBezTo>
                  <a:cubicBezTo>
                    <a:pt x="495" y="238"/>
                    <a:pt x="484" y="232"/>
                    <a:pt x="474" y="227"/>
                  </a:cubicBezTo>
                  <a:cubicBezTo>
                    <a:pt x="454" y="216"/>
                    <a:pt x="435" y="203"/>
                    <a:pt x="416" y="189"/>
                  </a:cubicBezTo>
                  <a:cubicBezTo>
                    <a:pt x="412" y="185"/>
                    <a:pt x="408" y="181"/>
                    <a:pt x="403" y="177"/>
                  </a:cubicBezTo>
                  <a:cubicBezTo>
                    <a:pt x="401" y="176"/>
                    <a:pt x="399" y="174"/>
                    <a:pt x="397" y="172"/>
                  </a:cubicBezTo>
                  <a:cubicBezTo>
                    <a:pt x="390" y="166"/>
                    <a:pt x="390" y="166"/>
                    <a:pt x="390" y="166"/>
                  </a:cubicBezTo>
                  <a:cubicBezTo>
                    <a:pt x="363" y="140"/>
                    <a:pt x="363" y="140"/>
                    <a:pt x="363" y="140"/>
                  </a:cubicBezTo>
                  <a:cubicBezTo>
                    <a:pt x="309" y="90"/>
                    <a:pt x="309" y="90"/>
                    <a:pt x="309" y="90"/>
                  </a:cubicBezTo>
                  <a:cubicBezTo>
                    <a:pt x="282" y="65"/>
                    <a:pt x="282" y="65"/>
                    <a:pt x="282" y="65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2" y="46"/>
                    <a:pt x="262" y="46"/>
                    <a:pt x="262" y="46"/>
                  </a:cubicBezTo>
                  <a:cubicBezTo>
                    <a:pt x="261" y="45"/>
                    <a:pt x="261" y="45"/>
                    <a:pt x="261" y="45"/>
                  </a:cubicBezTo>
                  <a:cubicBezTo>
                    <a:pt x="259" y="43"/>
                    <a:pt x="259" y="43"/>
                    <a:pt x="259" y="43"/>
                  </a:cubicBezTo>
                  <a:cubicBezTo>
                    <a:pt x="258" y="42"/>
                    <a:pt x="256" y="40"/>
                    <a:pt x="255" y="39"/>
                  </a:cubicBezTo>
                  <a:cubicBezTo>
                    <a:pt x="244" y="29"/>
                    <a:pt x="231" y="21"/>
                    <a:pt x="218" y="15"/>
                  </a:cubicBezTo>
                  <a:cubicBezTo>
                    <a:pt x="204" y="8"/>
                    <a:pt x="190" y="4"/>
                    <a:pt x="176" y="2"/>
                  </a:cubicBezTo>
                  <a:cubicBezTo>
                    <a:pt x="169" y="1"/>
                    <a:pt x="162" y="1"/>
                    <a:pt x="155" y="0"/>
                  </a:cubicBezTo>
                  <a:cubicBezTo>
                    <a:pt x="153" y="0"/>
                    <a:pt x="151" y="0"/>
                    <a:pt x="150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494"/>
                    <a:pt x="0" y="494"/>
                    <a:pt x="0" y="494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03"/>
                    <a:pt x="0" y="503"/>
                    <a:pt x="0" y="503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10"/>
                    <a:pt x="0" y="514"/>
                    <a:pt x="1" y="519"/>
                  </a:cubicBezTo>
                  <a:cubicBezTo>
                    <a:pt x="2" y="527"/>
                    <a:pt x="4" y="536"/>
                    <a:pt x="7" y="545"/>
                  </a:cubicBezTo>
                  <a:cubicBezTo>
                    <a:pt x="10" y="554"/>
                    <a:pt x="14" y="562"/>
                    <a:pt x="20" y="570"/>
                  </a:cubicBezTo>
                  <a:cubicBezTo>
                    <a:pt x="21" y="572"/>
                    <a:pt x="22" y="574"/>
                    <a:pt x="24" y="576"/>
                  </a:cubicBezTo>
                  <a:cubicBezTo>
                    <a:pt x="25" y="576"/>
                    <a:pt x="26" y="577"/>
                    <a:pt x="26" y="578"/>
                  </a:cubicBezTo>
                  <a:cubicBezTo>
                    <a:pt x="28" y="580"/>
                    <a:pt x="28" y="580"/>
                    <a:pt x="28" y="580"/>
                  </a:cubicBezTo>
                  <a:cubicBezTo>
                    <a:pt x="29" y="581"/>
                    <a:pt x="29" y="581"/>
                    <a:pt x="29" y="581"/>
                  </a:cubicBezTo>
                  <a:cubicBezTo>
                    <a:pt x="30" y="582"/>
                    <a:pt x="30" y="582"/>
                    <a:pt x="30" y="582"/>
                  </a:cubicBezTo>
                  <a:cubicBezTo>
                    <a:pt x="31" y="583"/>
                    <a:pt x="31" y="583"/>
                    <a:pt x="31" y="583"/>
                  </a:cubicBezTo>
                  <a:cubicBezTo>
                    <a:pt x="32" y="584"/>
                    <a:pt x="33" y="585"/>
                    <a:pt x="34" y="586"/>
                  </a:cubicBezTo>
                  <a:cubicBezTo>
                    <a:pt x="36" y="587"/>
                    <a:pt x="37" y="589"/>
                    <a:pt x="39" y="590"/>
                  </a:cubicBezTo>
                  <a:cubicBezTo>
                    <a:pt x="47" y="596"/>
                    <a:pt x="55" y="601"/>
                    <a:pt x="64" y="604"/>
                  </a:cubicBezTo>
                  <a:cubicBezTo>
                    <a:pt x="73" y="608"/>
                    <a:pt x="81" y="610"/>
                    <a:pt x="90" y="611"/>
                  </a:cubicBezTo>
                  <a:cubicBezTo>
                    <a:pt x="94" y="612"/>
                    <a:pt x="99" y="612"/>
                    <a:pt x="103" y="612"/>
                  </a:cubicBezTo>
                  <a:cubicBezTo>
                    <a:pt x="106" y="613"/>
                    <a:pt x="106" y="613"/>
                    <a:pt x="106" y="613"/>
                  </a:cubicBezTo>
                  <a:cubicBezTo>
                    <a:pt x="109" y="613"/>
                    <a:pt x="109" y="613"/>
                    <a:pt x="109" y="613"/>
                  </a:cubicBezTo>
                  <a:cubicBezTo>
                    <a:pt x="115" y="613"/>
                    <a:pt x="115" y="613"/>
                    <a:pt x="115" y="613"/>
                  </a:cubicBezTo>
                  <a:cubicBezTo>
                    <a:pt x="136" y="613"/>
                    <a:pt x="136" y="613"/>
                    <a:pt x="136" y="613"/>
                  </a:cubicBezTo>
                  <a:cubicBezTo>
                    <a:pt x="179" y="613"/>
                    <a:pt x="179" y="613"/>
                    <a:pt x="179" y="613"/>
                  </a:cubicBezTo>
                  <a:cubicBezTo>
                    <a:pt x="193" y="613"/>
                    <a:pt x="204" y="602"/>
                    <a:pt x="204" y="588"/>
                  </a:cubicBezTo>
                  <a:cubicBezTo>
                    <a:pt x="204" y="414"/>
                    <a:pt x="204" y="414"/>
                    <a:pt x="204" y="41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204" y="407"/>
                    <a:pt x="204" y="405"/>
                    <a:pt x="204" y="404"/>
                  </a:cubicBezTo>
                  <a:cubicBezTo>
                    <a:pt x="204" y="401"/>
                    <a:pt x="204" y="398"/>
                    <a:pt x="205" y="396"/>
                  </a:cubicBezTo>
                  <a:cubicBezTo>
                    <a:pt x="205" y="391"/>
                    <a:pt x="207" y="386"/>
                    <a:pt x="209" y="381"/>
                  </a:cubicBezTo>
                  <a:cubicBezTo>
                    <a:pt x="211" y="377"/>
                    <a:pt x="213" y="372"/>
                    <a:pt x="217" y="369"/>
                  </a:cubicBezTo>
                  <a:cubicBezTo>
                    <a:pt x="217" y="368"/>
                    <a:pt x="217" y="368"/>
                    <a:pt x="218" y="367"/>
                  </a:cubicBezTo>
                  <a:cubicBezTo>
                    <a:pt x="218" y="367"/>
                    <a:pt x="218" y="367"/>
                    <a:pt x="218" y="367"/>
                  </a:cubicBezTo>
                  <a:cubicBezTo>
                    <a:pt x="219" y="366"/>
                    <a:pt x="219" y="366"/>
                    <a:pt x="219" y="366"/>
                  </a:cubicBezTo>
                  <a:cubicBezTo>
                    <a:pt x="220" y="364"/>
                    <a:pt x="220" y="364"/>
                    <a:pt x="220" y="364"/>
                  </a:cubicBezTo>
                  <a:cubicBezTo>
                    <a:pt x="221" y="364"/>
                    <a:pt x="221" y="364"/>
                    <a:pt x="222" y="363"/>
                  </a:cubicBezTo>
                  <a:cubicBezTo>
                    <a:pt x="224" y="362"/>
                    <a:pt x="226" y="360"/>
                    <a:pt x="228" y="359"/>
                  </a:cubicBezTo>
                  <a:cubicBezTo>
                    <a:pt x="235" y="353"/>
                    <a:pt x="245" y="350"/>
                    <a:pt x="256" y="350"/>
                  </a:cubicBezTo>
                  <a:cubicBezTo>
                    <a:pt x="258" y="350"/>
                    <a:pt x="258" y="350"/>
                    <a:pt x="258" y="350"/>
                  </a:cubicBezTo>
                  <a:cubicBezTo>
                    <a:pt x="260" y="350"/>
                    <a:pt x="260" y="350"/>
                    <a:pt x="260" y="350"/>
                  </a:cubicBezTo>
                  <a:cubicBezTo>
                    <a:pt x="261" y="350"/>
                    <a:pt x="263" y="350"/>
                    <a:pt x="264" y="350"/>
                  </a:cubicBezTo>
                  <a:cubicBezTo>
                    <a:pt x="267" y="350"/>
                    <a:pt x="270" y="350"/>
                    <a:pt x="273" y="351"/>
                  </a:cubicBezTo>
                  <a:cubicBezTo>
                    <a:pt x="279" y="352"/>
                    <a:pt x="284" y="353"/>
                    <a:pt x="290" y="355"/>
                  </a:cubicBezTo>
                  <a:cubicBezTo>
                    <a:pt x="296" y="357"/>
                    <a:pt x="301" y="359"/>
                    <a:pt x="307" y="362"/>
                  </a:cubicBezTo>
                  <a:cubicBezTo>
                    <a:pt x="313" y="365"/>
                    <a:pt x="318" y="368"/>
                    <a:pt x="324" y="371"/>
                  </a:cubicBezTo>
                  <a:cubicBezTo>
                    <a:pt x="330" y="375"/>
                    <a:pt x="335" y="378"/>
                    <a:pt x="340" y="382"/>
                  </a:cubicBezTo>
                  <a:cubicBezTo>
                    <a:pt x="342" y="383"/>
                    <a:pt x="342" y="383"/>
                    <a:pt x="342" y="383"/>
                  </a:cubicBezTo>
                  <a:cubicBezTo>
                    <a:pt x="344" y="385"/>
                    <a:pt x="344" y="385"/>
                    <a:pt x="344" y="385"/>
                  </a:cubicBezTo>
                  <a:cubicBezTo>
                    <a:pt x="348" y="388"/>
                    <a:pt x="348" y="388"/>
                    <a:pt x="348" y="388"/>
                  </a:cubicBezTo>
                  <a:cubicBezTo>
                    <a:pt x="351" y="390"/>
                    <a:pt x="354" y="392"/>
                    <a:pt x="357" y="395"/>
                  </a:cubicBezTo>
                  <a:cubicBezTo>
                    <a:pt x="367" y="403"/>
                    <a:pt x="378" y="412"/>
                    <a:pt x="387" y="422"/>
                  </a:cubicBezTo>
                  <a:cubicBezTo>
                    <a:pt x="398" y="432"/>
                    <a:pt x="409" y="443"/>
                    <a:pt x="420" y="453"/>
                  </a:cubicBezTo>
                  <a:cubicBezTo>
                    <a:pt x="431" y="462"/>
                    <a:pt x="441" y="472"/>
                    <a:pt x="452" y="482"/>
                  </a:cubicBezTo>
                  <a:cubicBezTo>
                    <a:pt x="468" y="496"/>
                    <a:pt x="468" y="496"/>
                    <a:pt x="468" y="496"/>
                  </a:cubicBezTo>
                  <a:cubicBezTo>
                    <a:pt x="476" y="504"/>
                    <a:pt x="476" y="504"/>
                    <a:pt x="476" y="504"/>
                  </a:cubicBezTo>
                  <a:cubicBezTo>
                    <a:pt x="479" y="506"/>
                    <a:pt x="482" y="509"/>
                    <a:pt x="485" y="511"/>
                  </a:cubicBezTo>
                  <a:cubicBezTo>
                    <a:pt x="496" y="521"/>
                    <a:pt x="508" y="531"/>
                    <a:pt x="520" y="540"/>
                  </a:cubicBezTo>
                  <a:cubicBezTo>
                    <a:pt x="533" y="549"/>
                    <a:pt x="547" y="558"/>
                    <a:pt x="563" y="564"/>
                  </a:cubicBezTo>
                  <a:cubicBezTo>
                    <a:pt x="579" y="571"/>
                    <a:pt x="597" y="575"/>
                    <a:pt x="615" y="575"/>
                  </a:cubicBezTo>
                  <a:cubicBezTo>
                    <a:pt x="632" y="575"/>
                    <a:pt x="650" y="572"/>
                    <a:pt x="667" y="565"/>
                  </a:cubicBezTo>
                  <a:cubicBezTo>
                    <a:pt x="670" y="563"/>
                    <a:pt x="670" y="563"/>
                    <a:pt x="670" y="563"/>
                  </a:cubicBezTo>
                  <a:cubicBezTo>
                    <a:pt x="673" y="562"/>
                    <a:pt x="673" y="562"/>
                    <a:pt x="673" y="562"/>
                  </a:cubicBezTo>
                  <a:cubicBezTo>
                    <a:pt x="675" y="561"/>
                    <a:pt x="676" y="560"/>
                    <a:pt x="678" y="559"/>
                  </a:cubicBezTo>
                  <a:cubicBezTo>
                    <a:pt x="682" y="558"/>
                    <a:pt x="686" y="556"/>
                    <a:pt x="689" y="554"/>
                  </a:cubicBezTo>
                  <a:cubicBezTo>
                    <a:pt x="696" y="550"/>
                    <a:pt x="703" y="545"/>
                    <a:pt x="709" y="541"/>
                  </a:cubicBezTo>
                  <a:cubicBezTo>
                    <a:pt x="711" y="539"/>
                    <a:pt x="713" y="538"/>
                    <a:pt x="714" y="537"/>
                  </a:cubicBezTo>
                  <a:cubicBezTo>
                    <a:pt x="719" y="533"/>
                    <a:pt x="719" y="533"/>
                    <a:pt x="719" y="533"/>
                  </a:cubicBezTo>
                  <a:cubicBezTo>
                    <a:pt x="722" y="531"/>
                    <a:pt x="725" y="529"/>
                    <a:pt x="728" y="526"/>
                  </a:cubicBezTo>
                  <a:cubicBezTo>
                    <a:pt x="734" y="522"/>
                    <a:pt x="739" y="517"/>
                    <a:pt x="745" y="512"/>
                  </a:cubicBezTo>
                  <a:cubicBezTo>
                    <a:pt x="748" y="509"/>
                    <a:pt x="751" y="507"/>
                    <a:pt x="754" y="504"/>
                  </a:cubicBezTo>
                  <a:cubicBezTo>
                    <a:pt x="762" y="497"/>
                    <a:pt x="762" y="497"/>
                    <a:pt x="762" y="497"/>
                  </a:cubicBezTo>
                  <a:cubicBezTo>
                    <a:pt x="778" y="482"/>
                    <a:pt x="778" y="482"/>
                    <a:pt x="778" y="482"/>
                  </a:cubicBezTo>
                  <a:cubicBezTo>
                    <a:pt x="789" y="472"/>
                    <a:pt x="799" y="463"/>
                    <a:pt x="810" y="453"/>
                  </a:cubicBezTo>
                  <a:cubicBezTo>
                    <a:pt x="821" y="443"/>
                    <a:pt x="832" y="433"/>
                    <a:pt x="843" y="423"/>
                  </a:cubicBezTo>
                  <a:cubicBezTo>
                    <a:pt x="853" y="413"/>
                    <a:pt x="863" y="404"/>
                    <a:pt x="873" y="395"/>
                  </a:cubicBezTo>
                  <a:cubicBezTo>
                    <a:pt x="876" y="393"/>
                    <a:pt x="879" y="391"/>
                    <a:pt x="881" y="389"/>
                  </a:cubicBezTo>
                  <a:cubicBezTo>
                    <a:pt x="886" y="386"/>
                    <a:pt x="886" y="386"/>
                    <a:pt x="886" y="386"/>
                  </a:cubicBezTo>
                  <a:cubicBezTo>
                    <a:pt x="890" y="383"/>
                    <a:pt x="890" y="383"/>
                    <a:pt x="890" y="383"/>
                  </a:cubicBezTo>
                  <a:cubicBezTo>
                    <a:pt x="895" y="379"/>
                    <a:pt x="900" y="375"/>
                    <a:pt x="906" y="372"/>
                  </a:cubicBezTo>
                  <a:cubicBezTo>
                    <a:pt x="912" y="368"/>
                    <a:pt x="917" y="365"/>
                    <a:pt x="923" y="362"/>
                  </a:cubicBezTo>
                  <a:cubicBezTo>
                    <a:pt x="926" y="361"/>
                    <a:pt x="929" y="359"/>
                    <a:pt x="932" y="358"/>
                  </a:cubicBezTo>
                  <a:cubicBezTo>
                    <a:pt x="935" y="357"/>
                    <a:pt x="937" y="356"/>
                    <a:pt x="940" y="355"/>
                  </a:cubicBezTo>
                  <a:cubicBezTo>
                    <a:pt x="946" y="353"/>
                    <a:pt x="951" y="352"/>
                    <a:pt x="957" y="351"/>
                  </a:cubicBezTo>
                  <a:cubicBezTo>
                    <a:pt x="960" y="350"/>
                    <a:pt x="963" y="350"/>
                    <a:pt x="966" y="350"/>
                  </a:cubicBezTo>
                  <a:cubicBezTo>
                    <a:pt x="968" y="350"/>
                    <a:pt x="968" y="350"/>
                    <a:pt x="968" y="350"/>
                  </a:cubicBezTo>
                  <a:cubicBezTo>
                    <a:pt x="970" y="350"/>
                    <a:pt x="970" y="350"/>
                    <a:pt x="970" y="350"/>
                  </a:cubicBezTo>
                  <a:cubicBezTo>
                    <a:pt x="971" y="350"/>
                    <a:pt x="971" y="350"/>
                    <a:pt x="971" y="350"/>
                  </a:cubicBezTo>
                  <a:cubicBezTo>
                    <a:pt x="972" y="350"/>
                    <a:pt x="972" y="350"/>
                    <a:pt x="972" y="350"/>
                  </a:cubicBezTo>
                  <a:cubicBezTo>
                    <a:pt x="974" y="350"/>
                    <a:pt x="974" y="350"/>
                    <a:pt x="974" y="350"/>
                  </a:cubicBezTo>
                  <a:cubicBezTo>
                    <a:pt x="985" y="350"/>
                    <a:pt x="995" y="353"/>
                    <a:pt x="1003" y="358"/>
                  </a:cubicBezTo>
                  <a:cubicBezTo>
                    <a:pt x="1005" y="360"/>
                    <a:pt x="1007" y="361"/>
                    <a:pt x="1008" y="363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5"/>
                    <a:pt x="1010" y="365"/>
                    <a:pt x="1010" y="365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12" y="367"/>
                    <a:pt x="1012" y="367"/>
                    <a:pt x="1012" y="367"/>
                  </a:cubicBezTo>
                  <a:cubicBezTo>
                    <a:pt x="1013" y="367"/>
                    <a:pt x="1013" y="368"/>
                    <a:pt x="1014" y="368"/>
                  </a:cubicBezTo>
                  <a:cubicBezTo>
                    <a:pt x="1017" y="372"/>
                    <a:pt x="1020" y="376"/>
                    <a:pt x="1022" y="381"/>
                  </a:cubicBezTo>
                  <a:cubicBezTo>
                    <a:pt x="1024" y="385"/>
                    <a:pt x="1025" y="390"/>
                    <a:pt x="1026" y="395"/>
                  </a:cubicBezTo>
                  <a:cubicBezTo>
                    <a:pt x="1026" y="398"/>
                    <a:pt x="1027" y="401"/>
                    <a:pt x="1027" y="403"/>
                  </a:cubicBezTo>
                  <a:cubicBezTo>
                    <a:pt x="1027" y="405"/>
                    <a:pt x="1027" y="406"/>
                    <a:pt x="1027" y="408"/>
                  </a:cubicBezTo>
                  <a:cubicBezTo>
                    <a:pt x="1027" y="413"/>
                    <a:pt x="1027" y="413"/>
                    <a:pt x="1027" y="413"/>
                  </a:cubicBezTo>
                  <a:cubicBezTo>
                    <a:pt x="1027" y="500"/>
                    <a:pt x="1027" y="500"/>
                    <a:pt x="1027" y="500"/>
                  </a:cubicBezTo>
                  <a:cubicBezTo>
                    <a:pt x="1027" y="510"/>
                    <a:pt x="1028" y="521"/>
                    <a:pt x="1030" y="532"/>
                  </a:cubicBezTo>
                  <a:cubicBezTo>
                    <a:pt x="1033" y="543"/>
                    <a:pt x="1037" y="553"/>
                    <a:pt x="1042" y="563"/>
                  </a:cubicBezTo>
                  <a:cubicBezTo>
                    <a:pt x="1048" y="573"/>
                    <a:pt x="1056" y="582"/>
                    <a:pt x="1065" y="589"/>
                  </a:cubicBezTo>
                  <a:cubicBezTo>
                    <a:pt x="1074" y="597"/>
                    <a:pt x="1084" y="602"/>
                    <a:pt x="1095" y="606"/>
                  </a:cubicBezTo>
                  <a:cubicBezTo>
                    <a:pt x="1106" y="609"/>
                    <a:pt x="1116" y="611"/>
                    <a:pt x="1127" y="612"/>
                  </a:cubicBezTo>
                  <a:cubicBezTo>
                    <a:pt x="1129" y="612"/>
                    <a:pt x="1132" y="613"/>
                    <a:pt x="1134" y="613"/>
                  </a:cubicBezTo>
                  <a:cubicBezTo>
                    <a:pt x="1138" y="613"/>
                    <a:pt x="1138" y="613"/>
                    <a:pt x="1138" y="613"/>
                  </a:cubicBezTo>
                  <a:cubicBezTo>
                    <a:pt x="1141" y="613"/>
                    <a:pt x="1141" y="613"/>
                    <a:pt x="1141" y="613"/>
                  </a:cubicBezTo>
                  <a:cubicBezTo>
                    <a:pt x="1154" y="613"/>
                    <a:pt x="1154" y="613"/>
                    <a:pt x="1154" y="613"/>
                  </a:cubicBezTo>
                  <a:cubicBezTo>
                    <a:pt x="1206" y="613"/>
                    <a:pt x="1206" y="613"/>
                    <a:pt x="1206" y="613"/>
                  </a:cubicBezTo>
                  <a:cubicBezTo>
                    <a:pt x="1220" y="613"/>
                    <a:pt x="1231" y="602"/>
                    <a:pt x="1231" y="588"/>
                  </a:cubicBezTo>
                  <a:cubicBezTo>
                    <a:pt x="1231" y="237"/>
                    <a:pt x="1231" y="237"/>
                    <a:pt x="1231" y="237"/>
                  </a:cubicBezTo>
                  <a:cubicBezTo>
                    <a:pt x="1231" y="149"/>
                    <a:pt x="1231" y="149"/>
                    <a:pt x="1231" y="149"/>
                  </a:cubicBezTo>
                  <a:cubicBezTo>
                    <a:pt x="1231" y="127"/>
                    <a:pt x="1231" y="127"/>
                    <a:pt x="1231" y="127"/>
                  </a:cubicBezTo>
                  <a:cubicBezTo>
                    <a:pt x="1231" y="116"/>
                    <a:pt x="1231" y="116"/>
                    <a:pt x="1231" y="116"/>
                  </a:cubicBezTo>
                  <a:lnTo>
                    <a:pt x="1231" y="110"/>
                  </a:lnTo>
                  <a:close/>
                  <a:moveTo>
                    <a:pt x="65" y="547"/>
                  </a:moveTo>
                  <a:cubicBezTo>
                    <a:pt x="65" y="547"/>
                    <a:pt x="65" y="547"/>
                    <a:pt x="65" y="547"/>
                  </a:cubicBezTo>
                  <a:cubicBezTo>
                    <a:pt x="65" y="547"/>
                    <a:pt x="65" y="547"/>
                    <a:pt x="65" y="547"/>
                  </a:cubicBezTo>
                  <a:close/>
                  <a:moveTo>
                    <a:pt x="65" y="547"/>
                  </a:moveTo>
                  <a:cubicBezTo>
                    <a:pt x="65" y="548"/>
                    <a:pt x="65" y="548"/>
                    <a:pt x="65" y="548"/>
                  </a:cubicBezTo>
                  <a:lnTo>
                    <a:pt x="65" y="547"/>
                  </a:lnTo>
                  <a:close/>
                  <a:moveTo>
                    <a:pt x="1141" y="563"/>
                  </a:moveTo>
                  <a:cubicBezTo>
                    <a:pt x="1138" y="563"/>
                    <a:pt x="1138" y="563"/>
                    <a:pt x="1138" y="563"/>
                  </a:cubicBezTo>
                  <a:cubicBezTo>
                    <a:pt x="1137" y="563"/>
                    <a:pt x="1137" y="563"/>
                    <a:pt x="1137" y="563"/>
                  </a:cubicBezTo>
                  <a:cubicBezTo>
                    <a:pt x="1136" y="563"/>
                    <a:pt x="1136" y="563"/>
                    <a:pt x="1136" y="563"/>
                  </a:cubicBezTo>
                  <a:cubicBezTo>
                    <a:pt x="1134" y="563"/>
                    <a:pt x="1132" y="563"/>
                    <a:pt x="1130" y="563"/>
                  </a:cubicBezTo>
                  <a:cubicBezTo>
                    <a:pt x="1124" y="562"/>
                    <a:pt x="1117" y="561"/>
                    <a:pt x="1111" y="559"/>
                  </a:cubicBezTo>
                  <a:cubicBezTo>
                    <a:pt x="1106" y="557"/>
                    <a:pt x="1101" y="554"/>
                    <a:pt x="1096" y="551"/>
                  </a:cubicBezTo>
                  <a:cubicBezTo>
                    <a:pt x="1092" y="547"/>
                    <a:pt x="1088" y="543"/>
                    <a:pt x="1085" y="538"/>
                  </a:cubicBezTo>
                  <a:cubicBezTo>
                    <a:pt x="1079" y="528"/>
                    <a:pt x="1076" y="514"/>
                    <a:pt x="1076" y="500"/>
                  </a:cubicBezTo>
                  <a:cubicBezTo>
                    <a:pt x="1076" y="413"/>
                    <a:pt x="1076" y="413"/>
                    <a:pt x="1076" y="413"/>
                  </a:cubicBezTo>
                  <a:cubicBezTo>
                    <a:pt x="1076" y="407"/>
                    <a:pt x="1076" y="407"/>
                    <a:pt x="1076" y="407"/>
                  </a:cubicBezTo>
                  <a:cubicBezTo>
                    <a:pt x="1076" y="406"/>
                    <a:pt x="1076" y="403"/>
                    <a:pt x="1076" y="401"/>
                  </a:cubicBezTo>
                  <a:cubicBezTo>
                    <a:pt x="1076" y="396"/>
                    <a:pt x="1075" y="392"/>
                    <a:pt x="1075" y="387"/>
                  </a:cubicBezTo>
                  <a:cubicBezTo>
                    <a:pt x="1073" y="378"/>
                    <a:pt x="1071" y="369"/>
                    <a:pt x="1067" y="360"/>
                  </a:cubicBezTo>
                  <a:cubicBezTo>
                    <a:pt x="1063" y="351"/>
                    <a:pt x="1057" y="343"/>
                    <a:pt x="1051" y="336"/>
                  </a:cubicBezTo>
                  <a:cubicBezTo>
                    <a:pt x="1050" y="335"/>
                    <a:pt x="1050" y="334"/>
                    <a:pt x="1049" y="333"/>
                  </a:cubicBezTo>
                  <a:cubicBezTo>
                    <a:pt x="1048" y="332"/>
                    <a:pt x="1048" y="332"/>
                    <a:pt x="1048" y="332"/>
                  </a:cubicBezTo>
                  <a:cubicBezTo>
                    <a:pt x="1046" y="331"/>
                    <a:pt x="1046" y="331"/>
                    <a:pt x="1046" y="331"/>
                  </a:cubicBezTo>
                  <a:cubicBezTo>
                    <a:pt x="1045" y="330"/>
                    <a:pt x="1045" y="330"/>
                    <a:pt x="1045" y="330"/>
                  </a:cubicBezTo>
                  <a:cubicBezTo>
                    <a:pt x="1044" y="328"/>
                    <a:pt x="1044" y="328"/>
                    <a:pt x="1044" y="328"/>
                  </a:cubicBezTo>
                  <a:cubicBezTo>
                    <a:pt x="1043" y="327"/>
                    <a:pt x="1042" y="327"/>
                    <a:pt x="1041" y="326"/>
                  </a:cubicBezTo>
                  <a:cubicBezTo>
                    <a:pt x="1038" y="323"/>
                    <a:pt x="1034" y="320"/>
                    <a:pt x="1030" y="317"/>
                  </a:cubicBezTo>
                  <a:cubicBezTo>
                    <a:pt x="1022" y="312"/>
                    <a:pt x="1013" y="308"/>
                    <a:pt x="1003" y="305"/>
                  </a:cubicBezTo>
                  <a:cubicBezTo>
                    <a:pt x="994" y="302"/>
                    <a:pt x="985" y="301"/>
                    <a:pt x="976" y="301"/>
                  </a:cubicBezTo>
                  <a:cubicBezTo>
                    <a:pt x="975" y="301"/>
                    <a:pt x="974" y="300"/>
                    <a:pt x="973" y="300"/>
                  </a:cubicBezTo>
                  <a:cubicBezTo>
                    <a:pt x="969" y="300"/>
                    <a:pt x="969" y="300"/>
                    <a:pt x="969" y="300"/>
                  </a:cubicBezTo>
                  <a:cubicBezTo>
                    <a:pt x="966" y="301"/>
                    <a:pt x="966" y="301"/>
                    <a:pt x="966" y="301"/>
                  </a:cubicBezTo>
                  <a:cubicBezTo>
                    <a:pt x="963" y="301"/>
                    <a:pt x="963" y="301"/>
                    <a:pt x="963" y="301"/>
                  </a:cubicBezTo>
                  <a:cubicBezTo>
                    <a:pt x="958" y="301"/>
                    <a:pt x="954" y="301"/>
                    <a:pt x="950" y="302"/>
                  </a:cubicBezTo>
                  <a:cubicBezTo>
                    <a:pt x="941" y="303"/>
                    <a:pt x="933" y="305"/>
                    <a:pt x="924" y="308"/>
                  </a:cubicBezTo>
                  <a:cubicBezTo>
                    <a:pt x="920" y="310"/>
                    <a:pt x="916" y="311"/>
                    <a:pt x="912" y="313"/>
                  </a:cubicBezTo>
                  <a:cubicBezTo>
                    <a:pt x="908" y="315"/>
                    <a:pt x="905" y="316"/>
                    <a:pt x="901" y="318"/>
                  </a:cubicBezTo>
                  <a:cubicBezTo>
                    <a:pt x="894" y="321"/>
                    <a:pt x="887" y="325"/>
                    <a:pt x="880" y="329"/>
                  </a:cubicBezTo>
                  <a:cubicBezTo>
                    <a:pt x="873" y="334"/>
                    <a:pt x="867" y="338"/>
                    <a:pt x="860" y="343"/>
                  </a:cubicBezTo>
                  <a:cubicBezTo>
                    <a:pt x="856" y="346"/>
                    <a:pt x="856" y="346"/>
                    <a:pt x="856" y="346"/>
                  </a:cubicBezTo>
                  <a:cubicBezTo>
                    <a:pt x="851" y="350"/>
                    <a:pt x="851" y="350"/>
                    <a:pt x="851" y="350"/>
                  </a:cubicBezTo>
                  <a:cubicBezTo>
                    <a:pt x="848" y="352"/>
                    <a:pt x="845" y="354"/>
                    <a:pt x="842" y="357"/>
                  </a:cubicBezTo>
                  <a:cubicBezTo>
                    <a:pt x="830" y="366"/>
                    <a:pt x="819" y="377"/>
                    <a:pt x="808" y="387"/>
                  </a:cubicBezTo>
                  <a:cubicBezTo>
                    <a:pt x="798" y="397"/>
                    <a:pt x="788" y="407"/>
                    <a:pt x="777" y="416"/>
                  </a:cubicBezTo>
                  <a:cubicBezTo>
                    <a:pt x="766" y="426"/>
                    <a:pt x="755" y="436"/>
                    <a:pt x="745" y="446"/>
                  </a:cubicBezTo>
                  <a:cubicBezTo>
                    <a:pt x="729" y="461"/>
                    <a:pt x="729" y="461"/>
                    <a:pt x="729" y="461"/>
                  </a:cubicBezTo>
                  <a:cubicBezTo>
                    <a:pt x="721" y="468"/>
                    <a:pt x="721" y="468"/>
                    <a:pt x="721" y="468"/>
                  </a:cubicBezTo>
                  <a:cubicBezTo>
                    <a:pt x="718" y="470"/>
                    <a:pt x="715" y="472"/>
                    <a:pt x="713" y="475"/>
                  </a:cubicBezTo>
                  <a:cubicBezTo>
                    <a:pt x="708" y="479"/>
                    <a:pt x="702" y="484"/>
                    <a:pt x="697" y="488"/>
                  </a:cubicBezTo>
                  <a:cubicBezTo>
                    <a:pt x="694" y="490"/>
                    <a:pt x="691" y="492"/>
                    <a:pt x="689" y="494"/>
                  </a:cubicBezTo>
                  <a:cubicBezTo>
                    <a:pt x="685" y="497"/>
                    <a:pt x="685" y="497"/>
                    <a:pt x="685" y="497"/>
                  </a:cubicBezTo>
                  <a:cubicBezTo>
                    <a:pt x="683" y="499"/>
                    <a:pt x="682" y="499"/>
                    <a:pt x="681" y="500"/>
                  </a:cubicBezTo>
                  <a:cubicBezTo>
                    <a:pt x="675" y="504"/>
                    <a:pt x="670" y="508"/>
                    <a:pt x="664" y="511"/>
                  </a:cubicBezTo>
                  <a:cubicBezTo>
                    <a:pt x="662" y="512"/>
                    <a:pt x="659" y="514"/>
                    <a:pt x="656" y="515"/>
                  </a:cubicBezTo>
                  <a:cubicBezTo>
                    <a:pt x="655" y="516"/>
                    <a:pt x="653" y="517"/>
                    <a:pt x="652" y="517"/>
                  </a:cubicBezTo>
                  <a:cubicBezTo>
                    <a:pt x="650" y="518"/>
                    <a:pt x="650" y="518"/>
                    <a:pt x="650" y="518"/>
                  </a:cubicBezTo>
                  <a:cubicBezTo>
                    <a:pt x="648" y="519"/>
                    <a:pt x="648" y="519"/>
                    <a:pt x="648" y="519"/>
                  </a:cubicBezTo>
                  <a:cubicBezTo>
                    <a:pt x="637" y="524"/>
                    <a:pt x="626" y="526"/>
                    <a:pt x="615" y="526"/>
                  </a:cubicBezTo>
                  <a:cubicBezTo>
                    <a:pt x="604" y="526"/>
                    <a:pt x="593" y="524"/>
                    <a:pt x="582" y="519"/>
                  </a:cubicBezTo>
                  <a:cubicBezTo>
                    <a:pt x="571" y="514"/>
                    <a:pt x="560" y="508"/>
                    <a:pt x="549" y="500"/>
                  </a:cubicBezTo>
                  <a:cubicBezTo>
                    <a:pt x="539" y="492"/>
                    <a:pt x="528" y="483"/>
                    <a:pt x="517" y="474"/>
                  </a:cubicBezTo>
                  <a:cubicBezTo>
                    <a:pt x="514" y="472"/>
                    <a:pt x="512" y="469"/>
                    <a:pt x="509" y="467"/>
                  </a:cubicBezTo>
                  <a:cubicBezTo>
                    <a:pt x="501" y="460"/>
                    <a:pt x="501" y="460"/>
                    <a:pt x="501" y="460"/>
                  </a:cubicBezTo>
                  <a:cubicBezTo>
                    <a:pt x="485" y="445"/>
                    <a:pt x="485" y="445"/>
                    <a:pt x="485" y="445"/>
                  </a:cubicBezTo>
                  <a:cubicBezTo>
                    <a:pt x="475" y="435"/>
                    <a:pt x="464" y="425"/>
                    <a:pt x="453" y="416"/>
                  </a:cubicBezTo>
                  <a:cubicBezTo>
                    <a:pt x="442" y="406"/>
                    <a:pt x="432" y="397"/>
                    <a:pt x="422" y="387"/>
                  </a:cubicBezTo>
                  <a:cubicBezTo>
                    <a:pt x="411" y="376"/>
                    <a:pt x="400" y="366"/>
                    <a:pt x="388" y="356"/>
                  </a:cubicBezTo>
                  <a:cubicBezTo>
                    <a:pt x="385" y="354"/>
                    <a:pt x="382" y="351"/>
                    <a:pt x="379" y="349"/>
                  </a:cubicBezTo>
                  <a:cubicBezTo>
                    <a:pt x="374" y="346"/>
                    <a:pt x="374" y="346"/>
                    <a:pt x="374" y="346"/>
                  </a:cubicBezTo>
                  <a:cubicBezTo>
                    <a:pt x="372" y="344"/>
                    <a:pt x="372" y="344"/>
                    <a:pt x="372" y="344"/>
                  </a:cubicBezTo>
                  <a:cubicBezTo>
                    <a:pt x="369" y="342"/>
                    <a:pt x="369" y="342"/>
                    <a:pt x="369" y="342"/>
                  </a:cubicBezTo>
                  <a:cubicBezTo>
                    <a:pt x="363" y="337"/>
                    <a:pt x="356" y="333"/>
                    <a:pt x="349" y="329"/>
                  </a:cubicBezTo>
                  <a:cubicBezTo>
                    <a:pt x="343" y="325"/>
                    <a:pt x="336" y="321"/>
                    <a:pt x="329" y="317"/>
                  </a:cubicBezTo>
                  <a:cubicBezTo>
                    <a:pt x="322" y="314"/>
                    <a:pt x="313" y="310"/>
                    <a:pt x="305" y="308"/>
                  </a:cubicBezTo>
                  <a:cubicBezTo>
                    <a:pt x="297" y="305"/>
                    <a:pt x="289" y="303"/>
                    <a:pt x="280" y="302"/>
                  </a:cubicBezTo>
                  <a:cubicBezTo>
                    <a:pt x="276" y="301"/>
                    <a:pt x="271" y="301"/>
                    <a:pt x="267" y="301"/>
                  </a:cubicBezTo>
                  <a:cubicBezTo>
                    <a:pt x="265" y="301"/>
                    <a:pt x="262" y="300"/>
                    <a:pt x="260" y="300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6" y="301"/>
                    <a:pt x="255" y="301"/>
                    <a:pt x="253" y="301"/>
                  </a:cubicBezTo>
                  <a:cubicBezTo>
                    <a:pt x="244" y="301"/>
                    <a:pt x="235" y="302"/>
                    <a:pt x="226" y="305"/>
                  </a:cubicBezTo>
                  <a:cubicBezTo>
                    <a:pt x="217" y="308"/>
                    <a:pt x="208" y="312"/>
                    <a:pt x="200" y="318"/>
                  </a:cubicBezTo>
                  <a:cubicBezTo>
                    <a:pt x="196" y="320"/>
                    <a:pt x="192" y="323"/>
                    <a:pt x="189" y="327"/>
                  </a:cubicBezTo>
                  <a:cubicBezTo>
                    <a:pt x="188" y="327"/>
                    <a:pt x="187" y="328"/>
                    <a:pt x="186" y="329"/>
                  </a:cubicBezTo>
                  <a:cubicBezTo>
                    <a:pt x="185" y="330"/>
                    <a:pt x="184" y="331"/>
                    <a:pt x="183" y="332"/>
                  </a:cubicBezTo>
                  <a:cubicBezTo>
                    <a:pt x="182" y="333"/>
                    <a:pt x="182" y="333"/>
                    <a:pt x="182" y="333"/>
                  </a:cubicBezTo>
                  <a:cubicBezTo>
                    <a:pt x="181" y="334"/>
                    <a:pt x="181" y="334"/>
                    <a:pt x="181" y="334"/>
                  </a:cubicBezTo>
                  <a:cubicBezTo>
                    <a:pt x="180" y="335"/>
                    <a:pt x="180" y="336"/>
                    <a:pt x="179" y="337"/>
                  </a:cubicBezTo>
                  <a:cubicBezTo>
                    <a:pt x="173" y="344"/>
                    <a:pt x="167" y="353"/>
                    <a:pt x="164" y="361"/>
                  </a:cubicBezTo>
                  <a:cubicBezTo>
                    <a:pt x="160" y="370"/>
                    <a:pt x="157" y="379"/>
                    <a:pt x="156" y="388"/>
                  </a:cubicBezTo>
                  <a:cubicBezTo>
                    <a:pt x="155" y="393"/>
                    <a:pt x="155" y="397"/>
                    <a:pt x="155" y="402"/>
                  </a:cubicBezTo>
                  <a:cubicBezTo>
                    <a:pt x="154" y="404"/>
                    <a:pt x="154" y="406"/>
                    <a:pt x="154" y="408"/>
                  </a:cubicBezTo>
                  <a:cubicBezTo>
                    <a:pt x="154" y="414"/>
                    <a:pt x="154" y="414"/>
                    <a:pt x="154" y="414"/>
                  </a:cubicBezTo>
                  <a:cubicBezTo>
                    <a:pt x="154" y="563"/>
                    <a:pt x="154" y="563"/>
                    <a:pt x="154" y="563"/>
                  </a:cubicBezTo>
                  <a:cubicBezTo>
                    <a:pt x="136" y="563"/>
                    <a:pt x="136" y="563"/>
                    <a:pt x="136" y="563"/>
                  </a:cubicBezTo>
                  <a:cubicBezTo>
                    <a:pt x="115" y="563"/>
                    <a:pt x="115" y="563"/>
                    <a:pt x="115" y="563"/>
                  </a:cubicBezTo>
                  <a:cubicBezTo>
                    <a:pt x="110" y="563"/>
                    <a:pt x="110" y="563"/>
                    <a:pt x="110" y="563"/>
                  </a:cubicBezTo>
                  <a:cubicBezTo>
                    <a:pt x="108" y="563"/>
                    <a:pt x="108" y="563"/>
                    <a:pt x="108" y="563"/>
                  </a:cubicBezTo>
                  <a:cubicBezTo>
                    <a:pt x="106" y="563"/>
                    <a:pt x="106" y="563"/>
                    <a:pt x="106" y="563"/>
                  </a:cubicBezTo>
                  <a:cubicBezTo>
                    <a:pt x="103" y="563"/>
                    <a:pt x="100" y="563"/>
                    <a:pt x="97" y="562"/>
                  </a:cubicBezTo>
                  <a:cubicBezTo>
                    <a:pt x="86" y="561"/>
                    <a:pt x="77" y="557"/>
                    <a:pt x="70" y="551"/>
                  </a:cubicBezTo>
                  <a:cubicBezTo>
                    <a:pt x="69" y="551"/>
                    <a:pt x="68" y="550"/>
                    <a:pt x="67" y="549"/>
                  </a:cubicBezTo>
                  <a:cubicBezTo>
                    <a:pt x="66" y="549"/>
                    <a:pt x="66" y="548"/>
                    <a:pt x="66" y="548"/>
                  </a:cubicBezTo>
                  <a:cubicBezTo>
                    <a:pt x="65" y="548"/>
                    <a:pt x="65" y="548"/>
                    <a:pt x="65" y="548"/>
                  </a:cubicBezTo>
                  <a:cubicBezTo>
                    <a:pt x="65" y="547"/>
                    <a:pt x="65" y="547"/>
                    <a:pt x="65" y="547"/>
                  </a:cubicBezTo>
                  <a:cubicBezTo>
                    <a:pt x="64" y="547"/>
                    <a:pt x="64" y="547"/>
                    <a:pt x="64" y="547"/>
                  </a:cubicBezTo>
                  <a:cubicBezTo>
                    <a:pt x="64" y="546"/>
                    <a:pt x="64" y="546"/>
                    <a:pt x="64" y="546"/>
                  </a:cubicBezTo>
                  <a:cubicBezTo>
                    <a:pt x="64" y="546"/>
                    <a:pt x="64" y="546"/>
                    <a:pt x="64" y="546"/>
                  </a:cubicBezTo>
                  <a:cubicBezTo>
                    <a:pt x="63" y="545"/>
                    <a:pt x="63" y="545"/>
                    <a:pt x="63" y="545"/>
                  </a:cubicBezTo>
                  <a:cubicBezTo>
                    <a:pt x="63" y="545"/>
                    <a:pt x="62" y="544"/>
                    <a:pt x="62" y="544"/>
                  </a:cubicBezTo>
                  <a:cubicBezTo>
                    <a:pt x="61" y="543"/>
                    <a:pt x="60" y="542"/>
                    <a:pt x="60" y="541"/>
                  </a:cubicBezTo>
                  <a:cubicBezTo>
                    <a:pt x="57" y="537"/>
                    <a:pt x="55" y="533"/>
                    <a:pt x="53" y="528"/>
                  </a:cubicBezTo>
                  <a:cubicBezTo>
                    <a:pt x="52" y="524"/>
                    <a:pt x="50" y="518"/>
                    <a:pt x="50" y="513"/>
                  </a:cubicBezTo>
                  <a:cubicBezTo>
                    <a:pt x="49" y="510"/>
                    <a:pt x="49" y="507"/>
                    <a:pt x="49" y="504"/>
                  </a:cubicBezTo>
                  <a:cubicBezTo>
                    <a:pt x="49" y="502"/>
                    <a:pt x="49" y="502"/>
                    <a:pt x="49" y="502"/>
                  </a:cubicBezTo>
                  <a:cubicBezTo>
                    <a:pt x="49" y="500"/>
                    <a:pt x="49" y="500"/>
                    <a:pt x="49" y="500"/>
                  </a:cubicBezTo>
                  <a:cubicBezTo>
                    <a:pt x="49" y="494"/>
                    <a:pt x="49" y="494"/>
                    <a:pt x="49" y="494"/>
                  </a:cubicBezTo>
                  <a:cubicBezTo>
                    <a:pt x="49" y="452"/>
                    <a:pt x="49" y="452"/>
                    <a:pt x="49" y="452"/>
                  </a:cubicBezTo>
                  <a:cubicBezTo>
                    <a:pt x="49" y="366"/>
                    <a:pt x="49" y="366"/>
                    <a:pt x="49" y="366"/>
                  </a:cubicBezTo>
                  <a:cubicBezTo>
                    <a:pt x="49" y="366"/>
                    <a:pt x="49" y="53"/>
                    <a:pt x="49" y="51"/>
                  </a:cubicBezTo>
                  <a:cubicBezTo>
                    <a:pt x="49" y="50"/>
                    <a:pt x="50" y="49"/>
                    <a:pt x="51" y="49"/>
                  </a:cubicBezTo>
                  <a:cubicBezTo>
                    <a:pt x="53" y="49"/>
                    <a:pt x="98" y="49"/>
                    <a:pt x="98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9" y="49"/>
                    <a:pt x="149" y="49"/>
                    <a:pt x="149" y="49"/>
                  </a:cubicBezTo>
                  <a:cubicBezTo>
                    <a:pt x="153" y="49"/>
                    <a:pt x="153" y="49"/>
                    <a:pt x="153" y="49"/>
                  </a:cubicBezTo>
                  <a:cubicBezTo>
                    <a:pt x="158" y="50"/>
                    <a:pt x="163" y="50"/>
                    <a:pt x="168" y="51"/>
                  </a:cubicBezTo>
                  <a:cubicBezTo>
                    <a:pt x="189" y="54"/>
                    <a:pt x="207" y="62"/>
                    <a:pt x="221" y="76"/>
                  </a:cubicBezTo>
                  <a:cubicBezTo>
                    <a:pt x="222" y="76"/>
                    <a:pt x="223" y="77"/>
                    <a:pt x="224" y="78"/>
                  </a:cubicBezTo>
                  <a:cubicBezTo>
                    <a:pt x="225" y="79"/>
                    <a:pt x="225" y="79"/>
                    <a:pt x="225" y="79"/>
                  </a:cubicBezTo>
                  <a:cubicBezTo>
                    <a:pt x="226" y="80"/>
                    <a:pt x="226" y="80"/>
                    <a:pt x="226" y="80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35" y="88"/>
                    <a:pt x="235" y="88"/>
                    <a:pt x="235" y="88"/>
                  </a:cubicBezTo>
                  <a:cubicBezTo>
                    <a:pt x="248" y="101"/>
                    <a:pt x="248" y="101"/>
                    <a:pt x="248" y="101"/>
                  </a:cubicBezTo>
                  <a:cubicBezTo>
                    <a:pt x="275" y="126"/>
                    <a:pt x="275" y="126"/>
                    <a:pt x="275" y="126"/>
                  </a:cubicBezTo>
                  <a:cubicBezTo>
                    <a:pt x="329" y="176"/>
                    <a:pt x="329" y="176"/>
                    <a:pt x="329" y="176"/>
                  </a:cubicBezTo>
                  <a:cubicBezTo>
                    <a:pt x="356" y="202"/>
                    <a:pt x="356" y="202"/>
                    <a:pt x="356" y="202"/>
                  </a:cubicBezTo>
                  <a:cubicBezTo>
                    <a:pt x="363" y="208"/>
                    <a:pt x="363" y="208"/>
                    <a:pt x="363" y="208"/>
                  </a:cubicBezTo>
                  <a:cubicBezTo>
                    <a:pt x="366" y="210"/>
                    <a:pt x="368" y="213"/>
                    <a:pt x="371" y="215"/>
                  </a:cubicBezTo>
                  <a:cubicBezTo>
                    <a:pt x="376" y="219"/>
                    <a:pt x="381" y="223"/>
                    <a:pt x="386" y="227"/>
                  </a:cubicBezTo>
                  <a:cubicBezTo>
                    <a:pt x="406" y="243"/>
                    <a:pt x="428" y="258"/>
                    <a:pt x="451" y="270"/>
                  </a:cubicBezTo>
                  <a:cubicBezTo>
                    <a:pt x="463" y="277"/>
                    <a:pt x="474" y="282"/>
                    <a:pt x="487" y="287"/>
                  </a:cubicBezTo>
                  <a:cubicBezTo>
                    <a:pt x="499" y="292"/>
                    <a:pt x="512" y="296"/>
                    <a:pt x="525" y="300"/>
                  </a:cubicBezTo>
                  <a:cubicBezTo>
                    <a:pt x="551" y="306"/>
                    <a:pt x="578" y="309"/>
                    <a:pt x="604" y="310"/>
                  </a:cubicBezTo>
                  <a:cubicBezTo>
                    <a:pt x="610" y="310"/>
                    <a:pt x="617" y="310"/>
                    <a:pt x="623" y="310"/>
                  </a:cubicBezTo>
                  <a:cubicBezTo>
                    <a:pt x="630" y="310"/>
                    <a:pt x="636" y="310"/>
                    <a:pt x="643" y="309"/>
                  </a:cubicBezTo>
                  <a:cubicBezTo>
                    <a:pt x="656" y="308"/>
                    <a:pt x="669" y="307"/>
                    <a:pt x="682" y="305"/>
                  </a:cubicBezTo>
                  <a:cubicBezTo>
                    <a:pt x="708" y="300"/>
                    <a:pt x="734" y="292"/>
                    <a:pt x="759" y="281"/>
                  </a:cubicBezTo>
                  <a:cubicBezTo>
                    <a:pt x="783" y="270"/>
                    <a:pt x="805" y="256"/>
                    <a:pt x="827" y="241"/>
                  </a:cubicBezTo>
                  <a:cubicBezTo>
                    <a:pt x="837" y="233"/>
                    <a:pt x="847" y="225"/>
                    <a:pt x="857" y="217"/>
                  </a:cubicBezTo>
                  <a:cubicBezTo>
                    <a:pt x="862" y="213"/>
                    <a:pt x="867" y="208"/>
                    <a:pt x="872" y="204"/>
                  </a:cubicBezTo>
                  <a:cubicBezTo>
                    <a:pt x="885" y="191"/>
                    <a:pt x="885" y="191"/>
                    <a:pt x="885" y="191"/>
                  </a:cubicBezTo>
                  <a:cubicBezTo>
                    <a:pt x="939" y="141"/>
                    <a:pt x="939" y="141"/>
                    <a:pt x="939" y="141"/>
                  </a:cubicBezTo>
                  <a:cubicBezTo>
                    <a:pt x="994" y="91"/>
                    <a:pt x="994" y="91"/>
                    <a:pt x="994" y="91"/>
                  </a:cubicBezTo>
                  <a:cubicBezTo>
                    <a:pt x="1021" y="66"/>
                    <a:pt x="1021" y="66"/>
                    <a:pt x="1021" y="66"/>
                  </a:cubicBezTo>
                  <a:cubicBezTo>
                    <a:pt x="1027" y="59"/>
                    <a:pt x="1027" y="59"/>
                    <a:pt x="1027" y="59"/>
                  </a:cubicBezTo>
                  <a:cubicBezTo>
                    <a:pt x="1031" y="56"/>
                    <a:pt x="1031" y="56"/>
                    <a:pt x="1031" y="56"/>
                  </a:cubicBezTo>
                  <a:cubicBezTo>
                    <a:pt x="1031" y="55"/>
                    <a:pt x="1032" y="55"/>
                    <a:pt x="1033" y="54"/>
                  </a:cubicBezTo>
                  <a:cubicBezTo>
                    <a:pt x="1035" y="53"/>
                    <a:pt x="1037" y="51"/>
                    <a:pt x="1039" y="50"/>
                  </a:cubicBezTo>
                  <a:cubicBezTo>
                    <a:pt x="1039" y="50"/>
                    <a:pt x="1039" y="50"/>
                    <a:pt x="1040" y="49"/>
                  </a:cubicBezTo>
                  <a:cubicBezTo>
                    <a:pt x="1120" y="49"/>
                    <a:pt x="1120" y="49"/>
                    <a:pt x="1120" y="49"/>
                  </a:cubicBezTo>
                  <a:cubicBezTo>
                    <a:pt x="1132" y="49"/>
                    <a:pt x="1144" y="52"/>
                    <a:pt x="1152" y="56"/>
                  </a:cubicBezTo>
                  <a:cubicBezTo>
                    <a:pt x="1157" y="58"/>
                    <a:pt x="1161" y="61"/>
                    <a:pt x="1164" y="64"/>
                  </a:cubicBezTo>
                  <a:cubicBezTo>
                    <a:pt x="1166" y="65"/>
                    <a:pt x="1166" y="65"/>
                    <a:pt x="1166" y="65"/>
                  </a:cubicBezTo>
                  <a:cubicBezTo>
                    <a:pt x="1166" y="66"/>
                    <a:pt x="1167" y="67"/>
                    <a:pt x="1167" y="67"/>
                  </a:cubicBezTo>
                  <a:cubicBezTo>
                    <a:pt x="1168" y="67"/>
                    <a:pt x="1168" y="67"/>
                    <a:pt x="1168" y="67"/>
                  </a:cubicBezTo>
                  <a:cubicBezTo>
                    <a:pt x="1168" y="68"/>
                    <a:pt x="1168" y="68"/>
                    <a:pt x="1168" y="68"/>
                  </a:cubicBezTo>
                  <a:cubicBezTo>
                    <a:pt x="1169" y="69"/>
                    <a:pt x="1169" y="69"/>
                    <a:pt x="1169" y="69"/>
                  </a:cubicBezTo>
                  <a:cubicBezTo>
                    <a:pt x="1171" y="71"/>
                    <a:pt x="1172" y="73"/>
                    <a:pt x="1173" y="75"/>
                  </a:cubicBezTo>
                  <a:cubicBezTo>
                    <a:pt x="1178" y="84"/>
                    <a:pt x="1181" y="95"/>
                    <a:pt x="1181" y="106"/>
                  </a:cubicBezTo>
                  <a:cubicBezTo>
                    <a:pt x="1182" y="108"/>
                    <a:pt x="1182" y="109"/>
                    <a:pt x="1182" y="111"/>
                  </a:cubicBezTo>
                  <a:cubicBezTo>
                    <a:pt x="1182" y="116"/>
                    <a:pt x="1182" y="116"/>
                    <a:pt x="1182" y="116"/>
                  </a:cubicBezTo>
                  <a:cubicBezTo>
                    <a:pt x="1182" y="127"/>
                    <a:pt x="1182" y="127"/>
                    <a:pt x="1182" y="127"/>
                  </a:cubicBezTo>
                  <a:cubicBezTo>
                    <a:pt x="1182" y="149"/>
                    <a:pt x="1182" y="149"/>
                    <a:pt x="1182" y="149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82" y="563"/>
                    <a:pt x="1182" y="563"/>
                    <a:pt x="1182" y="563"/>
                  </a:cubicBezTo>
                  <a:cubicBezTo>
                    <a:pt x="1154" y="563"/>
                    <a:pt x="1154" y="563"/>
                    <a:pt x="1154" y="563"/>
                  </a:cubicBezTo>
                  <a:lnTo>
                    <a:pt x="1141" y="5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E963E7EB-0298-4B6E-BB4F-86A19B76A2FC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99050"/>
              <a:ext cx="4114800" cy="2029080"/>
            </a:xfrm>
            <a:custGeom>
              <a:avLst/>
              <a:gdLst>
                <a:gd name="T0" fmla="*/ 1231 w 1231"/>
                <a:gd name="T1" fmla="*/ 113 h 606"/>
                <a:gd name="T2" fmla="*/ 1161 w 1231"/>
                <a:gd name="T3" fmla="*/ 12 h 606"/>
                <a:gd name="T4" fmla="*/ 981 w 1231"/>
                <a:gd name="T5" fmla="*/ 53 h 606"/>
                <a:gd name="T6" fmla="*/ 815 w 1231"/>
                <a:gd name="T7" fmla="*/ 184 h 606"/>
                <a:gd name="T8" fmla="*/ 621 w 1231"/>
                <a:gd name="T9" fmla="*/ 294 h 606"/>
                <a:gd name="T10" fmla="*/ 381 w 1231"/>
                <a:gd name="T11" fmla="*/ 198 h 606"/>
                <a:gd name="T12" fmla="*/ 260 w 1231"/>
                <a:gd name="T13" fmla="*/ 39 h 606"/>
                <a:gd name="T14" fmla="*/ 131 w 1231"/>
                <a:gd name="T15" fmla="*/ 3 h 606"/>
                <a:gd name="T16" fmla="*/ 0 w 1231"/>
                <a:gd name="T17" fmla="*/ 343 h 606"/>
                <a:gd name="T18" fmla="*/ 29 w 1231"/>
                <a:gd name="T19" fmla="*/ 576 h 606"/>
                <a:gd name="T20" fmla="*/ 76 w 1231"/>
                <a:gd name="T21" fmla="*/ 599 h 606"/>
                <a:gd name="T22" fmla="*/ 158 w 1231"/>
                <a:gd name="T23" fmla="*/ 404 h 606"/>
                <a:gd name="T24" fmla="*/ 186 w 1231"/>
                <a:gd name="T25" fmla="*/ 328 h 606"/>
                <a:gd name="T26" fmla="*/ 338 w 1231"/>
                <a:gd name="T27" fmla="*/ 333 h 606"/>
                <a:gd name="T28" fmla="*/ 478 w 1231"/>
                <a:gd name="T29" fmla="*/ 484 h 606"/>
                <a:gd name="T30" fmla="*/ 552 w 1231"/>
                <a:gd name="T31" fmla="*/ 553 h 606"/>
                <a:gd name="T32" fmla="*/ 593 w 1231"/>
                <a:gd name="T33" fmla="*/ 568 h 606"/>
                <a:gd name="T34" fmla="*/ 553 w 1231"/>
                <a:gd name="T35" fmla="*/ 529 h 606"/>
                <a:gd name="T36" fmla="*/ 677 w 1231"/>
                <a:gd name="T37" fmla="*/ 510 h 606"/>
                <a:gd name="T38" fmla="*/ 781 w 1231"/>
                <a:gd name="T39" fmla="*/ 417 h 606"/>
                <a:gd name="T40" fmla="*/ 947 w 1231"/>
                <a:gd name="T41" fmla="*/ 328 h 606"/>
                <a:gd name="T42" fmla="*/ 898 w 1231"/>
                <a:gd name="T43" fmla="*/ 372 h 606"/>
                <a:gd name="T44" fmla="*/ 970 w 1231"/>
                <a:gd name="T45" fmla="*/ 340 h 606"/>
                <a:gd name="T46" fmla="*/ 1030 w 1231"/>
                <a:gd name="T47" fmla="*/ 403 h 606"/>
                <a:gd name="T48" fmla="*/ 1033 w 1231"/>
                <a:gd name="T49" fmla="*/ 407 h 606"/>
                <a:gd name="T50" fmla="*/ 1034 w 1231"/>
                <a:gd name="T51" fmla="*/ 401 h 606"/>
                <a:gd name="T52" fmla="*/ 1022 w 1231"/>
                <a:gd name="T53" fmla="*/ 350 h 606"/>
                <a:gd name="T54" fmla="*/ 1009 w 1231"/>
                <a:gd name="T55" fmla="*/ 338 h 606"/>
                <a:gd name="T56" fmla="*/ 900 w 1231"/>
                <a:gd name="T57" fmla="*/ 316 h 606"/>
                <a:gd name="T58" fmla="*/ 799 w 1231"/>
                <a:gd name="T59" fmla="*/ 391 h 606"/>
                <a:gd name="T60" fmla="*/ 659 w 1231"/>
                <a:gd name="T61" fmla="*/ 520 h 606"/>
                <a:gd name="T62" fmla="*/ 540 w 1231"/>
                <a:gd name="T63" fmla="*/ 502 h 606"/>
                <a:gd name="T64" fmla="*/ 452 w 1231"/>
                <a:gd name="T65" fmla="*/ 413 h 606"/>
                <a:gd name="T66" fmla="*/ 389 w 1231"/>
                <a:gd name="T67" fmla="*/ 374 h 606"/>
                <a:gd name="T68" fmla="*/ 263 w 1231"/>
                <a:gd name="T69" fmla="*/ 296 h 606"/>
                <a:gd name="T70" fmla="*/ 258 w 1231"/>
                <a:gd name="T71" fmla="*/ 295 h 606"/>
                <a:gd name="T72" fmla="*/ 173 w 1231"/>
                <a:gd name="T73" fmla="*/ 339 h 606"/>
                <a:gd name="T74" fmla="*/ 107 w 1231"/>
                <a:gd name="T75" fmla="*/ 566 h 606"/>
                <a:gd name="T76" fmla="*/ 65 w 1231"/>
                <a:gd name="T77" fmla="*/ 542 h 606"/>
                <a:gd name="T78" fmla="*/ 58 w 1231"/>
                <a:gd name="T79" fmla="*/ 537 h 606"/>
                <a:gd name="T80" fmla="*/ 112 w 1231"/>
                <a:gd name="T81" fmla="*/ 570 h 606"/>
                <a:gd name="T82" fmla="*/ 70 w 1231"/>
                <a:gd name="T83" fmla="*/ 582 h 606"/>
                <a:gd name="T84" fmla="*/ 40 w 1231"/>
                <a:gd name="T85" fmla="*/ 567 h 606"/>
                <a:gd name="T86" fmla="*/ 8 w 1231"/>
                <a:gd name="T87" fmla="*/ 510 h 606"/>
                <a:gd name="T88" fmla="*/ 40 w 1231"/>
                <a:gd name="T89" fmla="*/ 184 h 606"/>
                <a:gd name="T90" fmla="*/ 90 w 1231"/>
                <a:gd name="T91" fmla="*/ 11 h 606"/>
                <a:gd name="T92" fmla="*/ 250 w 1231"/>
                <a:gd name="T93" fmla="*/ 52 h 606"/>
                <a:gd name="T94" fmla="*/ 267 w 1231"/>
                <a:gd name="T95" fmla="*/ 72 h 606"/>
                <a:gd name="T96" fmla="*/ 461 w 1231"/>
                <a:gd name="T97" fmla="*/ 271 h 606"/>
                <a:gd name="T98" fmla="*/ 693 w 1231"/>
                <a:gd name="T99" fmla="*/ 297 h 606"/>
                <a:gd name="T100" fmla="*/ 806 w 1231"/>
                <a:gd name="T101" fmla="*/ 211 h 606"/>
                <a:gd name="T102" fmla="*/ 1022 w 1231"/>
                <a:gd name="T103" fmla="*/ 29 h 606"/>
                <a:gd name="T104" fmla="*/ 1119 w 1231"/>
                <a:gd name="T105" fmla="*/ 40 h 606"/>
                <a:gd name="T106" fmla="*/ 1140 w 1231"/>
                <a:gd name="T107" fmla="*/ 39 h 606"/>
                <a:gd name="T108" fmla="*/ 1194 w 1231"/>
                <a:gd name="T109" fmla="*/ 111 h 606"/>
                <a:gd name="T110" fmla="*/ 1205 w 1231"/>
                <a:gd name="T111" fmla="*/ 531 h 606"/>
                <a:gd name="T112" fmla="*/ 1109 w 1231"/>
                <a:gd name="T113" fmla="*/ 595 h 606"/>
                <a:gd name="T114" fmla="*/ 1060 w 1231"/>
                <a:gd name="T115" fmla="*/ 574 h 606"/>
                <a:gd name="T116" fmla="*/ 1027 w 1231"/>
                <a:gd name="T117" fmla="*/ 496 h 606"/>
                <a:gd name="T118" fmla="*/ 1134 w 1231"/>
                <a:gd name="T119" fmla="*/ 602 h 606"/>
                <a:gd name="T120" fmla="*/ 1231 w 1231"/>
                <a:gd name="T121" fmla="*/ 502 h 606"/>
                <a:gd name="T122" fmla="*/ 1188 w 1231"/>
                <a:gd name="T123" fmla="*/ 272 h 606"/>
                <a:gd name="T124" fmla="*/ 1207 w 1231"/>
                <a:gd name="T125" fmla="*/ 49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606">
                  <a:moveTo>
                    <a:pt x="1207" y="49"/>
                  </a:moveTo>
                  <a:cubicBezTo>
                    <a:pt x="1212" y="54"/>
                    <a:pt x="1218" y="63"/>
                    <a:pt x="1222" y="75"/>
                  </a:cubicBezTo>
                  <a:cubicBezTo>
                    <a:pt x="1222" y="75"/>
                    <a:pt x="1223" y="78"/>
                    <a:pt x="1224" y="81"/>
                  </a:cubicBezTo>
                  <a:cubicBezTo>
                    <a:pt x="1225" y="85"/>
                    <a:pt x="1226" y="90"/>
                    <a:pt x="1227" y="95"/>
                  </a:cubicBezTo>
                  <a:cubicBezTo>
                    <a:pt x="1228" y="97"/>
                    <a:pt x="1228" y="99"/>
                    <a:pt x="1228" y="102"/>
                  </a:cubicBezTo>
                  <a:cubicBezTo>
                    <a:pt x="1228" y="103"/>
                    <a:pt x="1229" y="104"/>
                    <a:pt x="1229" y="105"/>
                  </a:cubicBezTo>
                  <a:cubicBezTo>
                    <a:pt x="1229" y="106"/>
                    <a:pt x="1229" y="107"/>
                    <a:pt x="1229" y="108"/>
                  </a:cubicBezTo>
                  <a:cubicBezTo>
                    <a:pt x="1229" y="111"/>
                    <a:pt x="1230" y="113"/>
                    <a:pt x="1230" y="113"/>
                  </a:cubicBezTo>
                  <a:cubicBezTo>
                    <a:pt x="1231" y="125"/>
                    <a:pt x="1231" y="125"/>
                    <a:pt x="1231" y="125"/>
                  </a:cubicBezTo>
                  <a:cubicBezTo>
                    <a:pt x="1231" y="125"/>
                    <a:pt x="1231" y="119"/>
                    <a:pt x="1231" y="113"/>
                  </a:cubicBezTo>
                  <a:cubicBezTo>
                    <a:pt x="1231" y="111"/>
                    <a:pt x="1231" y="108"/>
                    <a:pt x="1231" y="106"/>
                  </a:cubicBezTo>
                  <a:cubicBezTo>
                    <a:pt x="1231" y="103"/>
                    <a:pt x="1231" y="101"/>
                    <a:pt x="1231" y="101"/>
                  </a:cubicBezTo>
                  <a:cubicBezTo>
                    <a:pt x="1231" y="101"/>
                    <a:pt x="1231" y="99"/>
                    <a:pt x="1231" y="97"/>
                  </a:cubicBezTo>
                  <a:cubicBezTo>
                    <a:pt x="1231" y="95"/>
                    <a:pt x="1230" y="93"/>
                    <a:pt x="1230" y="93"/>
                  </a:cubicBezTo>
                  <a:cubicBezTo>
                    <a:pt x="1230" y="93"/>
                    <a:pt x="1230" y="91"/>
                    <a:pt x="1229" y="87"/>
                  </a:cubicBezTo>
                  <a:cubicBezTo>
                    <a:pt x="1228" y="84"/>
                    <a:pt x="1227" y="79"/>
                    <a:pt x="1225" y="73"/>
                  </a:cubicBezTo>
                  <a:cubicBezTo>
                    <a:pt x="1223" y="67"/>
                    <a:pt x="1220" y="60"/>
                    <a:pt x="1216" y="53"/>
                  </a:cubicBezTo>
                  <a:cubicBezTo>
                    <a:pt x="1211" y="46"/>
                    <a:pt x="1206" y="39"/>
                    <a:pt x="1200" y="34"/>
                  </a:cubicBezTo>
                  <a:cubicBezTo>
                    <a:pt x="1194" y="28"/>
                    <a:pt x="1187" y="23"/>
                    <a:pt x="1180" y="20"/>
                  </a:cubicBezTo>
                  <a:cubicBezTo>
                    <a:pt x="1173" y="16"/>
                    <a:pt x="1166" y="14"/>
                    <a:pt x="1161" y="12"/>
                  </a:cubicBezTo>
                  <a:cubicBezTo>
                    <a:pt x="1155" y="11"/>
                    <a:pt x="1150" y="10"/>
                    <a:pt x="1147" y="10"/>
                  </a:cubicBezTo>
                  <a:cubicBezTo>
                    <a:pt x="1144" y="9"/>
                    <a:pt x="1142" y="9"/>
                    <a:pt x="1142" y="9"/>
                  </a:cubicBezTo>
                  <a:cubicBezTo>
                    <a:pt x="1138" y="9"/>
                    <a:pt x="1134" y="9"/>
                    <a:pt x="1129" y="9"/>
                  </a:cubicBezTo>
                  <a:cubicBezTo>
                    <a:pt x="1127" y="9"/>
                    <a:pt x="1125" y="9"/>
                    <a:pt x="1123" y="9"/>
                  </a:cubicBezTo>
                  <a:cubicBezTo>
                    <a:pt x="1122" y="9"/>
                    <a:pt x="1121" y="9"/>
                    <a:pt x="1120" y="9"/>
                  </a:cubicBezTo>
                  <a:cubicBezTo>
                    <a:pt x="1117" y="10"/>
                    <a:pt x="1117" y="10"/>
                    <a:pt x="1117" y="10"/>
                  </a:cubicBezTo>
                  <a:cubicBezTo>
                    <a:pt x="1108" y="10"/>
                    <a:pt x="1100" y="11"/>
                    <a:pt x="1091" y="11"/>
                  </a:cubicBezTo>
                  <a:cubicBezTo>
                    <a:pt x="1037" y="11"/>
                    <a:pt x="1020" y="20"/>
                    <a:pt x="1008" y="29"/>
                  </a:cubicBezTo>
                  <a:cubicBezTo>
                    <a:pt x="1007" y="30"/>
                    <a:pt x="1004" y="32"/>
                    <a:pt x="1002" y="34"/>
                  </a:cubicBezTo>
                  <a:cubicBezTo>
                    <a:pt x="995" y="40"/>
                    <a:pt x="988" y="47"/>
                    <a:pt x="981" y="53"/>
                  </a:cubicBezTo>
                  <a:cubicBezTo>
                    <a:pt x="966" y="64"/>
                    <a:pt x="953" y="75"/>
                    <a:pt x="941" y="84"/>
                  </a:cubicBezTo>
                  <a:cubicBezTo>
                    <a:pt x="857" y="146"/>
                    <a:pt x="857" y="146"/>
                    <a:pt x="857" y="146"/>
                  </a:cubicBezTo>
                  <a:cubicBezTo>
                    <a:pt x="854" y="148"/>
                    <a:pt x="854" y="148"/>
                    <a:pt x="854" y="148"/>
                  </a:cubicBezTo>
                  <a:cubicBezTo>
                    <a:pt x="854" y="148"/>
                    <a:pt x="847" y="155"/>
                    <a:pt x="840" y="161"/>
                  </a:cubicBezTo>
                  <a:cubicBezTo>
                    <a:pt x="838" y="163"/>
                    <a:pt x="836" y="165"/>
                    <a:pt x="835" y="166"/>
                  </a:cubicBezTo>
                  <a:cubicBezTo>
                    <a:pt x="833" y="167"/>
                    <a:pt x="832" y="169"/>
                    <a:pt x="830" y="170"/>
                  </a:cubicBezTo>
                  <a:cubicBezTo>
                    <a:pt x="828" y="172"/>
                    <a:pt x="826" y="174"/>
                    <a:pt x="826" y="174"/>
                  </a:cubicBezTo>
                  <a:cubicBezTo>
                    <a:pt x="826" y="174"/>
                    <a:pt x="823" y="176"/>
                    <a:pt x="820" y="179"/>
                  </a:cubicBezTo>
                  <a:cubicBezTo>
                    <a:pt x="817" y="181"/>
                    <a:pt x="814" y="184"/>
                    <a:pt x="814" y="184"/>
                  </a:cubicBezTo>
                  <a:cubicBezTo>
                    <a:pt x="814" y="184"/>
                    <a:pt x="815" y="184"/>
                    <a:pt x="815" y="184"/>
                  </a:cubicBezTo>
                  <a:cubicBezTo>
                    <a:pt x="817" y="183"/>
                    <a:pt x="819" y="184"/>
                    <a:pt x="819" y="185"/>
                  </a:cubicBezTo>
                  <a:cubicBezTo>
                    <a:pt x="821" y="187"/>
                    <a:pt x="818" y="194"/>
                    <a:pt x="809" y="203"/>
                  </a:cubicBezTo>
                  <a:cubicBezTo>
                    <a:pt x="805" y="208"/>
                    <a:pt x="799" y="214"/>
                    <a:pt x="791" y="220"/>
                  </a:cubicBezTo>
                  <a:cubicBezTo>
                    <a:pt x="791" y="220"/>
                    <a:pt x="789" y="222"/>
                    <a:pt x="785" y="225"/>
                  </a:cubicBezTo>
                  <a:cubicBezTo>
                    <a:pt x="781" y="228"/>
                    <a:pt x="776" y="233"/>
                    <a:pt x="769" y="238"/>
                  </a:cubicBezTo>
                  <a:cubicBezTo>
                    <a:pt x="762" y="243"/>
                    <a:pt x="753" y="248"/>
                    <a:pt x="744" y="254"/>
                  </a:cubicBezTo>
                  <a:cubicBezTo>
                    <a:pt x="734" y="260"/>
                    <a:pt x="724" y="265"/>
                    <a:pt x="713" y="270"/>
                  </a:cubicBezTo>
                  <a:cubicBezTo>
                    <a:pt x="692" y="279"/>
                    <a:pt x="668" y="285"/>
                    <a:pt x="651" y="289"/>
                  </a:cubicBezTo>
                  <a:cubicBezTo>
                    <a:pt x="642" y="291"/>
                    <a:pt x="634" y="292"/>
                    <a:pt x="629" y="292"/>
                  </a:cubicBezTo>
                  <a:cubicBezTo>
                    <a:pt x="624" y="293"/>
                    <a:pt x="621" y="294"/>
                    <a:pt x="621" y="294"/>
                  </a:cubicBezTo>
                  <a:cubicBezTo>
                    <a:pt x="606" y="295"/>
                    <a:pt x="588" y="296"/>
                    <a:pt x="569" y="295"/>
                  </a:cubicBezTo>
                  <a:cubicBezTo>
                    <a:pt x="550" y="294"/>
                    <a:pt x="529" y="290"/>
                    <a:pt x="508" y="283"/>
                  </a:cubicBezTo>
                  <a:cubicBezTo>
                    <a:pt x="503" y="282"/>
                    <a:pt x="497" y="280"/>
                    <a:pt x="492" y="278"/>
                  </a:cubicBezTo>
                  <a:cubicBezTo>
                    <a:pt x="487" y="276"/>
                    <a:pt x="483" y="274"/>
                    <a:pt x="478" y="271"/>
                  </a:cubicBezTo>
                  <a:cubicBezTo>
                    <a:pt x="468" y="267"/>
                    <a:pt x="460" y="262"/>
                    <a:pt x="451" y="257"/>
                  </a:cubicBezTo>
                  <a:cubicBezTo>
                    <a:pt x="435" y="247"/>
                    <a:pt x="421" y="236"/>
                    <a:pt x="410" y="226"/>
                  </a:cubicBezTo>
                  <a:cubicBezTo>
                    <a:pt x="410" y="226"/>
                    <a:pt x="407" y="224"/>
                    <a:pt x="405" y="222"/>
                  </a:cubicBezTo>
                  <a:cubicBezTo>
                    <a:pt x="403" y="220"/>
                    <a:pt x="401" y="218"/>
                    <a:pt x="401" y="218"/>
                  </a:cubicBezTo>
                  <a:cubicBezTo>
                    <a:pt x="401" y="218"/>
                    <a:pt x="396" y="213"/>
                    <a:pt x="391" y="208"/>
                  </a:cubicBezTo>
                  <a:cubicBezTo>
                    <a:pt x="386" y="203"/>
                    <a:pt x="381" y="198"/>
                    <a:pt x="381" y="198"/>
                  </a:cubicBezTo>
                  <a:cubicBezTo>
                    <a:pt x="381" y="198"/>
                    <a:pt x="380" y="196"/>
                    <a:pt x="377" y="193"/>
                  </a:cubicBezTo>
                  <a:cubicBezTo>
                    <a:pt x="374" y="190"/>
                    <a:pt x="370" y="185"/>
                    <a:pt x="366" y="180"/>
                  </a:cubicBezTo>
                  <a:cubicBezTo>
                    <a:pt x="357" y="170"/>
                    <a:pt x="345" y="156"/>
                    <a:pt x="333" y="142"/>
                  </a:cubicBezTo>
                  <a:cubicBezTo>
                    <a:pt x="309" y="113"/>
                    <a:pt x="285" y="85"/>
                    <a:pt x="285" y="85"/>
                  </a:cubicBezTo>
                  <a:cubicBezTo>
                    <a:pt x="266" y="63"/>
                    <a:pt x="257" y="49"/>
                    <a:pt x="261" y="45"/>
                  </a:cubicBezTo>
                  <a:cubicBezTo>
                    <a:pt x="262" y="44"/>
                    <a:pt x="263" y="44"/>
                    <a:pt x="266" y="45"/>
                  </a:cubicBezTo>
                  <a:cubicBezTo>
                    <a:pt x="266" y="45"/>
                    <a:pt x="266" y="44"/>
                    <a:pt x="264" y="43"/>
                  </a:cubicBezTo>
                  <a:cubicBezTo>
                    <a:pt x="264" y="43"/>
                    <a:pt x="263" y="42"/>
                    <a:pt x="262" y="41"/>
                  </a:cubicBezTo>
                  <a:cubicBezTo>
                    <a:pt x="262" y="41"/>
                    <a:pt x="262" y="41"/>
                    <a:pt x="262" y="41"/>
                  </a:cubicBezTo>
                  <a:cubicBezTo>
                    <a:pt x="261" y="40"/>
                    <a:pt x="261" y="40"/>
                    <a:pt x="260" y="39"/>
                  </a:cubicBezTo>
                  <a:cubicBezTo>
                    <a:pt x="255" y="34"/>
                    <a:pt x="249" y="28"/>
                    <a:pt x="241" y="23"/>
                  </a:cubicBezTo>
                  <a:cubicBezTo>
                    <a:pt x="234" y="18"/>
                    <a:pt x="226" y="13"/>
                    <a:pt x="219" y="10"/>
                  </a:cubicBezTo>
                  <a:cubicBezTo>
                    <a:pt x="213" y="7"/>
                    <a:pt x="209" y="6"/>
                    <a:pt x="209" y="6"/>
                  </a:cubicBezTo>
                  <a:cubicBezTo>
                    <a:pt x="209" y="6"/>
                    <a:pt x="207" y="5"/>
                    <a:pt x="204" y="5"/>
                  </a:cubicBezTo>
                  <a:cubicBezTo>
                    <a:pt x="201" y="4"/>
                    <a:pt x="196" y="3"/>
                    <a:pt x="190" y="2"/>
                  </a:cubicBezTo>
                  <a:cubicBezTo>
                    <a:pt x="179" y="0"/>
                    <a:pt x="164" y="0"/>
                    <a:pt x="150" y="1"/>
                  </a:cubicBezTo>
                  <a:cubicBezTo>
                    <a:pt x="147" y="1"/>
                    <a:pt x="147" y="1"/>
                    <a:pt x="147" y="1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3" y="2"/>
                    <a:pt x="142" y="2"/>
                    <a:pt x="140" y="2"/>
                  </a:cubicBezTo>
                  <a:cubicBezTo>
                    <a:pt x="137" y="2"/>
                    <a:pt x="134" y="3"/>
                    <a:pt x="131" y="3"/>
                  </a:cubicBezTo>
                  <a:cubicBezTo>
                    <a:pt x="125" y="4"/>
                    <a:pt x="119" y="4"/>
                    <a:pt x="114" y="5"/>
                  </a:cubicBezTo>
                  <a:cubicBezTo>
                    <a:pt x="104" y="6"/>
                    <a:pt x="98" y="7"/>
                    <a:pt x="98" y="7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48" y="13"/>
                    <a:pt x="37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1" y="15"/>
                    <a:pt x="19" y="17"/>
                    <a:pt x="19" y="20"/>
                  </a:cubicBezTo>
                  <a:cubicBezTo>
                    <a:pt x="21" y="42"/>
                    <a:pt x="21" y="68"/>
                    <a:pt x="21" y="94"/>
                  </a:cubicBezTo>
                  <a:cubicBezTo>
                    <a:pt x="21" y="135"/>
                    <a:pt x="19" y="174"/>
                    <a:pt x="16" y="203"/>
                  </a:cubicBezTo>
                  <a:cubicBezTo>
                    <a:pt x="0" y="343"/>
                    <a:pt x="0" y="343"/>
                    <a:pt x="0" y="343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0" y="365"/>
                    <a:pt x="0" y="428"/>
                    <a:pt x="0" y="491"/>
                  </a:cubicBezTo>
                  <a:cubicBezTo>
                    <a:pt x="0" y="497"/>
                    <a:pt x="0" y="497"/>
                    <a:pt x="0" y="497"/>
                  </a:cubicBezTo>
                  <a:cubicBezTo>
                    <a:pt x="0" y="500"/>
                    <a:pt x="0" y="502"/>
                    <a:pt x="0" y="504"/>
                  </a:cubicBezTo>
                  <a:cubicBezTo>
                    <a:pt x="0" y="509"/>
                    <a:pt x="1" y="514"/>
                    <a:pt x="1" y="519"/>
                  </a:cubicBezTo>
                  <a:cubicBezTo>
                    <a:pt x="3" y="528"/>
                    <a:pt x="5" y="537"/>
                    <a:pt x="9" y="546"/>
                  </a:cubicBezTo>
                  <a:cubicBezTo>
                    <a:pt x="13" y="555"/>
                    <a:pt x="18" y="564"/>
                    <a:pt x="24" y="571"/>
                  </a:cubicBezTo>
                  <a:cubicBezTo>
                    <a:pt x="25" y="571"/>
                    <a:pt x="25" y="572"/>
                    <a:pt x="26" y="573"/>
                  </a:cubicBezTo>
                  <a:cubicBezTo>
                    <a:pt x="27" y="574"/>
                    <a:pt x="28" y="575"/>
                    <a:pt x="29" y="576"/>
                  </a:cubicBezTo>
                  <a:cubicBezTo>
                    <a:pt x="29" y="577"/>
                    <a:pt x="29" y="577"/>
                    <a:pt x="29" y="577"/>
                  </a:cubicBezTo>
                  <a:cubicBezTo>
                    <a:pt x="30" y="577"/>
                    <a:pt x="30" y="577"/>
                    <a:pt x="30" y="577"/>
                  </a:cubicBezTo>
                  <a:cubicBezTo>
                    <a:pt x="31" y="578"/>
                    <a:pt x="31" y="578"/>
                    <a:pt x="31" y="578"/>
                  </a:cubicBezTo>
                  <a:cubicBezTo>
                    <a:pt x="31" y="579"/>
                    <a:pt x="32" y="579"/>
                    <a:pt x="33" y="580"/>
                  </a:cubicBezTo>
                  <a:cubicBezTo>
                    <a:pt x="36" y="583"/>
                    <a:pt x="39" y="586"/>
                    <a:pt x="43" y="588"/>
                  </a:cubicBezTo>
                  <a:cubicBezTo>
                    <a:pt x="49" y="592"/>
                    <a:pt x="55" y="596"/>
                    <a:pt x="61" y="598"/>
                  </a:cubicBezTo>
                  <a:cubicBezTo>
                    <a:pt x="67" y="601"/>
                    <a:pt x="72" y="602"/>
                    <a:pt x="76" y="603"/>
                  </a:cubicBezTo>
                  <a:cubicBezTo>
                    <a:pt x="81" y="605"/>
                    <a:pt x="84" y="605"/>
                    <a:pt x="86" y="606"/>
                  </a:cubicBezTo>
                  <a:cubicBezTo>
                    <a:pt x="89" y="606"/>
                    <a:pt x="90" y="606"/>
                    <a:pt x="90" y="606"/>
                  </a:cubicBezTo>
                  <a:cubicBezTo>
                    <a:pt x="84" y="604"/>
                    <a:pt x="79" y="602"/>
                    <a:pt x="76" y="599"/>
                  </a:cubicBezTo>
                  <a:cubicBezTo>
                    <a:pt x="73" y="597"/>
                    <a:pt x="72" y="595"/>
                    <a:pt x="73" y="594"/>
                  </a:cubicBezTo>
                  <a:cubicBezTo>
                    <a:pt x="73" y="594"/>
                    <a:pt x="73" y="594"/>
                    <a:pt x="73" y="594"/>
                  </a:cubicBezTo>
                  <a:cubicBezTo>
                    <a:pt x="73" y="593"/>
                    <a:pt x="74" y="592"/>
                    <a:pt x="76" y="592"/>
                  </a:cubicBezTo>
                  <a:cubicBezTo>
                    <a:pt x="79" y="591"/>
                    <a:pt x="85" y="591"/>
                    <a:pt x="93" y="590"/>
                  </a:cubicBezTo>
                  <a:cubicBezTo>
                    <a:pt x="97" y="590"/>
                    <a:pt x="102" y="590"/>
                    <a:pt x="107" y="589"/>
                  </a:cubicBezTo>
                  <a:cubicBezTo>
                    <a:pt x="112" y="589"/>
                    <a:pt x="117" y="588"/>
                    <a:pt x="122" y="587"/>
                  </a:cubicBezTo>
                  <a:cubicBezTo>
                    <a:pt x="140" y="585"/>
                    <a:pt x="159" y="583"/>
                    <a:pt x="177" y="583"/>
                  </a:cubicBezTo>
                  <a:cubicBezTo>
                    <a:pt x="177" y="583"/>
                    <a:pt x="177" y="582"/>
                    <a:pt x="177" y="582"/>
                  </a:cubicBezTo>
                  <a:cubicBezTo>
                    <a:pt x="162" y="454"/>
                    <a:pt x="162" y="454"/>
                    <a:pt x="162" y="454"/>
                  </a:cubicBezTo>
                  <a:cubicBezTo>
                    <a:pt x="160" y="439"/>
                    <a:pt x="159" y="422"/>
                    <a:pt x="158" y="404"/>
                  </a:cubicBezTo>
                  <a:cubicBezTo>
                    <a:pt x="158" y="403"/>
                    <a:pt x="158" y="402"/>
                    <a:pt x="158" y="400"/>
                  </a:cubicBezTo>
                  <a:cubicBezTo>
                    <a:pt x="158" y="399"/>
                    <a:pt x="158" y="397"/>
                    <a:pt x="158" y="396"/>
                  </a:cubicBezTo>
                  <a:cubicBezTo>
                    <a:pt x="158" y="393"/>
                    <a:pt x="158" y="390"/>
                    <a:pt x="158" y="387"/>
                  </a:cubicBezTo>
                  <a:cubicBezTo>
                    <a:pt x="159" y="382"/>
                    <a:pt x="160" y="376"/>
                    <a:pt x="162" y="370"/>
                  </a:cubicBezTo>
                  <a:cubicBezTo>
                    <a:pt x="165" y="357"/>
                    <a:pt x="171" y="345"/>
                    <a:pt x="179" y="335"/>
                  </a:cubicBezTo>
                  <a:cubicBezTo>
                    <a:pt x="180" y="334"/>
                    <a:pt x="180" y="334"/>
                    <a:pt x="181" y="333"/>
                  </a:cubicBezTo>
                  <a:cubicBezTo>
                    <a:pt x="182" y="332"/>
                    <a:pt x="182" y="331"/>
                    <a:pt x="183" y="331"/>
                  </a:cubicBezTo>
                  <a:cubicBezTo>
                    <a:pt x="184" y="329"/>
                    <a:pt x="184" y="329"/>
                    <a:pt x="184" y="329"/>
                  </a:cubicBezTo>
                  <a:cubicBezTo>
                    <a:pt x="185" y="329"/>
                    <a:pt x="185" y="329"/>
                    <a:pt x="185" y="329"/>
                  </a:cubicBezTo>
                  <a:cubicBezTo>
                    <a:pt x="186" y="328"/>
                    <a:pt x="186" y="328"/>
                    <a:pt x="186" y="328"/>
                  </a:cubicBezTo>
                  <a:cubicBezTo>
                    <a:pt x="187" y="327"/>
                    <a:pt x="187" y="327"/>
                    <a:pt x="187" y="327"/>
                  </a:cubicBezTo>
                  <a:cubicBezTo>
                    <a:pt x="192" y="322"/>
                    <a:pt x="197" y="317"/>
                    <a:pt x="205" y="313"/>
                  </a:cubicBezTo>
                  <a:cubicBezTo>
                    <a:pt x="212" y="309"/>
                    <a:pt x="220" y="306"/>
                    <a:pt x="229" y="304"/>
                  </a:cubicBezTo>
                  <a:cubicBezTo>
                    <a:pt x="233" y="303"/>
                    <a:pt x="238" y="302"/>
                    <a:pt x="243" y="302"/>
                  </a:cubicBezTo>
                  <a:cubicBezTo>
                    <a:pt x="245" y="302"/>
                    <a:pt x="247" y="302"/>
                    <a:pt x="250" y="302"/>
                  </a:cubicBezTo>
                  <a:cubicBezTo>
                    <a:pt x="252" y="302"/>
                    <a:pt x="254" y="302"/>
                    <a:pt x="257" y="302"/>
                  </a:cubicBezTo>
                  <a:cubicBezTo>
                    <a:pt x="266" y="302"/>
                    <a:pt x="276" y="304"/>
                    <a:pt x="285" y="306"/>
                  </a:cubicBezTo>
                  <a:cubicBezTo>
                    <a:pt x="292" y="308"/>
                    <a:pt x="300" y="311"/>
                    <a:pt x="307" y="314"/>
                  </a:cubicBezTo>
                  <a:cubicBezTo>
                    <a:pt x="314" y="317"/>
                    <a:pt x="320" y="321"/>
                    <a:pt x="326" y="325"/>
                  </a:cubicBezTo>
                  <a:cubicBezTo>
                    <a:pt x="331" y="328"/>
                    <a:pt x="335" y="331"/>
                    <a:pt x="338" y="333"/>
                  </a:cubicBezTo>
                  <a:cubicBezTo>
                    <a:pt x="342" y="336"/>
                    <a:pt x="346" y="339"/>
                    <a:pt x="350" y="342"/>
                  </a:cubicBezTo>
                  <a:cubicBezTo>
                    <a:pt x="352" y="344"/>
                    <a:pt x="355" y="346"/>
                    <a:pt x="357" y="348"/>
                  </a:cubicBezTo>
                  <a:cubicBezTo>
                    <a:pt x="359" y="350"/>
                    <a:pt x="362" y="352"/>
                    <a:pt x="364" y="354"/>
                  </a:cubicBezTo>
                  <a:cubicBezTo>
                    <a:pt x="378" y="368"/>
                    <a:pt x="391" y="382"/>
                    <a:pt x="402" y="395"/>
                  </a:cubicBezTo>
                  <a:cubicBezTo>
                    <a:pt x="413" y="408"/>
                    <a:pt x="423" y="421"/>
                    <a:pt x="433" y="432"/>
                  </a:cubicBezTo>
                  <a:cubicBezTo>
                    <a:pt x="435" y="434"/>
                    <a:pt x="438" y="437"/>
                    <a:pt x="440" y="440"/>
                  </a:cubicBezTo>
                  <a:cubicBezTo>
                    <a:pt x="442" y="442"/>
                    <a:pt x="445" y="445"/>
                    <a:pt x="447" y="447"/>
                  </a:cubicBezTo>
                  <a:cubicBezTo>
                    <a:pt x="451" y="452"/>
                    <a:pt x="455" y="456"/>
                    <a:pt x="458" y="460"/>
                  </a:cubicBezTo>
                  <a:cubicBezTo>
                    <a:pt x="459" y="461"/>
                    <a:pt x="459" y="461"/>
                    <a:pt x="459" y="461"/>
                  </a:cubicBezTo>
                  <a:cubicBezTo>
                    <a:pt x="466" y="469"/>
                    <a:pt x="473" y="477"/>
                    <a:pt x="478" y="484"/>
                  </a:cubicBezTo>
                  <a:cubicBezTo>
                    <a:pt x="479" y="484"/>
                    <a:pt x="479" y="484"/>
                    <a:pt x="479" y="485"/>
                  </a:cubicBezTo>
                  <a:cubicBezTo>
                    <a:pt x="479" y="485"/>
                    <a:pt x="485" y="492"/>
                    <a:pt x="492" y="499"/>
                  </a:cubicBezTo>
                  <a:cubicBezTo>
                    <a:pt x="499" y="506"/>
                    <a:pt x="505" y="513"/>
                    <a:pt x="505" y="513"/>
                  </a:cubicBezTo>
                  <a:cubicBezTo>
                    <a:pt x="505" y="513"/>
                    <a:pt x="511" y="518"/>
                    <a:pt x="516" y="524"/>
                  </a:cubicBezTo>
                  <a:cubicBezTo>
                    <a:pt x="517" y="524"/>
                    <a:pt x="517" y="525"/>
                    <a:pt x="518" y="525"/>
                  </a:cubicBezTo>
                  <a:cubicBezTo>
                    <a:pt x="518" y="526"/>
                    <a:pt x="519" y="527"/>
                    <a:pt x="520" y="527"/>
                  </a:cubicBezTo>
                  <a:cubicBezTo>
                    <a:pt x="521" y="529"/>
                    <a:pt x="522" y="530"/>
                    <a:pt x="523" y="531"/>
                  </a:cubicBezTo>
                  <a:cubicBezTo>
                    <a:pt x="526" y="533"/>
                    <a:pt x="527" y="534"/>
                    <a:pt x="527" y="534"/>
                  </a:cubicBezTo>
                  <a:cubicBezTo>
                    <a:pt x="527" y="534"/>
                    <a:pt x="536" y="541"/>
                    <a:pt x="545" y="548"/>
                  </a:cubicBezTo>
                  <a:cubicBezTo>
                    <a:pt x="547" y="550"/>
                    <a:pt x="550" y="551"/>
                    <a:pt x="552" y="553"/>
                  </a:cubicBezTo>
                  <a:cubicBezTo>
                    <a:pt x="553" y="553"/>
                    <a:pt x="554" y="554"/>
                    <a:pt x="555" y="555"/>
                  </a:cubicBezTo>
                  <a:cubicBezTo>
                    <a:pt x="557" y="555"/>
                    <a:pt x="558" y="556"/>
                    <a:pt x="559" y="557"/>
                  </a:cubicBezTo>
                  <a:cubicBezTo>
                    <a:pt x="559" y="557"/>
                    <a:pt x="560" y="558"/>
                    <a:pt x="561" y="558"/>
                  </a:cubicBezTo>
                  <a:cubicBezTo>
                    <a:pt x="562" y="559"/>
                    <a:pt x="563" y="559"/>
                    <a:pt x="563" y="559"/>
                  </a:cubicBezTo>
                  <a:cubicBezTo>
                    <a:pt x="564" y="560"/>
                    <a:pt x="565" y="560"/>
                    <a:pt x="565" y="560"/>
                  </a:cubicBezTo>
                  <a:cubicBezTo>
                    <a:pt x="565" y="560"/>
                    <a:pt x="567" y="561"/>
                    <a:pt x="569" y="562"/>
                  </a:cubicBezTo>
                  <a:cubicBezTo>
                    <a:pt x="571" y="563"/>
                    <a:pt x="574" y="563"/>
                    <a:pt x="574" y="563"/>
                  </a:cubicBezTo>
                  <a:cubicBezTo>
                    <a:pt x="574" y="563"/>
                    <a:pt x="580" y="566"/>
                    <a:pt x="587" y="567"/>
                  </a:cubicBezTo>
                  <a:cubicBezTo>
                    <a:pt x="593" y="569"/>
                    <a:pt x="600" y="569"/>
                    <a:pt x="600" y="569"/>
                  </a:cubicBezTo>
                  <a:cubicBezTo>
                    <a:pt x="600" y="569"/>
                    <a:pt x="597" y="569"/>
                    <a:pt x="593" y="568"/>
                  </a:cubicBezTo>
                  <a:cubicBezTo>
                    <a:pt x="590" y="567"/>
                    <a:pt x="587" y="566"/>
                    <a:pt x="587" y="566"/>
                  </a:cubicBezTo>
                  <a:cubicBezTo>
                    <a:pt x="587" y="566"/>
                    <a:pt x="584" y="565"/>
                    <a:pt x="581" y="564"/>
                  </a:cubicBezTo>
                  <a:cubicBezTo>
                    <a:pt x="577" y="562"/>
                    <a:pt x="572" y="560"/>
                    <a:pt x="568" y="558"/>
                  </a:cubicBezTo>
                  <a:cubicBezTo>
                    <a:pt x="566" y="557"/>
                    <a:pt x="563" y="556"/>
                    <a:pt x="562" y="554"/>
                  </a:cubicBezTo>
                  <a:cubicBezTo>
                    <a:pt x="560" y="553"/>
                    <a:pt x="558" y="552"/>
                    <a:pt x="556" y="551"/>
                  </a:cubicBezTo>
                  <a:cubicBezTo>
                    <a:pt x="554" y="550"/>
                    <a:pt x="552" y="548"/>
                    <a:pt x="552" y="548"/>
                  </a:cubicBezTo>
                  <a:cubicBezTo>
                    <a:pt x="541" y="541"/>
                    <a:pt x="534" y="535"/>
                    <a:pt x="530" y="530"/>
                  </a:cubicBezTo>
                  <a:cubicBezTo>
                    <a:pt x="526" y="525"/>
                    <a:pt x="525" y="522"/>
                    <a:pt x="526" y="521"/>
                  </a:cubicBezTo>
                  <a:cubicBezTo>
                    <a:pt x="527" y="520"/>
                    <a:pt x="530" y="520"/>
                    <a:pt x="535" y="522"/>
                  </a:cubicBezTo>
                  <a:cubicBezTo>
                    <a:pt x="540" y="523"/>
                    <a:pt x="546" y="526"/>
                    <a:pt x="553" y="529"/>
                  </a:cubicBezTo>
                  <a:cubicBezTo>
                    <a:pt x="555" y="530"/>
                    <a:pt x="558" y="531"/>
                    <a:pt x="560" y="532"/>
                  </a:cubicBezTo>
                  <a:cubicBezTo>
                    <a:pt x="560" y="532"/>
                    <a:pt x="562" y="532"/>
                    <a:pt x="566" y="534"/>
                  </a:cubicBezTo>
                  <a:cubicBezTo>
                    <a:pt x="570" y="535"/>
                    <a:pt x="575" y="537"/>
                    <a:pt x="581" y="538"/>
                  </a:cubicBezTo>
                  <a:cubicBezTo>
                    <a:pt x="587" y="539"/>
                    <a:pt x="594" y="540"/>
                    <a:pt x="602" y="540"/>
                  </a:cubicBezTo>
                  <a:cubicBezTo>
                    <a:pt x="606" y="540"/>
                    <a:pt x="610" y="540"/>
                    <a:pt x="614" y="540"/>
                  </a:cubicBezTo>
                  <a:cubicBezTo>
                    <a:pt x="618" y="539"/>
                    <a:pt x="622" y="539"/>
                    <a:pt x="626" y="538"/>
                  </a:cubicBezTo>
                  <a:cubicBezTo>
                    <a:pt x="634" y="536"/>
                    <a:pt x="641" y="533"/>
                    <a:pt x="648" y="530"/>
                  </a:cubicBezTo>
                  <a:cubicBezTo>
                    <a:pt x="651" y="528"/>
                    <a:pt x="654" y="526"/>
                    <a:pt x="657" y="525"/>
                  </a:cubicBezTo>
                  <a:cubicBezTo>
                    <a:pt x="660" y="523"/>
                    <a:pt x="663" y="521"/>
                    <a:pt x="665" y="519"/>
                  </a:cubicBezTo>
                  <a:cubicBezTo>
                    <a:pt x="670" y="516"/>
                    <a:pt x="674" y="513"/>
                    <a:pt x="677" y="510"/>
                  </a:cubicBezTo>
                  <a:cubicBezTo>
                    <a:pt x="679" y="508"/>
                    <a:pt x="681" y="507"/>
                    <a:pt x="681" y="507"/>
                  </a:cubicBezTo>
                  <a:cubicBezTo>
                    <a:pt x="684" y="504"/>
                    <a:pt x="687" y="502"/>
                    <a:pt x="689" y="499"/>
                  </a:cubicBezTo>
                  <a:cubicBezTo>
                    <a:pt x="693" y="496"/>
                    <a:pt x="696" y="493"/>
                    <a:pt x="699" y="490"/>
                  </a:cubicBezTo>
                  <a:cubicBezTo>
                    <a:pt x="706" y="484"/>
                    <a:pt x="713" y="478"/>
                    <a:pt x="720" y="471"/>
                  </a:cubicBezTo>
                  <a:cubicBezTo>
                    <a:pt x="723" y="468"/>
                    <a:pt x="727" y="465"/>
                    <a:pt x="730" y="462"/>
                  </a:cubicBezTo>
                  <a:cubicBezTo>
                    <a:pt x="733" y="459"/>
                    <a:pt x="736" y="456"/>
                    <a:pt x="740" y="453"/>
                  </a:cubicBezTo>
                  <a:cubicBezTo>
                    <a:pt x="751" y="443"/>
                    <a:pt x="762" y="433"/>
                    <a:pt x="773" y="424"/>
                  </a:cubicBezTo>
                  <a:cubicBezTo>
                    <a:pt x="775" y="422"/>
                    <a:pt x="775" y="422"/>
                    <a:pt x="775" y="422"/>
                  </a:cubicBezTo>
                  <a:cubicBezTo>
                    <a:pt x="777" y="421"/>
                    <a:pt x="777" y="421"/>
                    <a:pt x="777" y="421"/>
                  </a:cubicBezTo>
                  <a:cubicBezTo>
                    <a:pt x="781" y="417"/>
                    <a:pt x="781" y="417"/>
                    <a:pt x="781" y="417"/>
                  </a:cubicBezTo>
                  <a:cubicBezTo>
                    <a:pt x="784" y="415"/>
                    <a:pt x="786" y="414"/>
                    <a:pt x="789" y="412"/>
                  </a:cubicBezTo>
                  <a:cubicBezTo>
                    <a:pt x="794" y="408"/>
                    <a:pt x="798" y="404"/>
                    <a:pt x="803" y="401"/>
                  </a:cubicBezTo>
                  <a:cubicBezTo>
                    <a:pt x="803" y="401"/>
                    <a:pt x="804" y="400"/>
                    <a:pt x="807" y="397"/>
                  </a:cubicBezTo>
                  <a:cubicBezTo>
                    <a:pt x="810" y="395"/>
                    <a:pt x="815" y="392"/>
                    <a:pt x="820" y="388"/>
                  </a:cubicBezTo>
                  <a:cubicBezTo>
                    <a:pt x="830" y="380"/>
                    <a:pt x="845" y="370"/>
                    <a:pt x="859" y="360"/>
                  </a:cubicBezTo>
                  <a:cubicBezTo>
                    <a:pt x="867" y="356"/>
                    <a:pt x="874" y="351"/>
                    <a:pt x="882" y="348"/>
                  </a:cubicBezTo>
                  <a:cubicBezTo>
                    <a:pt x="889" y="344"/>
                    <a:pt x="896" y="341"/>
                    <a:pt x="902" y="338"/>
                  </a:cubicBezTo>
                  <a:cubicBezTo>
                    <a:pt x="908" y="336"/>
                    <a:pt x="913" y="334"/>
                    <a:pt x="917" y="333"/>
                  </a:cubicBezTo>
                  <a:cubicBezTo>
                    <a:pt x="920" y="332"/>
                    <a:pt x="922" y="331"/>
                    <a:pt x="922" y="331"/>
                  </a:cubicBezTo>
                  <a:cubicBezTo>
                    <a:pt x="933" y="328"/>
                    <a:pt x="941" y="327"/>
                    <a:pt x="947" y="328"/>
                  </a:cubicBezTo>
                  <a:cubicBezTo>
                    <a:pt x="953" y="328"/>
                    <a:pt x="956" y="329"/>
                    <a:pt x="956" y="331"/>
                  </a:cubicBezTo>
                  <a:cubicBezTo>
                    <a:pt x="956" y="333"/>
                    <a:pt x="954" y="335"/>
                    <a:pt x="950" y="337"/>
                  </a:cubicBezTo>
                  <a:cubicBezTo>
                    <a:pt x="947" y="339"/>
                    <a:pt x="941" y="342"/>
                    <a:pt x="935" y="346"/>
                  </a:cubicBezTo>
                  <a:cubicBezTo>
                    <a:pt x="933" y="346"/>
                    <a:pt x="931" y="347"/>
                    <a:pt x="930" y="348"/>
                  </a:cubicBezTo>
                  <a:cubicBezTo>
                    <a:pt x="930" y="348"/>
                    <a:pt x="928" y="350"/>
                    <a:pt x="924" y="352"/>
                  </a:cubicBezTo>
                  <a:cubicBezTo>
                    <a:pt x="923" y="353"/>
                    <a:pt x="921" y="354"/>
                    <a:pt x="919" y="355"/>
                  </a:cubicBezTo>
                  <a:cubicBezTo>
                    <a:pt x="917" y="357"/>
                    <a:pt x="915" y="358"/>
                    <a:pt x="913" y="359"/>
                  </a:cubicBezTo>
                  <a:cubicBezTo>
                    <a:pt x="905" y="365"/>
                    <a:pt x="897" y="372"/>
                    <a:pt x="897" y="372"/>
                  </a:cubicBezTo>
                  <a:cubicBezTo>
                    <a:pt x="897" y="373"/>
                    <a:pt x="897" y="373"/>
                    <a:pt x="897" y="373"/>
                  </a:cubicBezTo>
                  <a:cubicBezTo>
                    <a:pt x="898" y="372"/>
                    <a:pt x="898" y="372"/>
                    <a:pt x="898" y="372"/>
                  </a:cubicBezTo>
                  <a:cubicBezTo>
                    <a:pt x="898" y="372"/>
                    <a:pt x="903" y="368"/>
                    <a:pt x="909" y="365"/>
                  </a:cubicBezTo>
                  <a:cubicBezTo>
                    <a:pt x="914" y="362"/>
                    <a:pt x="919" y="359"/>
                    <a:pt x="919" y="359"/>
                  </a:cubicBezTo>
                  <a:cubicBezTo>
                    <a:pt x="924" y="356"/>
                    <a:pt x="924" y="356"/>
                    <a:pt x="924" y="356"/>
                  </a:cubicBezTo>
                  <a:cubicBezTo>
                    <a:pt x="926" y="355"/>
                    <a:pt x="926" y="355"/>
                    <a:pt x="926" y="355"/>
                  </a:cubicBezTo>
                  <a:cubicBezTo>
                    <a:pt x="928" y="353"/>
                    <a:pt x="928" y="353"/>
                    <a:pt x="928" y="353"/>
                  </a:cubicBezTo>
                  <a:cubicBezTo>
                    <a:pt x="930" y="352"/>
                    <a:pt x="931" y="351"/>
                    <a:pt x="933" y="351"/>
                  </a:cubicBezTo>
                  <a:cubicBezTo>
                    <a:pt x="935" y="349"/>
                    <a:pt x="939" y="348"/>
                    <a:pt x="942" y="346"/>
                  </a:cubicBezTo>
                  <a:cubicBezTo>
                    <a:pt x="948" y="344"/>
                    <a:pt x="955" y="342"/>
                    <a:pt x="963" y="341"/>
                  </a:cubicBezTo>
                  <a:cubicBezTo>
                    <a:pt x="965" y="340"/>
                    <a:pt x="967" y="340"/>
                    <a:pt x="969" y="340"/>
                  </a:cubicBezTo>
                  <a:cubicBezTo>
                    <a:pt x="969" y="340"/>
                    <a:pt x="969" y="340"/>
                    <a:pt x="970" y="340"/>
                  </a:cubicBezTo>
                  <a:cubicBezTo>
                    <a:pt x="972" y="340"/>
                    <a:pt x="972" y="340"/>
                    <a:pt x="972" y="340"/>
                  </a:cubicBezTo>
                  <a:cubicBezTo>
                    <a:pt x="973" y="340"/>
                    <a:pt x="974" y="340"/>
                    <a:pt x="974" y="340"/>
                  </a:cubicBezTo>
                  <a:cubicBezTo>
                    <a:pt x="978" y="340"/>
                    <a:pt x="982" y="340"/>
                    <a:pt x="986" y="341"/>
                  </a:cubicBezTo>
                  <a:cubicBezTo>
                    <a:pt x="993" y="342"/>
                    <a:pt x="1001" y="345"/>
                    <a:pt x="1007" y="349"/>
                  </a:cubicBezTo>
                  <a:cubicBezTo>
                    <a:pt x="1011" y="352"/>
                    <a:pt x="1016" y="356"/>
                    <a:pt x="1019" y="360"/>
                  </a:cubicBezTo>
                  <a:cubicBezTo>
                    <a:pt x="1022" y="365"/>
                    <a:pt x="1025" y="369"/>
                    <a:pt x="1027" y="374"/>
                  </a:cubicBezTo>
                  <a:cubicBezTo>
                    <a:pt x="1029" y="379"/>
                    <a:pt x="1030" y="384"/>
                    <a:pt x="1030" y="389"/>
                  </a:cubicBezTo>
                  <a:cubicBezTo>
                    <a:pt x="1030" y="392"/>
                    <a:pt x="1031" y="394"/>
                    <a:pt x="1031" y="397"/>
                  </a:cubicBezTo>
                  <a:cubicBezTo>
                    <a:pt x="1031" y="398"/>
                    <a:pt x="1030" y="399"/>
                    <a:pt x="1030" y="400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4"/>
                    <a:pt x="1030" y="404"/>
                    <a:pt x="1030" y="404"/>
                  </a:cubicBezTo>
                  <a:cubicBezTo>
                    <a:pt x="1030" y="405"/>
                    <a:pt x="1030" y="405"/>
                    <a:pt x="1030" y="405"/>
                  </a:cubicBezTo>
                  <a:cubicBezTo>
                    <a:pt x="1029" y="414"/>
                    <a:pt x="1029" y="423"/>
                    <a:pt x="1028" y="431"/>
                  </a:cubicBezTo>
                  <a:cubicBezTo>
                    <a:pt x="1027" y="437"/>
                    <a:pt x="1027" y="437"/>
                    <a:pt x="1027" y="437"/>
                  </a:cubicBezTo>
                  <a:cubicBezTo>
                    <a:pt x="1027" y="496"/>
                    <a:pt x="1027" y="496"/>
                    <a:pt x="1027" y="496"/>
                  </a:cubicBezTo>
                  <a:cubicBezTo>
                    <a:pt x="1028" y="468"/>
                    <a:pt x="1029" y="443"/>
                    <a:pt x="1032" y="422"/>
                  </a:cubicBezTo>
                  <a:cubicBezTo>
                    <a:pt x="1032" y="422"/>
                    <a:pt x="1033" y="415"/>
                    <a:pt x="1033" y="407"/>
                  </a:cubicBezTo>
                  <a:cubicBezTo>
                    <a:pt x="1034" y="406"/>
                    <a:pt x="1034" y="405"/>
                    <a:pt x="1034" y="404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2"/>
                    <a:pt x="1034" y="402"/>
                    <a:pt x="1034" y="401"/>
                  </a:cubicBezTo>
                  <a:cubicBezTo>
                    <a:pt x="1034" y="401"/>
                    <a:pt x="1034" y="400"/>
                    <a:pt x="1034" y="399"/>
                  </a:cubicBezTo>
                  <a:cubicBezTo>
                    <a:pt x="1034" y="399"/>
                    <a:pt x="1034" y="398"/>
                    <a:pt x="1034" y="397"/>
                  </a:cubicBezTo>
                  <a:cubicBezTo>
                    <a:pt x="1035" y="395"/>
                    <a:pt x="1035" y="393"/>
                    <a:pt x="1035" y="393"/>
                  </a:cubicBezTo>
                  <a:cubicBezTo>
                    <a:pt x="1035" y="393"/>
                    <a:pt x="1035" y="393"/>
                    <a:pt x="1035" y="391"/>
                  </a:cubicBezTo>
                  <a:cubicBezTo>
                    <a:pt x="1035" y="390"/>
                    <a:pt x="1035" y="388"/>
                    <a:pt x="1035" y="386"/>
                  </a:cubicBezTo>
                  <a:cubicBezTo>
                    <a:pt x="1034" y="381"/>
                    <a:pt x="1033" y="375"/>
                    <a:pt x="1031" y="369"/>
                  </a:cubicBezTo>
                  <a:cubicBezTo>
                    <a:pt x="1030" y="363"/>
                    <a:pt x="1027" y="358"/>
                    <a:pt x="1024" y="354"/>
                  </a:cubicBezTo>
                  <a:cubicBezTo>
                    <a:pt x="1023" y="353"/>
                    <a:pt x="1023" y="352"/>
                    <a:pt x="1022" y="351"/>
                  </a:cubicBezTo>
                  <a:cubicBezTo>
                    <a:pt x="1022" y="351"/>
                    <a:pt x="1022" y="351"/>
                    <a:pt x="1022" y="351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1"/>
                    <a:pt x="1022" y="351"/>
                  </a:cubicBezTo>
                  <a:cubicBezTo>
                    <a:pt x="1022" y="351"/>
                    <a:pt x="1022" y="351"/>
                    <a:pt x="1022" y="351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1" y="350"/>
                    <a:pt x="1021" y="350"/>
                    <a:pt x="1021" y="350"/>
                  </a:cubicBezTo>
                  <a:cubicBezTo>
                    <a:pt x="1021" y="349"/>
                    <a:pt x="1021" y="349"/>
                    <a:pt x="1020" y="349"/>
                  </a:cubicBezTo>
                  <a:cubicBezTo>
                    <a:pt x="1020" y="348"/>
                    <a:pt x="1019" y="347"/>
                    <a:pt x="1019" y="347"/>
                  </a:cubicBezTo>
                  <a:cubicBezTo>
                    <a:pt x="1019" y="347"/>
                    <a:pt x="1018" y="346"/>
                    <a:pt x="1017" y="344"/>
                  </a:cubicBezTo>
                  <a:cubicBezTo>
                    <a:pt x="1015" y="343"/>
                    <a:pt x="1013" y="340"/>
                    <a:pt x="1009" y="338"/>
                  </a:cubicBezTo>
                  <a:cubicBezTo>
                    <a:pt x="1006" y="335"/>
                    <a:pt x="1002" y="333"/>
                    <a:pt x="998" y="330"/>
                  </a:cubicBezTo>
                  <a:cubicBezTo>
                    <a:pt x="993" y="328"/>
                    <a:pt x="987" y="326"/>
                    <a:pt x="982" y="325"/>
                  </a:cubicBezTo>
                  <a:cubicBezTo>
                    <a:pt x="971" y="322"/>
                    <a:pt x="958" y="322"/>
                    <a:pt x="949" y="322"/>
                  </a:cubicBezTo>
                  <a:cubicBezTo>
                    <a:pt x="945" y="323"/>
                    <a:pt x="941" y="323"/>
                    <a:pt x="939" y="324"/>
                  </a:cubicBezTo>
                  <a:cubicBezTo>
                    <a:pt x="936" y="324"/>
                    <a:pt x="934" y="324"/>
                    <a:pt x="934" y="324"/>
                  </a:cubicBezTo>
                  <a:cubicBezTo>
                    <a:pt x="927" y="326"/>
                    <a:pt x="921" y="327"/>
                    <a:pt x="915" y="329"/>
                  </a:cubicBezTo>
                  <a:cubicBezTo>
                    <a:pt x="910" y="331"/>
                    <a:pt x="905" y="332"/>
                    <a:pt x="901" y="333"/>
                  </a:cubicBezTo>
                  <a:cubicBezTo>
                    <a:pt x="893" y="335"/>
                    <a:pt x="888" y="335"/>
                    <a:pt x="887" y="333"/>
                  </a:cubicBezTo>
                  <a:cubicBezTo>
                    <a:pt x="886" y="331"/>
                    <a:pt x="887" y="328"/>
                    <a:pt x="891" y="324"/>
                  </a:cubicBezTo>
                  <a:cubicBezTo>
                    <a:pt x="893" y="322"/>
                    <a:pt x="896" y="319"/>
                    <a:pt x="900" y="316"/>
                  </a:cubicBezTo>
                  <a:cubicBezTo>
                    <a:pt x="901" y="315"/>
                    <a:pt x="903" y="314"/>
                    <a:pt x="905" y="312"/>
                  </a:cubicBezTo>
                  <a:cubicBezTo>
                    <a:pt x="906" y="312"/>
                    <a:pt x="907" y="311"/>
                    <a:pt x="908" y="310"/>
                  </a:cubicBezTo>
                  <a:cubicBezTo>
                    <a:pt x="909" y="309"/>
                    <a:pt x="911" y="309"/>
                    <a:pt x="912" y="308"/>
                  </a:cubicBezTo>
                  <a:cubicBezTo>
                    <a:pt x="912" y="308"/>
                    <a:pt x="911" y="308"/>
                    <a:pt x="910" y="309"/>
                  </a:cubicBezTo>
                  <a:cubicBezTo>
                    <a:pt x="908" y="310"/>
                    <a:pt x="907" y="310"/>
                    <a:pt x="904" y="312"/>
                  </a:cubicBezTo>
                  <a:cubicBezTo>
                    <a:pt x="898" y="314"/>
                    <a:pt x="891" y="318"/>
                    <a:pt x="882" y="323"/>
                  </a:cubicBezTo>
                  <a:cubicBezTo>
                    <a:pt x="874" y="328"/>
                    <a:pt x="864" y="335"/>
                    <a:pt x="854" y="342"/>
                  </a:cubicBezTo>
                  <a:cubicBezTo>
                    <a:pt x="845" y="350"/>
                    <a:pt x="835" y="358"/>
                    <a:pt x="825" y="366"/>
                  </a:cubicBezTo>
                  <a:cubicBezTo>
                    <a:pt x="821" y="370"/>
                    <a:pt x="816" y="375"/>
                    <a:pt x="811" y="379"/>
                  </a:cubicBezTo>
                  <a:cubicBezTo>
                    <a:pt x="807" y="383"/>
                    <a:pt x="803" y="387"/>
                    <a:pt x="799" y="391"/>
                  </a:cubicBezTo>
                  <a:cubicBezTo>
                    <a:pt x="791" y="399"/>
                    <a:pt x="783" y="406"/>
                    <a:pt x="777" y="412"/>
                  </a:cubicBezTo>
                  <a:cubicBezTo>
                    <a:pt x="770" y="418"/>
                    <a:pt x="764" y="423"/>
                    <a:pt x="760" y="427"/>
                  </a:cubicBezTo>
                  <a:cubicBezTo>
                    <a:pt x="756" y="430"/>
                    <a:pt x="754" y="432"/>
                    <a:pt x="754" y="432"/>
                  </a:cubicBezTo>
                  <a:cubicBezTo>
                    <a:pt x="732" y="452"/>
                    <a:pt x="732" y="452"/>
                    <a:pt x="732" y="452"/>
                  </a:cubicBezTo>
                  <a:cubicBezTo>
                    <a:pt x="732" y="452"/>
                    <a:pt x="729" y="455"/>
                    <a:pt x="726" y="458"/>
                  </a:cubicBezTo>
                  <a:cubicBezTo>
                    <a:pt x="722" y="461"/>
                    <a:pt x="719" y="464"/>
                    <a:pt x="719" y="464"/>
                  </a:cubicBezTo>
                  <a:cubicBezTo>
                    <a:pt x="719" y="464"/>
                    <a:pt x="709" y="476"/>
                    <a:pt x="698" y="487"/>
                  </a:cubicBezTo>
                  <a:cubicBezTo>
                    <a:pt x="693" y="492"/>
                    <a:pt x="687" y="498"/>
                    <a:pt x="683" y="501"/>
                  </a:cubicBezTo>
                  <a:cubicBezTo>
                    <a:pt x="679" y="505"/>
                    <a:pt x="676" y="507"/>
                    <a:pt x="676" y="507"/>
                  </a:cubicBezTo>
                  <a:cubicBezTo>
                    <a:pt x="671" y="511"/>
                    <a:pt x="665" y="516"/>
                    <a:pt x="659" y="520"/>
                  </a:cubicBezTo>
                  <a:cubicBezTo>
                    <a:pt x="657" y="521"/>
                    <a:pt x="655" y="522"/>
                    <a:pt x="654" y="523"/>
                  </a:cubicBezTo>
                  <a:cubicBezTo>
                    <a:pt x="651" y="524"/>
                    <a:pt x="651" y="524"/>
                    <a:pt x="651" y="524"/>
                  </a:cubicBezTo>
                  <a:cubicBezTo>
                    <a:pt x="650" y="524"/>
                    <a:pt x="649" y="525"/>
                    <a:pt x="648" y="525"/>
                  </a:cubicBezTo>
                  <a:cubicBezTo>
                    <a:pt x="645" y="527"/>
                    <a:pt x="641" y="528"/>
                    <a:pt x="637" y="529"/>
                  </a:cubicBezTo>
                  <a:cubicBezTo>
                    <a:pt x="622" y="534"/>
                    <a:pt x="603" y="534"/>
                    <a:pt x="586" y="529"/>
                  </a:cubicBezTo>
                  <a:cubicBezTo>
                    <a:pt x="582" y="528"/>
                    <a:pt x="579" y="526"/>
                    <a:pt x="576" y="525"/>
                  </a:cubicBezTo>
                  <a:cubicBezTo>
                    <a:pt x="574" y="524"/>
                    <a:pt x="572" y="523"/>
                    <a:pt x="570" y="522"/>
                  </a:cubicBezTo>
                  <a:cubicBezTo>
                    <a:pt x="568" y="521"/>
                    <a:pt x="567" y="520"/>
                    <a:pt x="565" y="519"/>
                  </a:cubicBezTo>
                  <a:cubicBezTo>
                    <a:pt x="558" y="515"/>
                    <a:pt x="552" y="511"/>
                    <a:pt x="546" y="507"/>
                  </a:cubicBezTo>
                  <a:cubicBezTo>
                    <a:pt x="544" y="505"/>
                    <a:pt x="542" y="503"/>
                    <a:pt x="540" y="502"/>
                  </a:cubicBezTo>
                  <a:cubicBezTo>
                    <a:pt x="537" y="499"/>
                    <a:pt x="537" y="499"/>
                    <a:pt x="537" y="499"/>
                  </a:cubicBezTo>
                  <a:cubicBezTo>
                    <a:pt x="534" y="497"/>
                    <a:pt x="534" y="497"/>
                    <a:pt x="534" y="497"/>
                  </a:cubicBezTo>
                  <a:cubicBezTo>
                    <a:pt x="530" y="494"/>
                    <a:pt x="526" y="490"/>
                    <a:pt x="523" y="487"/>
                  </a:cubicBezTo>
                  <a:cubicBezTo>
                    <a:pt x="516" y="480"/>
                    <a:pt x="510" y="474"/>
                    <a:pt x="504" y="467"/>
                  </a:cubicBezTo>
                  <a:cubicBezTo>
                    <a:pt x="504" y="467"/>
                    <a:pt x="494" y="455"/>
                    <a:pt x="483" y="443"/>
                  </a:cubicBezTo>
                  <a:cubicBezTo>
                    <a:pt x="473" y="431"/>
                    <a:pt x="462" y="419"/>
                    <a:pt x="462" y="419"/>
                  </a:cubicBezTo>
                  <a:cubicBezTo>
                    <a:pt x="462" y="419"/>
                    <a:pt x="457" y="415"/>
                    <a:pt x="452" y="410"/>
                  </a:cubicBezTo>
                  <a:cubicBezTo>
                    <a:pt x="447" y="405"/>
                    <a:pt x="442" y="401"/>
                    <a:pt x="442" y="401"/>
                  </a:cubicBezTo>
                  <a:cubicBezTo>
                    <a:pt x="444" y="403"/>
                    <a:pt x="444" y="403"/>
                    <a:pt x="444" y="403"/>
                  </a:cubicBezTo>
                  <a:cubicBezTo>
                    <a:pt x="447" y="407"/>
                    <a:pt x="450" y="410"/>
                    <a:pt x="452" y="413"/>
                  </a:cubicBezTo>
                  <a:cubicBezTo>
                    <a:pt x="455" y="416"/>
                    <a:pt x="457" y="419"/>
                    <a:pt x="459" y="422"/>
                  </a:cubicBezTo>
                  <a:cubicBezTo>
                    <a:pt x="462" y="427"/>
                    <a:pt x="463" y="430"/>
                    <a:pt x="463" y="432"/>
                  </a:cubicBezTo>
                  <a:cubicBezTo>
                    <a:pt x="463" y="432"/>
                    <a:pt x="462" y="432"/>
                    <a:pt x="462" y="432"/>
                  </a:cubicBezTo>
                  <a:cubicBezTo>
                    <a:pt x="462" y="433"/>
                    <a:pt x="461" y="433"/>
                    <a:pt x="460" y="433"/>
                  </a:cubicBezTo>
                  <a:cubicBezTo>
                    <a:pt x="458" y="433"/>
                    <a:pt x="456" y="433"/>
                    <a:pt x="454" y="432"/>
                  </a:cubicBezTo>
                  <a:cubicBezTo>
                    <a:pt x="452" y="432"/>
                    <a:pt x="451" y="431"/>
                    <a:pt x="449" y="430"/>
                  </a:cubicBezTo>
                  <a:cubicBezTo>
                    <a:pt x="447" y="429"/>
                    <a:pt x="445" y="428"/>
                    <a:pt x="443" y="427"/>
                  </a:cubicBezTo>
                  <a:cubicBezTo>
                    <a:pt x="440" y="424"/>
                    <a:pt x="436" y="421"/>
                    <a:pt x="431" y="417"/>
                  </a:cubicBezTo>
                  <a:cubicBezTo>
                    <a:pt x="424" y="410"/>
                    <a:pt x="417" y="403"/>
                    <a:pt x="410" y="396"/>
                  </a:cubicBezTo>
                  <a:cubicBezTo>
                    <a:pt x="403" y="389"/>
                    <a:pt x="396" y="381"/>
                    <a:pt x="389" y="374"/>
                  </a:cubicBezTo>
                  <a:cubicBezTo>
                    <a:pt x="386" y="372"/>
                    <a:pt x="384" y="369"/>
                    <a:pt x="382" y="367"/>
                  </a:cubicBezTo>
                  <a:cubicBezTo>
                    <a:pt x="376" y="361"/>
                    <a:pt x="370" y="355"/>
                    <a:pt x="364" y="350"/>
                  </a:cubicBezTo>
                  <a:cubicBezTo>
                    <a:pt x="359" y="346"/>
                    <a:pt x="355" y="342"/>
                    <a:pt x="350" y="338"/>
                  </a:cubicBezTo>
                  <a:cubicBezTo>
                    <a:pt x="344" y="333"/>
                    <a:pt x="338" y="329"/>
                    <a:pt x="332" y="324"/>
                  </a:cubicBezTo>
                  <a:cubicBezTo>
                    <a:pt x="329" y="322"/>
                    <a:pt x="326" y="320"/>
                    <a:pt x="323" y="318"/>
                  </a:cubicBezTo>
                  <a:cubicBezTo>
                    <a:pt x="317" y="314"/>
                    <a:pt x="311" y="311"/>
                    <a:pt x="305" y="308"/>
                  </a:cubicBezTo>
                  <a:cubicBezTo>
                    <a:pt x="299" y="305"/>
                    <a:pt x="293" y="303"/>
                    <a:pt x="286" y="301"/>
                  </a:cubicBezTo>
                  <a:cubicBezTo>
                    <a:pt x="282" y="300"/>
                    <a:pt x="277" y="298"/>
                    <a:pt x="273" y="298"/>
                  </a:cubicBezTo>
                  <a:cubicBezTo>
                    <a:pt x="271" y="297"/>
                    <a:pt x="268" y="297"/>
                    <a:pt x="266" y="296"/>
                  </a:cubicBezTo>
                  <a:cubicBezTo>
                    <a:pt x="265" y="296"/>
                    <a:pt x="264" y="296"/>
                    <a:pt x="263" y="296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8" y="295"/>
                    <a:pt x="258" y="295"/>
                    <a:pt x="258" y="295"/>
                  </a:cubicBezTo>
                  <a:cubicBezTo>
                    <a:pt x="258" y="295"/>
                    <a:pt x="258" y="295"/>
                    <a:pt x="258" y="295"/>
                  </a:cubicBezTo>
                  <a:cubicBezTo>
                    <a:pt x="258" y="295"/>
                    <a:pt x="257" y="295"/>
                    <a:pt x="257" y="295"/>
                  </a:cubicBezTo>
                  <a:cubicBezTo>
                    <a:pt x="256" y="295"/>
                    <a:pt x="256" y="295"/>
                    <a:pt x="255" y="296"/>
                  </a:cubicBezTo>
                  <a:cubicBezTo>
                    <a:pt x="253" y="296"/>
                    <a:pt x="251" y="296"/>
                    <a:pt x="249" y="296"/>
                  </a:cubicBezTo>
                  <a:cubicBezTo>
                    <a:pt x="249" y="296"/>
                    <a:pt x="247" y="296"/>
                    <a:pt x="245" y="296"/>
                  </a:cubicBezTo>
                  <a:cubicBezTo>
                    <a:pt x="242" y="297"/>
                    <a:pt x="240" y="297"/>
                    <a:pt x="240" y="297"/>
                  </a:cubicBezTo>
                  <a:cubicBezTo>
                    <a:pt x="240" y="297"/>
                    <a:pt x="238" y="297"/>
                    <a:pt x="234" y="298"/>
                  </a:cubicBezTo>
                  <a:cubicBezTo>
                    <a:pt x="229" y="299"/>
                    <a:pt x="223" y="301"/>
                    <a:pt x="216" y="304"/>
                  </a:cubicBezTo>
                  <a:cubicBezTo>
                    <a:pt x="209" y="307"/>
                    <a:pt x="201" y="311"/>
                    <a:pt x="194" y="317"/>
                  </a:cubicBezTo>
                  <a:cubicBezTo>
                    <a:pt x="190" y="320"/>
                    <a:pt x="186" y="324"/>
                    <a:pt x="183" y="327"/>
                  </a:cubicBezTo>
                  <a:cubicBezTo>
                    <a:pt x="179" y="331"/>
                    <a:pt x="176" y="335"/>
                    <a:pt x="173" y="339"/>
                  </a:cubicBezTo>
                  <a:cubicBezTo>
                    <a:pt x="167" y="347"/>
                    <a:pt x="163" y="357"/>
                    <a:pt x="160" y="366"/>
                  </a:cubicBezTo>
                  <a:cubicBezTo>
                    <a:pt x="157" y="375"/>
                    <a:pt x="156" y="383"/>
                    <a:pt x="155" y="390"/>
                  </a:cubicBezTo>
                  <a:cubicBezTo>
                    <a:pt x="154" y="397"/>
                    <a:pt x="154" y="404"/>
                    <a:pt x="154" y="406"/>
                  </a:cubicBezTo>
                  <a:cubicBezTo>
                    <a:pt x="154" y="410"/>
                    <a:pt x="154" y="412"/>
                    <a:pt x="154" y="412"/>
                  </a:cubicBezTo>
                  <a:cubicBezTo>
                    <a:pt x="160" y="458"/>
                    <a:pt x="160" y="458"/>
                    <a:pt x="160" y="458"/>
                  </a:cubicBezTo>
                  <a:cubicBezTo>
                    <a:pt x="163" y="487"/>
                    <a:pt x="165" y="526"/>
                    <a:pt x="165" y="567"/>
                  </a:cubicBezTo>
                  <a:cubicBezTo>
                    <a:pt x="165" y="568"/>
                    <a:pt x="165" y="568"/>
                    <a:pt x="165" y="569"/>
                  </a:cubicBezTo>
                  <a:cubicBezTo>
                    <a:pt x="152" y="569"/>
                    <a:pt x="142" y="568"/>
                    <a:pt x="129" y="567"/>
                  </a:cubicBezTo>
                  <a:cubicBezTo>
                    <a:pt x="125" y="567"/>
                    <a:pt x="121" y="567"/>
                    <a:pt x="117" y="566"/>
                  </a:cubicBezTo>
                  <a:cubicBezTo>
                    <a:pt x="114" y="566"/>
                    <a:pt x="110" y="566"/>
                    <a:pt x="107" y="566"/>
                  </a:cubicBezTo>
                  <a:cubicBezTo>
                    <a:pt x="101" y="565"/>
                    <a:pt x="95" y="563"/>
                    <a:pt x="91" y="562"/>
                  </a:cubicBezTo>
                  <a:cubicBezTo>
                    <a:pt x="91" y="562"/>
                    <a:pt x="88" y="561"/>
                    <a:pt x="85" y="559"/>
                  </a:cubicBezTo>
                  <a:cubicBezTo>
                    <a:pt x="82" y="558"/>
                    <a:pt x="78" y="556"/>
                    <a:pt x="75" y="553"/>
                  </a:cubicBezTo>
                  <a:cubicBezTo>
                    <a:pt x="72" y="551"/>
                    <a:pt x="69" y="548"/>
                    <a:pt x="67" y="545"/>
                  </a:cubicBezTo>
                  <a:cubicBezTo>
                    <a:pt x="66" y="544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2"/>
                    <a:pt x="65" y="542"/>
                    <a:pt x="65" y="542"/>
                  </a:cubicBezTo>
                  <a:cubicBezTo>
                    <a:pt x="65" y="542"/>
                    <a:pt x="65" y="542"/>
                    <a:pt x="65" y="542"/>
                  </a:cubicBezTo>
                  <a:cubicBezTo>
                    <a:pt x="64" y="542"/>
                    <a:pt x="64" y="542"/>
                    <a:pt x="64" y="542"/>
                  </a:cubicBezTo>
                  <a:cubicBezTo>
                    <a:pt x="64" y="541"/>
                    <a:pt x="64" y="541"/>
                    <a:pt x="64" y="541"/>
                  </a:cubicBezTo>
                  <a:cubicBezTo>
                    <a:pt x="64" y="541"/>
                    <a:pt x="64" y="541"/>
                    <a:pt x="64" y="541"/>
                  </a:cubicBezTo>
                  <a:cubicBezTo>
                    <a:pt x="63" y="541"/>
                    <a:pt x="63" y="541"/>
                    <a:pt x="63" y="540"/>
                  </a:cubicBezTo>
                  <a:cubicBezTo>
                    <a:pt x="63" y="540"/>
                    <a:pt x="63" y="540"/>
                    <a:pt x="62" y="540"/>
                  </a:cubicBezTo>
                  <a:cubicBezTo>
                    <a:pt x="62" y="539"/>
                    <a:pt x="60" y="537"/>
                    <a:pt x="59" y="535"/>
                  </a:cubicBezTo>
                  <a:cubicBezTo>
                    <a:pt x="57" y="532"/>
                    <a:pt x="55" y="528"/>
                    <a:pt x="55" y="528"/>
                  </a:cubicBezTo>
                  <a:cubicBezTo>
                    <a:pt x="55" y="528"/>
                    <a:pt x="55" y="529"/>
                    <a:pt x="56" y="531"/>
                  </a:cubicBezTo>
                  <a:cubicBezTo>
                    <a:pt x="56" y="532"/>
                    <a:pt x="57" y="534"/>
                    <a:pt x="58" y="537"/>
                  </a:cubicBezTo>
                  <a:cubicBezTo>
                    <a:pt x="61" y="541"/>
                    <a:pt x="65" y="548"/>
                    <a:pt x="70" y="553"/>
                  </a:cubicBezTo>
                  <a:cubicBezTo>
                    <a:pt x="76" y="558"/>
                    <a:pt x="83" y="562"/>
                    <a:pt x="89" y="564"/>
                  </a:cubicBezTo>
                  <a:cubicBezTo>
                    <a:pt x="92" y="565"/>
                    <a:pt x="95" y="566"/>
                    <a:pt x="97" y="566"/>
                  </a:cubicBezTo>
                  <a:cubicBezTo>
                    <a:pt x="99" y="567"/>
                    <a:pt x="100" y="567"/>
                    <a:pt x="100" y="567"/>
                  </a:cubicBezTo>
                  <a:cubicBezTo>
                    <a:pt x="102" y="568"/>
                    <a:pt x="104" y="568"/>
                    <a:pt x="106" y="569"/>
                  </a:cubicBezTo>
                  <a:cubicBezTo>
                    <a:pt x="107" y="569"/>
                    <a:pt x="108" y="569"/>
                    <a:pt x="109" y="569"/>
                  </a:cubicBezTo>
                  <a:cubicBezTo>
                    <a:pt x="111" y="570"/>
                    <a:pt x="111" y="570"/>
                    <a:pt x="111" y="570"/>
                  </a:cubicBezTo>
                  <a:cubicBezTo>
                    <a:pt x="111" y="570"/>
                    <a:pt x="111" y="570"/>
                    <a:pt x="111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3" y="570"/>
                    <a:pt x="113" y="570"/>
                    <a:pt x="113" y="570"/>
                  </a:cubicBezTo>
                  <a:cubicBezTo>
                    <a:pt x="117" y="571"/>
                    <a:pt x="120" y="571"/>
                    <a:pt x="123" y="572"/>
                  </a:cubicBezTo>
                  <a:cubicBezTo>
                    <a:pt x="129" y="574"/>
                    <a:pt x="132" y="575"/>
                    <a:pt x="132" y="577"/>
                  </a:cubicBezTo>
                  <a:cubicBezTo>
                    <a:pt x="132" y="579"/>
                    <a:pt x="129" y="581"/>
                    <a:pt x="123" y="582"/>
                  </a:cubicBezTo>
                  <a:cubicBezTo>
                    <a:pt x="120" y="583"/>
                    <a:pt x="117" y="584"/>
                    <a:pt x="113" y="585"/>
                  </a:cubicBezTo>
                  <a:cubicBezTo>
                    <a:pt x="108" y="585"/>
                    <a:pt x="103" y="586"/>
                    <a:pt x="98" y="586"/>
                  </a:cubicBezTo>
                  <a:cubicBezTo>
                    <a:pt x="98" y="586"/>
                    <a:pt x="94" y="586"/>
                    <a:pt x="89" y="586"/>
                  </a:cubicBezTo>
                  <a:cubicBezTo>
                    <a:pt x="84" y="585"/>
                    <a:pt x="77" y="584"/>
                    <a:pt x="70" y="582"/>
                  </a:cubicBezTo>
                  <a:cubicBezTo>
                    <a:pt x="63" y="580"/>
                    <a:pt x="56" y="577"/>
                    <a:pt x="51" y="575"/>
                  </a:cubicBezTo>
                  <a:cubicBezTo>
                    <a:pt x="49" y="573"/>
                    <a:pt x="47" y="572"/>
                    <a:pt x="46" y="571"/>
                  </a:cubicBezTo>
                  <a:cubicBezTo>
                    <a:pt x="44" y="570"/>
                    <a:pt x="43" y="569"/>
                    <a:pt x="43" y="569"/>
                  </a:cubicBezTo>
                  <a:cubicBezTo>
                    <a:pt x="43" y="569"/>
                    <a:pt x="43" y="569"/>
                    <a:pt x="42" y="568"/>
                  </a:cubicBezTo>
                  <a:cubicBezTo>
                    <a:pt x="42" y="568"/>
                    <a:pt x="41" y="568"/>
                    <a:pt x="41" y="568"/>
                  </a:cubicBezTo>
                  <a:cubicBezTo>
                    <a:pt x="41" y="568"/>
                    <a:pt x="41" y="567"/>
                    <a:pt x="41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6"/>
                    <a:pt x="39" y="566"/>
                  </a:cubicBezTo>
                  <a:cubicBezTo>
                    <a:pt x="39" y="566"/>
                    <a:pt x="39" y="566"/>
                    <a:pt x="38" y="565"/>
                  </a:cubicBezTo>
                  <a:cubicBezTo>
                    <a:pt x="36" y="564"/>
                    <a:pt x="35" y="562"/>
                    <a:pt x="33" y="560"/>
                  </a:cubicBezTo>
                  <a:cubicBezTo>
                    <a:pt x="31" y="558"/>
                    <a:pt x="29" y="556"/>
                    <a:pt x="28" y="554"/>
                  </a:cubicBezTo>
                  <a:cubicBezTo>
                    <a:pt x="24" y="550"/>
                    <a:pt x="21" y="545"/>
                    <a:pt x="19" y="541"/>
                  </a:cubicBezTo>
                  <a:cubicBezTo>
                    <a:pt x="17" y="537"/>
                    <a:pt x="16" y="535"/>
                    <a:pt x="16" y="535"/>
                  </a:cubicBezTo>
                  <a:cubicBezTo>
                    <a:pt x="16" y="535"/>
                    <a:pt x="15" y="532"/>
                    <a:pt x="13" y="527"/>
                  </a:cubicBezTo>
                  <a:cubicBezTo>
                    <a:pt x="11" y="522"/>
                    <a:pt x="9" y="516"/>
                    <a:pt x="8" y="510"/>
                  </a:cubicBezTo>
                  <a:cubicBezTo>
                    <a:pt x="8" y="506"/>
                    <a:pt x="7" y="503"/>
                    <a:pt x="7" y="500"/>
                  </a:cubicBezTo>
                  <a:cubicBezTo>
                    <a:pt x="6" y="497"/>
                    <a:pt x="6" y="495"/>
                    <a:pt x="6" y="492"/>
                  </a:cubicBezTo>
                  <a:cubicBezTo>
                    <a:pt x="5" y="488"/>
                    <a:pt x="5" y="485"/>
                    <a:pt x="5" y="485"/>
                  </a:cubicBezTo>
                  <a:cubicBezTo>
                    <a:pt x="2" y="463"/>
                    <a:pt x="1" y="434"/>
                    <a:pt x="1" y="403"/>
                  </a:cubicBezTo>
                  <a:cubicBezTo>
                    <a:pt x="1" y="395"/>
                    <a:pt x="1" y="387"/>
                    <a:pt x="1" y="379"/>
                  </a:cubicBezTo>
                  <a:cubicBezTo>
                    <a:pt x="1" y="373"/>
                    <a:pt x="2" y="367"/>
                    <a:pt x="2" y="361"/>
                  </a:cubicBezTo>
                  <a:cubicBezTo>
                    <a:pt x="3" y="346"/>
                    <a:pt x="4" y="333"/>
                    <a:pt x="5" y="321"/>
                  </a:cubicBezTo>
                  <a:cubicBezTo>
                    <a:pt x="21" y="184"/>
                    <a:pt x="21" y="184"/>
                    <a:pt x="21" y="184"/>
                  </a:cubicBezTo>
                  <a:cubicBezTo>
                    <a:pt x="23" y="163"/>
                    <a:pt x="27" y="150"/>
                    <a:pt x="30" y="150"/>
                  </a:cubicBezTo>
                  <a:cubicBezTo>
                    <a:pt x="34" y="150"/>
                    <a:pt x="37" y="163"/>
                    <a:pt x="40" y="184"/>
                  </a:cubicBezTo>
                  <a:cubicBezTo>
                    <a:pt x="47" y="247"/>
                    <a:pt x="47" y="247"/>
                    <a:pt x="47" y="247"/>
                  </a:cubicBezTo>
                  <a:cubicBezTo>
                    <a:pt x="49" y="266"/>
                    <a:pt x="49" y="266"/>
                    <a:pt x="49" y="266"/>
                  </a:cubicBezTo>
                  <a:cubicBezTo>
                    <a:pt x="49" y="209"/>
                    <a:pt x="49" y="209"/>
                    <a:pt x="49" y="209"/>
                  </a:cubicBezTo>
                  <a:cubicBezTo>
                    <a:pt x="49" y="209"/>
                    <a:pt x="48" y="208"/>
                    <a:pt x="48" y="207"/>
                  </a:cubicBezTo>
                  <a:cubicBezTo>
                    <a:pt x="45" y="200"/>
                    <a:pt x="42" y="186"/>
                    <a:pt x="40" y="167"/>
                  </a:cubicBezTo>
                  <a:cubicBezTo>
                    <a:pt x="34" y="122"/>
                    <a:pt x="29" y="77"/>
                    <a:pt x="28" y="32"/>
                  </a:cubicBezTo>
                  <a:cubicBezTo>
                    <a:pt x="28" y="30"/>
                    <a:pt x="28" y="24"/>
                    <a:pt x="28" y="23"/>
                  </a:cubicBezTo>
                  <a:cubicBezTo>
                    <a:pt x="28" y="19"/>
                    <a:pt x="30" y="19"/>
                    <a:pt x="34" y="18"/>
                  </a:cubicBezTo>
                  <a:cubicBezTo>
                    <a:pt x="38" y="18"/>
                    <a:pt x="63" y="14"/>
                    <a:pt x="63" y="14"/>
                  </a:cubicBezTo>
                  <a:cubicBezTo>
                    <a:pt x="71" y="13"/>
                    <a:pt x="80" y="12"/>
                    <a:pt x="90" y="11"/>
                  </a:cubicBezTo>
                  <a:cubicBezTo>
                    <a:pt x="99" y="10"/>
                    <a:pt x="109" y="10"/>
                    <a:pt x="120" y="9"/>
                  </a:cubicBezTo>
                  <a:cubicBezTo>
                    <a:pt x="128" y="9"/>
                    <a:pt x="137" y="9"/>
                    <a:pt x="145" y="9"/>
                  </a:cubicBezTo>
                  <a:cubicBezTo>
                    <a:pt x="154" y="8"/>
                    <a:pt x="164" y="9"/>
                    <a:pt x="173" y="10"/>
                  </a:cubicBezTo>
                  <a:cubicBezTo>
                    <a:pt x="184" y="12"/>
                    <a:pt x="195" y="15"/>
                    <a:pt x="205" y="19"/>
                  </a:cubicBezTo>
                  <a:cubicBezTo>
                    <a:pt x="215" y="23"/>
                    <a:pt x="224" y="28"/>
                    <a:pt x="232" y="35"/>
                  </a:cubicBezTo>
                  <a:cubicBezTo>
                    <a:pt x="236" y="38"/>
                    <a:pt x="240" y="41"/>
                    <a:pt x="243" y="44"/>
                  </a:cubicBezTo>
                  <a:cubicBezTo>
                    <a:pt x="245" y="46"/>
                    <a:pt x="246" y="48"/>
                    <a:pt x="248" y="49"/>
                  </a:cubicBezTo>
                  <a:cubicBezTo>
                    <a:pt x="248" y="50"/>
                    <a:pt x="249" y="51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1" y="53"/>
                    <a:pt x="251" y="53"/>
                    <a:pt x="251" y="53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7" y="60"/>
                    <a:pt x="263" y="66"/>
                    <a:pt x="267" y="72"/>
                  </a:cubicBezTo>
                  <a:cubicBezTo>
                    <a:pt x="360" y="180"/>
                    <a:pt x="360" y="180"/>
                    <a:pt x="360" y="180"/>
                  </a:cubicBezTo>
                  <a:cubicBezTo>
                    <a:pt x="360" y="180"/>
                    <a:pt x="362" y="182"/>
                    <a:pt x="364" y="185"/>
                  </a:cubicBezTo>
                  <a:cubicBezTo>
                    <a:pt x="365" y="187"/>
                    <a:pt x="367" y="189"/>
                    <a:pt x="369" y="190"/>
                  </a:cubicBezTo>
                  <a:cubicBezTo>
                    <a:pt x="370" y="192"/>
                    <a:pt x="372" y="194"/>
                    <a:pt x="374" y="196"/>
                  </a:cubicBezTo>
                  <a:cubicBezTo>
                    <a:pt x="381" y="205"/>
                    <a:pt x="389" y="212"/>
                    <a:pt x="389" y="212"/>
                  </a:cubicBezTo>
                  <a:cubicBezTo>
                    <a:pt x="390" y="214"/>
                    <a:pt x="390" y="214"/>
                    <a:pt x="390" y="214"/>
                  </a:cubicBezTo>
                  <a:cubicBezTo>
                    <a:pt x="407" y="230"/>
                    <a:pt x="418" y="241"/>
                    <a:pt x="421" y="248"/>
                  </a:cubicBezTo>
                  <a:cubicBezTo>
                    <a:pt x="421" y="248"/>
                    <a:pt x="423" y="249"/>
                    <a:pt x="426" y="251"/>
                  </a:cubicBezTo>
                  <a:cubicBezTo>
                    <a:pt x="430" y="253"/>
                    <a:pt x="435" y="256"/>
                    <a:pt x="441" y="260"/>
                  </a:cubicBezTo>
                  <a:cubicBezTo>
                    <a:pt x="447" y="263"/>
                    <a:pt x="454" y="267"/>
                    <a:pt x="461" y="271"/>
                  </a:cubicBezTo>
                  <a:cubicBezTo>
                    <a:pt x="465" y="273"/>
                    <a:pt x="469" y="275"/>
                    <a:pt x="474" y="277"/>
                  </a:cubicBezTo>
                  <a:cubicBezTo>
                    <a:pt x="475" y="277"/>
                    <a:pt x="476" y="278"/>
                    <a:pt x="477" y="278"/>
                  </a:cubicBezTo>
                  <a:cubicBezTo>
                    <a:pt x="480" y="280"/>
                    <a:pt x="480" y="280"/>
                    <a:pt x="480" y="280"/>
                  </a:cubicBezTo>
                  <a:cubicBezTo>
                    <a:pt x="482" y="281"/>
                    <a:pt x="485" y="281"/>
                    <a:pt x="487" y="282"/>
                  </a:cubicBezTo>
                  <a:cubicBezTo>
                    <a:pt x="505" y="289"/>
                    <a:pt x="523" y="294"/>
                    <a:pt x="537" y="297"/>
                  </a:cubicBezTo>
                  <a:cubicBezTo>
                    <a:pt x="544" y="299"/>
                    <a:pt x="549" y="300"/>
                    <a:pt x="553" y="300"/>
                  </a:cubicBezTo>
                  <a:cubicBezTo>
                    <a:pt x="558" y="301"/>
                    <a:pt x="560" y="301"/>
                    <a:pt x="560" y="301"/>
                  </a:cubicBezTo>
                  <a:cubicBezTo>
                    <a:pt x="577" y="303"/>
                    <a:pt x="596" y="304"/>
                    <a:pt x="614" y="304"/>
                  </a:cubicBezTo>
                  <a:cubicBezTo>
                    <a:pt x="633" y="304"/>
                    <a:pt x="651" y="303"/>
                    <a:pt x="668" y="302"/>
                  </a:cubicBezTo>
                  <a:cubicBezTo>
                    <a:pt x="668" y="302"/>
                    <a:pt x="681" y="300"/>
                    <a:pt x="693" y="297"/>
                  </a:cubicBezTo>
                  <a:cubicBezTo>
                    <a:pt x="706" y="295"/>
                    <a:pt x="718" y="291"/>
                    <a:pt x="718" y="291"/>
                  </a:cubicBezTo>
                  <a:cubicBezTo>
                    <a:pt x="715" y="292"/>
                    <a:pt x="715" y="292"/>
                    <a:pt x="715" y="292"/>
                  </a:cubicBezTo>
                  <a:cubicBezTo>
                    <a:pt x="703" y="294"/>
                    <a:pt x="694" y="294"/>
                    <a:pt x="688" y="294"/>
                  </a:cubicBezTo>
                  <a:cubicBezTo>
                    <a:pt x="682" y="293"/>
                    <a:pt x="678" y="292"/>
                    <a:pt x="678" y="290"/>
                  </a:cubicBezTo>
                  <a:cubicBezTo>
                    <a:pt x="678" y="289"/>
                    <a:pt x="680" y="286"/>
                    <a:pt x="686" y="284"/>
                  </a:cubicBezTo>
                  <a:cubicBezTo>
                    <a:pt x="691" y="281"/>
                    <a:pt x="700" y="278"/>
                    <a:pt x="710" y="274"/>
                  </a:cubicBezTo>
                  <a:cubicBezTo>
                    <a:pt x="710" y="274"/>
                    <a:pt x="712" y="273"/>
                    <a:pt x="716" y="271"/>
                  </a:cubicBezTo>
                  <a:cubicBezTo>
                    <a:pt x="719" y="270"/>
                    <a:pt x="724" y="268"/>
                    <a:pt x="730" y="265"/>
                  </a:cubicBezTo>
                  <a:cubicBezTo>
                    <a:pt x="742" y="259"/>
                    <a:pt x="756" y="250"/>
                    <a:pt x="770" y="240"/>
                  </a:cubicBezTo>
                  <a:cubicBezTo>
                    <a:pt x="784" y="230"/>
                    <a:pt x="797" y="219"/>
                    <a:pt x="806" y="211"/>
                  </a:cubicBezTo>
                  <a:cubicBezTo>
                    <a:pt x="816" y="202"/>
                    <a:pt x="822" y="196"/>
                    <a:pt x="822" y="196"/>
                  </a:cubicBezTo>
                  <a:cubicBezTo>
                    <a:pt x="822" y="196"/>
                    <a:pt x="822" y="196"/>
                    <a:pt x="822" y="196"/>
                  </a:cubicBezTo>
                  <a:cubicBezTo>
                    <a:pt x="828" y="190"/>
                    <a:pt x="835" y="183"/>
                    <a:pt x="842" y="175"/>
                  </a:cubicBezTo>
                  <a:cubicBezTo>
                    <a:pt x="845" y="172"/>
                    <a:pt x="848" y="169"/>
                    <a:pt x="851" y="167"/>
                  </a:cubicBezTo>
                  <a:cubicBezTo>
                    <a:pt x="854" y="164"/>
                    <a:pt x="857" y="161"/>
                    <a:pt x="860" y="157"/>
                  </a:cubicBezTo>
                  <a:cubicBezTo>
                    <a:pt x="866" y="151"/>
                    <a:pt x="873" y="145"/>
                    <a:pt x="880" y="139"/>
                  </a:cubicBezTo>
                  <a:cubicBezTo>
                    <a:pt x="902" y="118"/>
                    <a:pt x="925" y="99"/>
                    <a:pt x="942" y="86"/>
                  </a:cubicBezTo>
                  <a:cubicBezTo>
                    <a:pt x="988" y="52"/>
                    <a:pt x="988" y="52"/>
                    <a:pt x="988" y="52"/>
                  </a:cubicBezTo>
                  <a:cubicBezTo>
                    <a:pt x="1010" y="36"/>
                    <a:pt x="1010" y="36"/>
                    <a:pt x="1010" y="36"/>
                  </a:cubicBezTo>
                  <a:cubicBezTo>
                    <a:pt x="1012" y="34"/>
                    <a:pt x="1016" y="32"/>
                    <a:pt x="1022" y="29"/>
                  </a:cubicBezTo>
                  <a:cubicBezTo>
                    <a:pt x="1028" y="26"/>
                    <a:pt x="1044" y="26"/>
                    <a:pt x="1058" y="25"/>
                  </a:cubicBezTo>
                  <a:cubicBezTo>
                    <a:pt x="1072" y="24"/>
                    <a:pt x="1087" y="30"/>
                    <a:pt x="1091" y="32"/>
                  </a:cubicBezTo>
                  <a:cubicBezTo>
                    <a:pt x="1092" y="33"/>
                    <a:pt x="1092" y="34"/>
                    <a:pt x="1092" y="35"/>
                  </a:cubicBezTo>
                  <a:cubicBezTo>
                    <a:pt x="1092" y="35"/>
                    <a:pt x="1092" y="35"/>
                    <a:pt x="1092" y="35"/>
                  </a:cubicBezTo>
                  <a:cubicBezTo>
                    <a:pt x="1090" y="39"/>
                    <a:pt x="1079" y="42"/>
                    <a:pt x="1058" y="44"/>
                  </a:cubicBezTo>
                  <a:cubicBezTo>
                    <a:pt x="1056" y="44"/>
                    <a:pt x="1056" y="44"/>
                    <a:pt x="1056" y="44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99" y="42"/>
                    <a:pt x="1115" y="41"/>
                  </a:cubicBezTo>
                  <a:cubicBezTo>
                    <a:pt x="1118" y="40"/>
                    <a:pt x="1118" y="40"/>
                    <a:pt x="1118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21" y="40"/>
                    <a:pt x="1121" y="40"/>
                    <a:pt x="1121" y="40"/>
                  </a:cubicBezTo>
                  <a:cubicBezTo>
                    <a:pt x="1121" y="40"/>
                    <a:pt x="1122" y="40"/>
                    <a:pt x="1123" y="40"/>
                  </a:cubicBezTo>
                  <a:cubicBezTo>
                    <a:pt x="1124" y="40"/>
                    <a:pt x="1125" y="40"/>
                    <a:pt x="1125" y="39"/>
                  </a:cubicBezTo>
                  <a:cubicBezTo>
                    <a:pt x="1129" y="39"/>
                    <a:pt x="1132" y="39"/>
                    <a:pt x="1134" y="39"/>
                  </a:cubicBezTo>
                  <a:cubicBezTo>
                    <a:pt x="1137" y="39"/>
                    <a:pt x="1139" y="39"/>
                    <a:pt x="1140" y="39"/>
                  </a:cubicBezTo>
                  <a:cubicBezTo>
                    <a:pt x="1141" y="39"/>
                    <a:pt x="1142" y="40"/>
                    <a:pt x="1142" y="40"/>
                  </a:cubicBezTo>
                  <a:cubicBezTo>
                    <a:pt x="1148" y="40"/>
                    <a:pt x="1154" y="42"/>
                    <a:pt x="1161" y="44"/>
                  </a:cubicBezTo>
                  <a:cubicBezTo>
                    <a:pt x="1164" y="46"/>
                    <a:pt x="1167" y="48"/>
                    <a:pt x="1169" y="50"/>
                  </a:cubicBezTo>
                  <a:cubicBezTo>
                    <a:pt x="1171" y="51"/>
                    <a:pt x="1172" y="52"/>
                    <a:pt x="1174" y="53"/>
                  </a:cubicBezTo>
                  <a:cubicBezTo>
                    <a:pt x="1176" y="55"/>
                    <a:pt x="1176" y="55"/>
                    <a:pt x="1176" y="55"/>
                  </a:cubicBezTo>
                  <a:cubicBezTo>
                    <a:pt x="1176" y="56"/>
                    <a:pt x="1177" y="56"/>
                    <a:pt x="1178" y="57"/>
                  </a:cubicBezTo>
                  <a:cubicBezTo>
                    <a:pt x="1183" y="63"/>
                    <a:pt x="1187" y="69"/>
                    <a:pt x="1190" y="77"/>
                  </a:cubicBezTo>
                  <a:cubicBezTo>
                    <a:pt x="1192" y="85"/>
                    <a:pt x="1194" y="94"/>
                    <a:pt x="1194" y="104"/>
                  </a:cubicBezTo>
                  <a:cubicBezTo>
                    <a:pt x="1194" y="105"/>
                    <a:pt x="1194" y="106"/>
                    <a:pt x="1194" y="107"/>
                  </a:cubicBezTo>
                  <a:cubicBezTo>
                    <a:pt x="1194" y="111"/>
                    <a:pt x="1194" y="111"/>
                    <a:pt x="1194" y="111"/>
                  </a:cubicBezTo>
                  <a:cubicBezTo>
                    <a:pt x="1194" y="114"/>
                    <a:pt x="1194" y="116"/>
                    <a:pt x="1194" y="119"/>
                  </a:cubicBezTo>
                  <a:cubicBezTo>
                    <a:pt x="1194" y="124"/>
                    <a:pt x="1194" y="129"/>
                    <a:pt x="1194" y="134"/>
                  </a:cubicBezTo>
                  <a:cubicBezTo>
                    <a:pt x="1194" y="144"/>
                    <a:pt x="1193" y="153"/>
                    <a:pt x="1193" y="162"/>
                  </a:cubicBezTo>
                  <a:cubicBezTo>
                    <a:pt x="1192" y="181"/>
                    <a:pt x="1191" y="198"/>
                    <a:pt x="1189" y="212"/>
                  </a:cubicBezTo>
                  <a:cubicBezTo>
                    <a:pt x="1182" y="276"/>
                    <a:pt x="1182" y="276"/>
                    <a:pt x="1182" y="276"/>
                  </a:cubicBezTo>
                  <a:cubicBezTo>
                    <a:pt x="1182" y="294"/>
                    <a:pt x="1182" y="294"/>
                    <a:pt x="1182" y="294"/>
                  </a:cubicBezTo>
                  <a:cubicBezTo>
                    <a:pt x="1182" y="323"/>
                    <a:pt x="1182" y="323"/>
                    <a:pt x="1182" y="323"/>
                  </a:cubicBezTo>
                  <a:cubicBezTo>
                    <a:pt x="1182" y="517"/>
                    <a:pt x="1182" y="517"/>
                    <a:pt x="1182" y="517"/>
                  </a:cubicBezTo>
                  <a:cubicBezTo>
                    <a:pt x="1185" y="497"/>
                    <a:pt x="1188" y="486"/>
                    <a:pt x="1192" y="486"/>
                  </a:cubicBezTo>
                  <a:cubicBezTo>
                    <a:pt x="1197" y="486"/>
                    <a:pt x="1202" y="502"/>
                    <a:pt x="1205" y="531"/>
                  </a:cubicBezTo>
                  <a:cubicBezTo>
                    <a:pt x="1211" y="583"/>
                    <a:pt x="1211" y="583"/>
                    <a:pt x="1211" y="583"/>
                  </a:cubicBezTo>
                  <a:cubicBezTo>
                    <a:pt x="1211" y="585"/>
                    <a:pt x="1210" y="586"/>
                    <a:pt x="1208" y="587"/>
                  </a:cubicBezTo>
                  <a:cubicBezTo>
                    <a:pt x="1206" y="587"/>
                    <a:pt x="1206" y="587"/>
                    <a:pt x="1206" y="587"/>
                  </a:cubicBezTo>
                  <a:cubicBezTo>
                    <a:pt x="1162" y="593"/>
                    <a:pt x="1162" y="593"/>
                    <a:pt x="1162" y="593"/>
                  </a:cubicBezTo>
                  <a:cubicBezTo>
                    <a:pt x="1162" y="593"/>
                    <a:pt x="1158" y="593"/>
                    <a:pt x="1153" y="594"/>
                  </a:cubicBezTo>
                  <a:cubicBezTo>
                    <a:pt x="1150" y="594"/>
                    <a:pt x="1147" y="594"/>
                    <a:pt x="1143" y="595"/>
                  </a:cubicBezTo>
                  <a:cubicBezTo>
                    <a:pt x="1143" y="595"/>
                    <a:pt x="1142" y="595"/>
                    <a:pt x="1141" y="595"/>
                  </a:cubicBezTo>
                  <a:cubicBezTo>
                    <a:pt x="1140" y="595"/>
                    <a:pt x="1139" y="595"/>
                    <a:pt x="1138" y="595"/>
                  </a:cubicBezTo>
                  <a:cubicBezTo>
                    <a:pt x="1136" y="596"/>
                    <a:pt x="1134" y="596"/>
                    <a:pt x="1132" y="596"/>
                  </a:cubicBezTo>
                  <a:cubicBezTo>
                    <a:pt x="1124" y="596"/>
                    <a:pt x="1115" y="596"/>
                    <a:pt x="1109" y="595"/>
                  </a:cubicBezTo>
                  <a:cubicBezTo>
                    <a:pt x="1106" y="595"/>
                    <a:pt x="1103" y="594"/>
                    <a:pt x="1101" y="594"/>
                  </a:cubicBezTo>
                  <a:cubicBezTo>
                    <a:pt x="1099" y="593"/>
                    <a:pt x="1098" y="593"/>
                    <a:pt x="1098" y="593"/>
                  </a:cubicBezTo>
                  <a:cubicBezTo>
                    <a:pt x="1098" y="593"/>
                    <a:pt x="1096" y="593"/>
                    <a:pt x="1093" y="592"/>
                  </a:cubicBezTo>
                  <a:cubicBezTo>
                    <a:pt x="1089" y="591"/>
                    <a:pt x="1085" y="589"/>
                    <a:pt x="1081" y="587"/>
                  </a:cubicBezTo>
                  <a:cubicBezTo>
                    <a:pt x="1076" y="585"/>
                    <a:pt x="1072" y="583"/>
                    <a:pt x="1069" y="581"/>
                  </a:cubicBezTo>
                  <a:cubicBezTo>
                    <a:pt x="1066" y="579"/>
                    <a:pt x="1064" y="577"/>
                    <a:pt x="1064" y="577"/>
                  </a:cubicBezTo>
                  <a:cubicBezTo>
                    <a:pt x="1063" y="577"/>
                    <a:pt x="1063" y="576"/>
                    <a:pt x="1062" y="576"/>
                  </a:cubicBezTo>
                  <a:cubicBezTo>
                    <a:pt x="1061" y="575"/>
                    <a:pt x="1061" y="575"/>
                    <a:pt x="1061" y="575"/>
                  </a:cubicBezTo>
                  <a:cubicBezTo>
                    <a:pt x="1061" y="574"/>
                    <a:pt x="1061" y="574"/>
                    <a:pt x="1061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59" y="573"/>
                    <a:pt x="1059" y="573"/>
                    <a:pt x="1059" y="573"/>
                  </a:cubicBezTo>
                  <a:cubicBezTo>
                    <a:pt x="1059" y="573"/>
                    <a:pt x="1059" y="573"/>
                    <a:pt x="1058" y="572"/>
                  </a:cubicBezTo>
                  <a:cubicBezTo>
                    <a:pt x="1056" y="570"/>
                    <a:pt x="1056" y="570"/>
                    <a:pt x="1056" y="570"/>
                  </a:cubicBezTo>
                  <a:cubicBezTo>
                    <a:pt x="1054" y="568"/>
                    <a:pt x="1051" y="565"/>
                    <a:pt x="1049" y="562"/>
                  </a:cubicBezTo>
                  <a:cubicBezTo>
                    <a:pt x="1044" y="557"/>
                    <a:pt x="1040" y="550"/>
                    <a:pt x="1037" y="543"/>
                  </a:cubicBezTo>
                  <a:cubicBezTo>
                    <a:pt x="1030" y="528"/>
                    <a:pt x="1027" y="512"/>
                    <a:pt x="1027" y="496"/>
                  </a:cubicBezTo>
                  <a:cubicBezTo>
                    <a:pt x="1027" y="496"/>
                    <a:pt x="1027" y="497"/>
                    <a:pt x="1027" y="499"/>
                  </a:cubicBezTo>
                  <a:cubicBezTo>
                    <a:pt x="1027" y="501"/>
                    <a:pt x="1027" y="503"/>
                    <a:pt x="1027" y="507"/>
                  </a:cubicBezTo>
                  <a:cubicBezTo>
                    <a:pt x="1028" y="513"/>
                    <a:pt x="1029" y="522"/>
                    <a:pt x="1031" y="531"/>
                  </a:cubicBezTo>
                  <a:cubicBezTo>
                    <a:pt x="1033" y="540"/>
                    <a:pt x="1037" y="549"/>
                    <a:pt x="1041" y="555"/>
                  </a:cubicBezTo>
                  <a:cubicBezTo>
                    <a:pt x="1044" y="561"/>
                    <a:pt x="1047" y="565"/>
                    <a:pt x="1047" y="565"/>
                  </a:cubicBezTo>
                  <a:cubicBezTo>
                    <a:pt x="1047" y="565"/>
                    <a:pt x="1049" y="567"/>
                    <a:pt x="1050" y="568"/>
                  </a:cubicBezTo>
                  <a:cubicBezTo>
                    <a:pt x="1051" y="570"/>
                    <a:pt x="1053" y="571"/>
                    <a:pt x="1053" y="571"/>
                  </a:cubicBezTo>
                  <a:cubicBezTo>
                    <a:pt x="1061" y="579"/>
                    <a:pt x="1070" y="586"/>
                    <a:pt x="1081" y="591"/>
                  </a:cubicBezTo>
                  <a:cubicBezTo>
                    <a:pt x="1096" y="598"/>
                    <a:pt x="1112" y="601"/>
                    <a:pt x="1128" y="602"/>
                  </a:cubicBezTo>
                  <a:cubicBezTo>
                    <a:pt x="1130" y="602"/>
                    <a:pt x="1132" y="602"/>
                    <a:pt x="1134" y="602"/>
                  </a:cubicBezTo>
                  <a:cubicBezTo>
                    <a:pt x="1135" y="602"/>
                    <a:pt x="1135" y="602"/>
                    <a:pt x="1135" y="602"/>
                  </a:cubicBezTo>
                  <a:cubicBezTo>
                    <a:pt x="1137" y="602"/>
                    <a:pt x="1137" y="602"/>
                    <a:pt x="1137" y="602"/>
                  </a:cubicBezTo>
                  <a:cubicBezTo>
                    <a:pt x="1140" y="602"/>
                    <a:pt x="1140" y="602"/>
                    <a:pt x="1140" y="602"/>
                  </a:cubicBezTo>
                  <a:cubicBezTo>
                    <a:pt x="1143" y="602"/>
                    <a:pt x="1147" y="602"/>
                    <a:pt x="1150" y="602"/>
                  </a:cubicBezTo>
                  <a:cubicBezTo>
                    <a:pt x="1158" y="602"/>
                    <a:pt x="1165" y="602"/>
                    <a:pt x="1172" y="602"/>
                  </a:cubicBezTo>
                  <a:cubicBezTo>
                    <a:pt x="1184" y="602"/>
                    <a:pt x="1195" y="602"/>
                    <a:pt x="1206" y="602"/>
                  </a:cubicBezTo>
                  <a:cubicBezTo>
                    <a:pt x="1217" y="603"/>
                    <a:pt x="1225" y="594"/>
                    <a:pt x="1225" y="584"/>
                  </a:cubicBezTo>
                  <a:cubicBezTo>
                    <a:pt x="1226" y="583"/>
                    <a:pt x="1226" y="583"/>
                    <a:pt x="1226" y="583"/>
                  </a:cubicBezTo>
                  <a:cubicBezTo>
                    <a:pt x="1226" y="555"/>
                    <a:pt x="1228" y="529"/>
                    <a:pt x="1230" y="508"/>
                  </a:cubicBezTo>
                  <a:cubicBezTo>
                    <a:pt x="1231" y="502"/>
                    <a:pt x="1231" y="502"/>
                    <a:pt x="1231" y="502"/>
                  </a:cubicBezTo>
                  <a:cubicBezTo>
                    <a:pt x="1231" y="474"/>
                    <a:pt x="1231" y="474"/>
                    <a:pt x="1231" y="474"/>
                  </a:cubicBezTo>
                  <a:cubicBezTo>
                    <a:pt x="1231" y="473"/>
                    <a:pt x="1231" y="473"/>
                    <a:pt x="1231" y="473"/>
                  </a:cubicBezTo>
                  <a:cubicBezTo>
                    <a:pt x="1231" y="474"/>
                    <a:pt x="1231" y="474"/>
                    <a:pt x="1231" y="474"/>
                  </a:cubicBezTo>
                  <a:cubicBezTo>
                    <a:pt x="1226" y="517"/>
                    <a:pt x="1226" y="517"/>
                    <a:pt x="1226" y="517"/>
                  </a:cubicBezTo>
                  <a:cubicBezTo>
                    <a:pt x="1226" y="520"/>
                    <a:pt x="1225" y="522"/>
                    <a:pt x="1225" y="524"/>
                  </a:cubicBezTo>
                  <a:cubicBezTo>
                    <a:pt x="1223" y="542"/>
                    <a:pt x="1220" y="551"/>
                    <a:pt x="1216" y="551"/>
                  </a:cubicBezTo>
                  <a:cubicBezTo>
                    <a:pt x="1213" y="551"/>
                    <a:pt x="1209" y="539"/>
                    <a:pt x="1207" y="517"/>
                  </a:cubicBezTo>
                  <a:cubicBezTo>
                    <a:pt x="1191" y="381"/>
                    <a:pt x="1191" y="381"/>
                    <a:pt x="1191" y="381"/>
                  </a:cubicBezTo>
                  <a:cubicBezTo>
                    <a:pt x="1189" y="359"/>
                    <a:pt x="1187" y="330"/>
                    <a:pt x="1187" y="299"/>
                  </a:cubicBezTo>
                  <a:cubicBezTo>
                    <a:pt x="1187" y="290"/>
                    <a:pt x="1187" y="281"/>
                    <a:pt x="1188" y="272"/>
                  </a:cubicBezTo>
                  <a:cubicBezTo>
                    <a:pt x="1188" y="251"/>
                    <a:pt x="1189" y="232"/>
                    <a:pt x="1191" y="217"/>
                  </a:cubicBezTo>
                  <a:cubicBezTo>
                    <a:pt x="1191" y="217"/>
                    <a:pt x="1195" y="182"/>
                    <a:pt x="1199" y="148"/>
                  </a:cubicBezTo>
                  <a:cubicBezTo>
                    <a:pt x="1200" y="140"/>
                    <a:pt x="1201" y="131"/>
                    <a:pt x="1202" y="123"/>
                  </a:cubicBezTo>
                  <a:cubicBezTo>
                    <a:pt x="1203" y="115"/>
                    <a:pt x="1204" y="107"/>
                    <a:pt x="1204" y="101"/>
                  </a:cubicBezTo>
                  <a:cubicBezTo>
                    <a:pt x="1205" y="95"/>
                    <a:pt x="1205" y="89"/>
                    <a:pt x="1204" y="86"/>
                  </a:cubicBezTo>
                  <a:cubicBezTo>
                    <a:pt x="1204" y="82"/>
                    <a:pt x="1204" y="80"/>
                    <a:pt x="1204" y="80"/>
                  </a:cubicBezTo>
                  <a:cubicBezTo>
                    <a:pt x="1204" y="77"/>
                    <a:pt x="1203" y="74"/>
                    <a:pt x="1203" y="72"/>
                  </a:cubicBezTo>
                  <a:cubicBezTo>
                    <a:pt x="1201" y="63"/>
                    <a:pt x="1199" y="57"/>
                    <a:pt x="1198" y="52"/>
                  </a:cubicBezTo>
                  <a:cubicBezTo>
                    <a:pt x="1196" y="47"/>
                    <a:pt x="1196" y="44"/>
                    <a:pt x="1197" y="43"/>
                  </a:cubicBezTo>
                  <a:cubicBezTo>
                    <a:pt x="1198" y="42"/>
                    <a:pt x="1202" y="44"/>
                    <a:pt x="1207" y="49"/>
                  </a:cubicBezTo>
                  <a:close/>
                  <a:moveTo>
                    <a:pt x="262" y="41"/>
                  </a:moveTo>
                  <a:cubicBezTo>
                    <a:pt x="262" y="41"/>
                    <a:pt x="262" y="41"/>
                    <a:pt x="262" y="41"/>
                  </a:cubicBezTo>
                  <a:cubicBezTo>
                    <a:pt x="262" y="41"/>
                    <a:pt x="262" y="41"/>
                    <a:pt x="262" y="41"/>
                  </a:cubicBezTo>
                  <a:close/>
                  <a:moveTo>
                    <a:pt x="261" y="41"/>
                  </a:move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4F592370-5BF2-45EE-9D4B-8F317B5FC633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81588"/>
              <a:ext cx="4114800" cy="2051736"/>
            </a:xfrm>
            <a:custGeom>
              <a:avLst/>
              <a:gdLst>
                <a:gd name="T0" fmla="*/ 274 w 1231"/>
                <a:gd name="T1" fmla="*/ 325 h 613"/>
                <a:gd name="T2" fmla="*/ 195 w 1231"/>
                <a:gd name="T3" fmla="*/ 407 h 613"/>
                <a:gd name="T4" fmla="*/ 112 w 1231"/>
                <a:gd name="T5" fmla="*/ 608 h 613"/>
                <a:gd name="T6" fmla="*/ 109 w 1231"/>
                <a:gd name="T7" fmla="*/ 608 h 613"/>
                <a:gd name="T8" fmla="*/ 108 w 1231"/>
                <a:gd name="T9" fmla="*/ 605 h 613"/>
                <a:gd name="T10" fmla="*/ 201 w 1231"/>
                <a:gd name="T11" fmla="*/ 588 h 613"/>
                <a:gd name="T12" fmla="*/ 253 w 1231"/>
                <a:gd name="T13" fmla="*/ 325 h 613"/>
                <a:gd name="T14" fmla="*/ 338 w 1231"/>
                <a:gd name="T15" fmla="*/ 338 h 613"/>
                <a:gd name="T16" fmla="*/ 365 w 1231"/>
                <a:gd name="T17" fmla="*/ 339 h 613"/>
                <a:gd name="T18" fmla="*/ 442 w 1231"/>
                <a:gd name="T19" fmla="*/ 420 h 613"/>
                <a:gd name="T20" fmla="*/ 6 w 1231"/>
                <a:gd name="T21" fmla="*/ 20 h 613"/>
                <a:gd name="T22" fmla="*/ 0 w 1231"/>
                <a:gd name="T23" fmla="*/ 73 h 613"/>
                <a:gd name="T24" fmla="*/ 595 w 1231"/>
                <a:gd name="T25" fmla="*/ 272 h 613"/>
                <a:gd name="T26" fmla="*/ 814 w 1231"/>
                <a:gd name="T27" fmla="*/ 189 h 613"/>
                <a:gd name="T28" fmla="*/ 628 w 1231"/>
                <a:gd name="T29" fmla="*/ 260 h 613"/>
                <a:gd name="T30" fmla="*/ 432 w 1231"/>
                <a:gd name="T31" fmla="*/ 234 h 613"/>
                <a:gd name="T32" fmla="*/ 951 w 1231"/>
                <a:gd name="T33" fmla="*/ 108 h 613"/>
                <a:gd name="T34" fmla="*/ 1050 w 1231"/>
                <a:gd name="T35" fmla="*/ 39 h 613"/>
                <a:gd name="T36" fmla="*/ 1017 w 1231"/>
                <a:gd name="T37" fmla="*/ 54 h 613"/>
                <a:gd name="T38" fmla="*/ 44 w 1231"/>
                <a:gd name="T39" fmla="*/ 291 h 613"/>
                <a:gd name="T40" fmla="*/ 10 w 1231"/>
                <a:gd name="T41" fmla="*/ 503 h 613"/>
                <a:gd name="T42" fmla="*/ 40 w 1231"/>
                <a:gd name="T43" fmla="*/ 572 h 613"/>
                <a:gd name="T44" fmla="*/ 43 w 1231"/>
                <a:gd name="T45" fmla="*/ 574 h 613"/>
                <a:gd name="T46" fmla="*/ 24 w 1231"/>
                <a:gd name="T47" fmla="*/ 491 h 613"/>
                <a:gd name="T48" fmla="*/ 149 w 1231"/>
                <a:gd name="T49" fmla="*/ 28 h 613"/>
                <a:gd name="T50" fmla="*/ 239 w 1231"/>
                <a:gd name="T51" fmla="*/ 69 h 613"/>
                <a:gd name="T52" fmla="*/ 389 w 1231"/>
                <a:gd name="T53" fmla="*/ 217 h 613"/>
                <a:gd name="T54" fmla="*/ 241 w 1231"/>
                <a:gd name="T55" fmla="*/ 67 h 613"/>
                <a:gd name="T56" fmla="*/ 214 w 1231"/>
                <a:gd name="T57" fmla="*/ 41 h 613"/>
                <a:gd name="T58" fmla="*/ 40 w 1231"/>
                <a:gd name="T59" fmla="*/ 31 h 613"/>
                <a:gd name="T60" fmla="*/ 41 w 1231"/>
                <a:gd name="T61" fmla="*/ 33 h 613"/>
                <a:gd name="T62" fmla="*/ 963 w 1231"/>
                <a:gd name="T63" fmla="*/ 346 h 613"/>
                <a:gd name="T64" fmla="*/ 927 w 1231"/>
                <a:gd name="T65" fmla="*/ 360 h 613"/>
                <a:gd name="T66" fmla="*/ 1010 w 1231"/>
                <a:gd name="T67" fmla="*/ 364 h 613"/>
                <a:gd name="T68" fmla="*/ 1030 w 1231"/>
                <a:gd name="T69" fmla="*/ 408 h 613"/>
                <a:gd name="T70" fmla="*/ 1101 w 1231"/>
                <a:gd name="T71" fmla="*/ 596 h 613"/>
                <a:gd name="T72" fmla="*/ 1162 w 1231"/>
                <a:gd name="T73" fmla="*/ 598 h 613"/>
                <a:gd name="T74" fmla="*/ 1068 w 1231"/>
                <a:gd name="T75" fmla="*/ 536 h 613"/>
                <a:gd name="T76" fmla="*/ 1088 w 1231"/>
                <a:gd name="T77" fmla="*/ 551 h 613"/>
                <a:gd name="T78" fmla="*/ 1103 w 1231"/>
                <a:gd name="T79" fmla="*/ 555 h 613"/>
                <a:gd name="T80" fmla="*/ 1091 w 1231"/>
                <a:gd name="T81" fmla="*/ 549 h 613"/>
                <a:gd name="T82" fmla="*/ 1071 w 1231"/>
                <a:gd name="T83" fmla="*/ 501 h 613"/>
                <a:gd name="T84" fmla="*/ 1073 w 1231"/>
                <a:gd name="T85" fmla="*/ 384 h 613"/>
                <a:gd name="T86" fmla="*/ 1073 w 1231"/>
                <a:gd name="T87" fmla="*/ 408 h 613"/>
                <a:gd name="T88" fmla="*/ 1049 w 1231"/>
                <a:gd name="T89" fmla="*/ 399 h 613"/>
                <a:gd name="T90" fmla="*/ 1022 w 1231"/>
                <a:gd name="T91" fmla="*/ 355 h 613"/>
                <a:gd name="T92" fmla="*/ 1037 w 1231"/>
                <a:gd name="T93" fmla="*/ 397 h 613"/>
                <a:gd name="T94" fmla="*/ 1230 w 1231"/>
                <a:gd name="T95" fmla="*/ 118 h 613"/>
                <a:gd name="T96" fmla="*/ 1202 w 1231"/>
                <a:gd name="T97" fmla="*/ 128 h 613"/>
                <a:gd name="T98" fmla="*/ 1226 w 1231"/>
                <a:gd name="T99" fmla="*/ 522 h 613"/>
                <a:gd name="T100" fmla="*/ 1225 w 1231"/>
                <a:gd name="T101" fmla="*/ 589 h 613"/>
                <a:gd name="T102" fmla="*/ 1081 w 1231"/>
                <a:gd name="T103" fmla="*/ 596 h 613"/>
                <a:gd name="T104" fmla="*/ 1231 w 1231"/>
                <a:gd name="T105" fmla="*/ 507 h 613"/>
                <a:gd name="T106" fmla="*/ 895 w 1231"/>
                <a:gd name="T107" fmla="*/ 372 h 613"/>
                <a:gd name="T108" fmla="*/ 705 w 1231"/>
                <a:gd name="T109" fmla="*/ 500 h 613"/>
                <a:gd name="T110" fmla="*/ 626 w 1231"/>
                <a:gd name="T111" fmla="*/ 543 h 613"/>
                <a:gd name="T112" fmla="*/ 582 w 1231"/>
                <a:gd name="T113" fmla="*/ 551 h 613"/>
                <a:gd name="T114" fmla="*/ 587 w 1231"/>
                <a:gd name="T115" fmla="*/ 571 h 613"/>
                <a:gd name="T116" fmla="*/ 614 w 1231"/>
                <a:gd name="T117" fmla="*/ 574 h 613"/>
                <a:gd name="T118" fmla="*/ 619 w 1231"/>
                <a:gd name="T119" fmla="*/ 574 h 613"/>
                <a:gd name="T120" fmla="*/ 752 w 1231"/>
                <a:gd name="T121" fmla="*/ 489 h 613"/>
                <a:gd name="T122" fmla="*/ 872 w 1231"/>
                <a:gd name="T123" fmla="*/ 392 h 613"/>
                <a:gd name="T124" fmla="*/ 913 w 1231"/>
                <a:gd name="T125" fmla="*/ 364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613">
                  <a:moveTo>
                    <a:pt x="338" y="338"/>
                  </a:moveTo>
                  <a:cubicBezTo>
                    <a:pt x="342" y="341"/>
                    <a:pt x="346" y="344"/>
                    <a:pt x="350" y="347"/>
                  </a:cubicBezTo>
                  <a:cubicBezTo>
                    <a:pt x="350" y="347"/>
                    <a:pt x="346" y="345"/>
                    <a:pt x="340" y="342"/>
                  </a:cubicBezTo>
                  <a:cubicBezTo>
                    <a:pt x="333" y="339"/>
                    <a:pt x="325" y="336"/>
                    <a:pt x="317" y="333"/>
                  </a:cubicBezTo>
                  <a:cubicBezTo>
                    <a:pt x="309" y="330"/>
                    <a:pt x="300" y="328"/>
                    <a:pt x="293" y="327"/>
                  </a:cubicBezTo>
                  <a:cubicBezTo>
                    <a:pt x="287" y="326"/>
                    <a:pt x="282" y="326"/>
                    <a:pt x="282" y="326"/>
                  </a:cubicBezTo>
                  <a:cubicBezTo>
                    <a:pt x="282" y="326"/>
                    <a:pt x="282" y="326"/>
                    <a:pt x="282" y="326"/>
                  </a:cubicBezTo>
                  <a:cubicBezTo>
                    <a:pt x="282" y="326"/>
                    <a:pt x="282" y="326"/>
                    <a:pt x="280" y="326"/>
                  </a:cubicBezTo>
                  <a:cubicBezTo>
                    <a:pt x="279" y="325"/>
                    <a:pt x="276" y="325"/>
                    <a:pt x="274" y="325"/>
                  </a:cubicBezTo>
                  <a:cubicBezTo>
                    <a:pt x="268" y="325"/>
                    <a:pt x="260" y="326"/>
                    <a:pt x="251" y="328"/>
                  </a:cubicBezTo>
                  <a:cubicBezTo>
                    <a:pt x="242" y="330"/>
                    <a:pt x="231" y="333"/>
                    <a:pt x="222" y="340"/>
                  </a:cubicBezTo>
                  <a:cubicBezTo>
                    <a:pt x="218" y="343"/>
                    <a:pt x="214" y="347"/>
                    <a:pt x="210" y="351"/>
                  </a:cubicBezTo>
                  <a:cubicBezTo>
                    <a:pt x="209" y="352"/>
                    <a:pt x="208" y="353"/>
                    <a:pt x="207" y="354"/>
                  </a:cubicBezTo>
                  <a:cubicBezTo>
                    <a:pt x="206" y="356"/>
                    <a:pt x="206" y="357"/>
                    <a:pt x="205" y="358"/>
                  </a:cubicBezTo>
                  <a:cubicBezTo>
                    <a:pt x="203" y="360"/>
                    <a:pt x="202" y="363"/>
                    <a:pt x="201" y="365"/>
                  </a:cubicBezTo>
                  <a:cubicBezTo>
                    <a:pt x="196" y="375"/>
                    <a:pt x="194" y="386"/>
                    <a:pt x="194" y="396"/>
                  </a:cubicBezTo>
                  <a:cubicBezTo>
                    <a:pt x="194" y="399"/>
                    <a:pt x="194" y="401"/>
                    <a:pt x="195" y="404"/>
                  </a:cubicBezTo>
                  <a:cubicBezTo>
                    <a:pt x="195" y="405"/>
                    <a:pt x="195" y="406"/>
                    <a:pt x="195" y="407"/>
                  </a:cubicBezTo>
                  <a:cubicBezTo>
                    <a:pt x="195" y="409"/>
                    <a:pt x="195" y="410"/>
                    <a:pt x="195" y="412"/>
                  </a:cubicBezTo>
                  <a:cubicBezTo>
                    <a:pt x="196" y="417"/>
                    <a:pt x="197" y="422"/>
                    <a:pt x="197" y="427"/>
                  </a:cubicBezTo>
                  <a:cubicBezTo>
                    <a:pt x="199" y="446"/>
                    <a:pt x="201" y="459"/>
                    <a:pt x="201" y="459"/>
                  </a:cubicBezTo>
                  <a:cubicBezTo>
                    <a:pt x="202" y="466"/>
                    <a:pt x="203" y="473"/>
                    <a:pt x="204" y="478"/>
                  </a:cubicBezTo>
                  <a:cubicBezTo>
                    <a:pt x="204" y="588"/>
                    <a:pt x="204" y="588"/>
                    <a:pt x="204" y="588"/>
                  </a:cubicBezTo>
                  <a:cubicBezTo>
                    <a:pt x="204" y="602"/>
                    <a:pt x="193" y="613"/>
                    <a:pt x="179" y="613"/>
                  </a:cubicBezTo>
                  <a:cubicBezTo>
                    <a:pt x="151" y="613"/>
                    <a:pt x="151" y="613"/>
                    <a:pt x="151" y="613"/>
                  </a:cubicBezTo>
                  <a:cubicBezTo>
                    <a:pt x="151" y="613"/>
                    <a:pt x="140" y="611"/>
                    <a:pt x="128" y="610"/>
                  </a:cubicBezTo>
                  <a:cubicBezTo>
                    <a:pt x="122" y="609"/>
                    <a:pt x="117" y="609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0" y="608"/>
                    <a:pt x="110" y="608"/>
                    <a:pt x="109" y="608"/>
                  </a:cubicBezTo>
                  <a:cubicBezTo>
                    <a:pt x="108" y="608"/>
                    <a:pt x="107" y="608"/>
                    <a:pt x="106" y="608"/>
                  </a:cubicBezTo>
                  <a:cubicBezTo>
                    <a:pt x="105" y="607"/>
                    <a:pt x="104" y="607"/>
                    <a:pt x="104" y="607"/>
                  </a:cubicBezTo>
                  <a:cubicBezTo>
                    <a:pt x="94" y="606"/>
                    <a:pt x="84" y="603"/>
                    <a:pt x="73" y="599"/>
                  </a:cubicBezTo>
                  <a:cubicBezTo>
                    <a:pt x="73" y="599"/>
                    <a:pt x="73" y="599"/>
                    <a:pt x="73" y="599"/>
                  </a:cubicBezTo>
                  <a:cubicBezTo>
                    <a:pt x="73" y="598"/>
                    <a:pt x="74" y="597"/>
                    <a:pt x="76" y="597"/>
                  </a:cubicBezTo>
                  <a:cubicBezTo>
                    <a:pt x="76" y="597"/>
                    <a:pt x="78" y="598"/>
                    <a:pt x="81" y="599"/>
                  </a:cubicBezTo>
                  <a:cubicBezTo>
                    <a:pt x="84" y="600"/>
                    <a:pt x="88" y="601"/>
                    <a:pt x="92" y="602"/>
                  </a:cubicBezTo>
                  <a:cubicBezTo>
                    <a:pt x="96" y="603"/>
                    <a:pt x="101" y="604"/>
                    <a:pt x="104" y="604"/>
                  </a:cubicBezTo>
                  <a:cubicBezTo>
                    <a:pt x="105" y="605"/>
                    <a:pt x="107" y="605"/>
                    <a:pt x="108" y="605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111" y="605"/>
                    <a:pt x="111" y="605"/>
                    <a:pt x="111" y="605"/>
                  </a:cubicBezTo>
                  <a:cubicBezTo>
                    <a:pt x="113" y="606"/>
                    <a:pt x="113" y="606"/>
                    <a:pt x="113" y="606"/>
                  </a:cubicBezTo>
                  <a:cubicBezTo>
                    <a:pt x="117" y="606"/>
                    <a:pt x="117" y="606"/>
                    <a:pt x="117" y="606"/>
                  </a:cubicBezTo>
                  <a:cubicBezTo>
                    <a:pt x="125" y="607"/>
                    <a:pt x="125" y="607"/>
                    <a:pt x="125" y="607"/>
                  </a:cubicBezTo>
                  <a:cubicBezTo>
                    <a:pt x="130" y="607"/>
                    <a:pt x="136" y="608"/>
                    <a:pt x="142" y="608"/>
                  </a:cubicBezTo>
                  <a:cubicBezTo>
                    <a:pt x="153" y="609"/>
                    <a:pt x="166" y="609"/>
                    <a:pt x="179" y="610"/>
                  </a:cubicBezTo>
                  <a:cubicBezTo>
                    <a:pt x="191" y="610"/>
                    <a:pt x="200" y="601"/>
                    <a:pt x="201" y="589"/>
                  </a:cubicBezTo>
                  <a:cubicBezTo>
                    <a:pt x="201" y="588"/>
                    <a:pt x="201" y="588"/>
                    <a:pt x="201" y="588"/>
                  </a:cubicBezTo>
                  <a:cubicBezTo>
                    <a:pt x="201" y="575"/>
                    <a:pt x="201" y="562"/>
                    <a:pt x="201" y="549"/>
                  </a:cubicBezTo>
                  <a:cubicBezTo>
                    <a:pt x="201" y="508"/>
                    <a:pt x="200" y="469"/>
                    <a:pt x="196" y="440"/>
                  </a:cubicBezTo>
                  <a:cubicBezTo>
                    <a:pt x="196" y="440"/>
                    <a:pt x="195" y="429"/>
                    <a:pt x="193" y="411"/>
                  </a:cubicBezTo>
                  <a:cubicBezTo>
                    <a:pt x="193" y="409"/>
                    <a:pt x="192" y="407"/>
                    <a:pt x="192" y="405"/>
                  </a:cubicBezTo>
                  <a:cubicBezTo>
                    <a:pt x="192" y="403"/>
                    <a:pt x="192" y="401"/>
                    <a:pt x="192" y="398"/>
                  </a:cubicBezTo>
                  <a:cubicBezTo>
                    <a:pt x="192" y="394"/>
                    <a:pt x="192" y="389"/>
                    <a:pt x="192" y="385"/>
                  </a:cubicBezTo>
                  <a:cubicBezTo>
                    <a:pt x="194" y="375"/>
                    <a:pt x="197" y="365"/>
                    <a:pt x="203" y="357"/>
                  </a:cubicBezTo>
                  <a:cubicBezTo>
                    <a:pt x="209" y="348"/>
                    <a:pt x="217" y="340"/>
                    <a:pt x="226" y="334"/>
                  </a:cubicBezTo>
                  <a:cubicBezTo>
                    <a:pt x="235" y="329"/>
                    <a:pt x="245" y="326"/>
                    <a:pt x="253" y="325"/>
                  </a:cubicBezTo>
                  <a:cubicBezTo>
                    <a:pt x="262" y="323"/>
                    <a:pt x="270" y="323"/>
                    <a:pt x="275" y="323"/>
                  </a:cubicBezTo>
                  <a:cubicBezTo>
                    <a:pt x="277" y="323"/>
                    <a:pt x="279" y="323"/>
                    <a:pt x="281" y="323"/>
                  </a:cubicBezTo>
                  <a:cubicBezTo>
                    <a:pt x="282" y="323"/>
                    <a:pt x="283" y="323"/>
                    <a:pt x="283" y="323"/>
                  </a:cubicBezTo>
                  <a:cubicBezTo>
                    <a:pt x="283" y="323"/>
                    <a:pt x="283" y="323"/>
                    <a:pt x="283" y="323"/>
                  </a:cubicBezTo>
                  <a:cubicBezTo>
                    <a:pt x="283" y="323"/>
                    <a:pt x="285" y="323"/>
                    <a:pt x="289" y="324"/>
                  </a:cubicBezTo>
                  <a:cubicBezTo>
                    <a:pt x="292" y="324"/>
                    <a:pt x="297" y="325"/>
                    <a:pt x="301" y="326"/>
                  </a:cubicBezTo>
                  <a:cubicBezTo>
                    <a:pt x="306" y="327"/>
                    <a:pt x="310" y="328"/>
                    <a:pt x="314" y="330"/>
                  </a:cubicBezTo>
                  <a:cubicBezTo>
                    <a:pt x="317" y="331"/>
                    <a:pt x="319" y="331"/>
                    <a:pt x="319" y="331"/>
                  </a:cubicBezTo>
                  <a:cubicBezTo>
                    <a:pt x="327" y="334"/>
                    <a:pt x="333" y="336"/>
                    <a:pt x="338" y="338"/>
                  </a:cubicBezTo>
                  <a:close/>
                  <a:moveTo>
                    <a:pt x="437" y="407"/>
                  </a:moveTo>
                  <a:cubicBezTo>
                    <a:pt x="434" y="404"/>
                    <a:pt x="431" y="400"/>
                    <a:pt x="428" y="396"/>
                  </a:cubicBezTo>
                  <a:cubicBezTo>
                    <a:pt x="425" y="393"/>
                    <a:pt x="422" y="389"/>
                    <a:pt x="420" y="387"/>
                  </a:cubicBezTo>
                  <a:cubicBezTo>
                    <a:pt x="419" y="386"/>
                    <a:pt x="419" y="385"/>
                    <a:pt x="418" y="385"/>
                  </a:cubicBezTo>
                  <a:cubicBezTo>
                    <a:pt x="417" y="384"/>
                    <a:pt x="417" y="383"/>
                    <a:pt x="416" y="383"/>
                  </a:cubicBezTo>
                  <a:cubicBezTo>
                    <a:pt x="415" y="381"/>
                    <a:pt x="414" y="380"/>
                    <a:pt x="414" y="379"/>
                  </a:cubicBezTo>
                  <a:cubicBezTo>
                    <a:pt x="413" y="378"/>
                    <a:pt x="412" y="377"/>
                    <a:pt x="412" y="377"/>
                  </a:cubicBezTo>
                  <a:cubicBezTo>
                    <a:pt x="409" y="375"/>
                    <a:pt x="407" y="372"/>
                    <a:pt x="404" y="370"/>
                  </a:cubicBezTo>
                  <a:cubicBezTo>
                    <a:pt x="391" y="358"/>
                    <a:pt x="378" y="348"/>
                    <a:pt x="365" y="339"/>
                  </a:cubicBezTo>
                  <a:cubicBezTo>
                    <a:pt x="367" y="342"/>
                    <a:pt x="367" y="344"/>
                    <a:pt x="367" y="345"/>
                  </a:cubicBezTo>
                  <a:cubicBezTo>
                    <a:pt x="365" y="347"/>
                    <a:pt x="360" y="346"/>
                    <a:pt x="351" y="343"/>
                  </a:cubicBezTo>
                  <a:cubicBezTo>
                    <a:pt x="350" y="343"/>
                    <a:pt x="350" y="343"/>
                    <a:pt x="350" y="343"/>
                  </a:cubicBezTo>
                  <a:cubicBezTo>
                    <a:pt x="355" y="347"/>
                    <a:pt x="359" y="351"/>
                    <a:pt x="364" y="355"/>
                  </a:cubicBezTo>
                  <a:cubicBezTo>
                    <a:pt x="366" y="356"/>
                    <a:pt x="366" y="356"/>
                    <a:pt x="366" y="356"/>
                  </a:cubicBezTo>
                  <a:cubicBezTo>
                    <a:pt x="374" y="361"/>
                    <a:pt x="384" y="368"/>
                    <a:pt x="394" y="376"/>
                  </a:cubicBezTo>
                  <a:cubicBezTo>
                    <a:pt x="398" y="380"/>
                    <a:pt x="403" y="384"/>
                    <a:pt x="408" y="388"/>
                  </a:cubicBezTo>
                  <a:cubicBezTo>
                    <a:pt x="413" y="393"/>
                    <a:pt x="418" y="397"/>
                    <a:pt x="422" y="402"/>
                  </a:cubicBezTo>
                  <a:cubicBezTo>
                    <a:pt x="429" y="408"/>
                    <a:pt x="435" y="414"/>
                    <a:pt x="442" y="420"/>
                  </a:cubicBezTo>
                  <a:cubicBezTo>
                    <a:pt x="445" y="423"/>
                    <a:pt x="448" y="426"/>
                    <a:pt x="451" y="429"/>
                  </a:cubicBezTo>
                  <a:cubicBezTo>
                    <a:pt x="453" y="431"/>
                    <a:pt x="453" y="431"/>
                    <a:pt x="453" y="431"/>
                  </a:cubicBezTo>
                  <a:cubicBezTo>
                    <a:pt x="455" y="434"/>
                    <a:pt x="455" y="434"/>
                    <a:pt x="455" y="434"/>
                  </a:cubicBezTo>
                  <a:cubicBezTo>
                    <a:pt x="457" y="435"/>
                    <a:pt x="458" y="437"/>
                    <a:pt x="460" y="438"/>
                  </a:cubicBezTo>
                  <a:cubicBezTo>
                    <a:pt x="461" y="438"/>
                    <a:pt x="462" y="438"/>
                    <a:pt x="462" y="437"/>
                  </a:cubicBezTo>
                  <a:cubicBezTo>
                    <a:pt x="462" y="437"/>
                    <a:pt x="463" y="437"/>
                    <a:pt x="463" y="437"/>
                  </a:cubicBezTo>
                  <a:cubicBezTo>
                    <a:pt x="463" y="437"/>
                    <a:pt x="459" y="433"/>
                    <a:pt x="454" y="427"/>
                  </a:cubicBezTo>
                  <a:cubicBezTo>
                    <a:pt x="449" y="422"/>
                    <a:pt x="443" y="415"/>
                    <a:pt x="437" y="407"/>
                  </a:cubicBezTo>
                  <a:close/>
                  <a:moveTo>
                    <a:pt x="6" y="20"/>
                  </a:moveTo>
                  <a:cubicBezTo>
                    <a:pt x="7" y="11"/>
                    <a:pt x="15" y="4"/>
                    <a:pt x="24" y="5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69" y="11"/>
                    <a:pt x="77" y="12"/>
                    <a:pt x="83" y="1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54" y="7"/>
                    <a:pt x="39" y="3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6" y="25"/>
                    <a:pt x="6" y="25"/>
                    <a:pt x="6" y="25"/>
                  </a:cubicBezTo>
                  <a:lnTo>
                    <a:pt x="6" y="20"/>
                  </a:lnTo>
                  <a:close/>
                  <a:moveTo>
                    <a:pt x="401" y="223"/>
                  </a:moveTo>
                  <a:cubicBezTo>
                    <a:pt x="407" y="226"/>
                    <a:pt x="415" y="230"/>
                    <a:pt x="424" y="235"/>
                  </a:cubicBezTo>
                  <a:cubicBezTo>
                    <a:pt x="424" y="235"/>
                    <a:pt x="426" y="236"/>
                    <a:pt x="431" y="238"/>
                  </a:cubicBezTo>
                  <a:cubicBezTo>
                    <a:pt x="436" y="241"/>
                    <a:pt x="442" y="244"/>
                    <a:pt x="450" y="247"/>
                  </a:cubicBezTo>
                  <a:cubicBezTo>
                    <a:pt x="467" y="254"/>
                    <a:pt x="489" y="263"/>
                    <a:pt x="512" y="267"/>
                  </a:cubicBezTo>
                  <a:cubicBezTo>
                    <a:pt x="534" y="272"/>
                    <a:pt x="557" y="273"/>
                    <a:pt x="574" y="273"/>
                  </a:cubicBezTo>
                  <a:cubicBezTo>
                    <a:pt x="583" y="273"/>
                    <a:pt x="590" y="273"/>
                    <a:pt x="595" y="272"/>
                  </a:cubicBezTo>
                  <a:cubicBezTo>
                    <a:pt x="600" y="272"/>
                    <a:pt x="602" y="272"/>
                    <a:pt x="602" y="272"/>
                  </a:cubicBezTo>
                  <a:cubicBezTo>
                    <a:pt x="631" y="269"/>
                    <a:pt x="668" y="266"/>
                    <a:pt x="705" y="255"/>
                  </a:cubicBezTo>
                  <a:cubicBezTo>
                    <a:pt x="714" y="253"/>
                    <a:pt x="723" y="250"/>
                    <a:pt x="731" y="246"/>
                  </a:cubicBezTo>
                  <a:cubicBezTo>
                    <a:pt x="740" y="243"/>
                    <a:pt x="748" y="239"/>
                    <a:pt x="756" y="236"/>
                  </a:cubicBezTo>
                  <a:cubicBezTo>
                    <a:pt x="772" y="228"/>
                    <a:pt x="787" y="221"/>
                    <a:pt x="799" y="214"/>
                  </a:cubicBezTo>
                  <a:cubicBezTo>
                    <a:pt x="799" y="214"/>
                    <a:pt x="802" y="213"/>
                    <a:pt x="804" y="211"/>
                  </a:cubicBezTo>
                  <a:cubicBezTo>
                    <a:pt x="807" y="210"/>
                    <a:pt x="809" y="208"/>
                    <a:pt x="809" y="208"/>
                  </a:cubicBezTo>
                  <a:cubicBezTo>
                    <a:pt x="818" y="199"/>
                    <a:pt x="822" y="191"/>
                    <a:pt x="820" y="189"/>
                  </a:cubicBezTo>
                  <a:cubicBezTo>
                    <a:pt x="819" y="188"/>
                    <a:pt x="816" y="189"/>
                    <a:pt x="814" y="189"/>
                  </a:cubicBezTo>
                  <a:cubicBezTo>
                    <a:pt x="806" y="196"/>
                    <a:pt x="793" y="204"/>
                    <a:pt x="783" y="211"/>
                  </a:cubicBezTo>
                  <a:cubicBezTo>
                    <a:pt x="776" y="216"/>
                    <a:pt x="770" y="219"/>
                    <a:pt x="764" y="222"/>
                  </a:cubicBezTo>
                  <a:cubicBezTo>
                    <a:pt x="759" y="226"/>
                    <a:pt x="753" y="229"/>
                    <a:pt x="746" y="232"/>
                  </a:cubicBezTo>
                  <a:cubicBezTo>
                    <a:pt x="746" y="232"/>
                    <a:pt x="744" y="233"/>
                    <a:pt x="741" y="235"/>
                  </a:cubicBezTo>
                  <a:cubicBezTo>
                    <a:pt x="739" y="236"/>
                    <a:pt x="738" y="236"/>
                    <a:pt x="735" y="237"/>
                  </a:cubicBezTo>
                  <a:cubicBezTo>
                    <a:pt x="733" y="238"/>
                    <a:pt x="731" y="239"/>
                    <a:pt x="728" y="241"/>
                  </a:cubicBezTo>
                  <a:cubicBezTo>
                    <a:pt x="717" y="245"/>
                    <a:pt x="702" y="250"/>
                    <a:pt x="686" y="253"/>
                  </a:cubicBezTo>
                  <a:cubicBezTo>
                    <a:pt x="671" y="257"/>
                    <a:pt x="655" y="259"/>
                    <a:pt x="642" y="260"/>
                  </a:cubicBezTo>
                  <a:cubicBezTo>
                    <a:pt x="636" y="260"/>
                    <a:pt x="631" y="260"/>
                    <a:pt x="628" y="260"/>
                  </a:cubicBezTo>
                  <a:cubicBezTo>
                    <a:pt x="624" y="261"/>
                    <a:pt x="622" y="261"/>
                    <a:pt x="622" y="261"/>
                  </a:cubicBezTo>
                  <a:cubicBezTo>
                    <a:pt x="621" y="261"/>
                    <a:pt x="621" y="261"/>
                    <a:pt x="620" y="262"/>
                  </a:cubicBezTo>
                  <a:cubicBezTo>
                    <a:pt x="619" y="262"/>
                    <a:pt x="618" y="263"/>
                    <a:pt x="616" y="263"/>
                  </a:cubicBezTo>
                  <a:cubicBezTo>
                    <a:pt x="614" y="264"/>
                    <a:pt x="611" y="265"/>
                    <a:pt x="608" y="266"/>
                  </a:cubicBezTo>
                  <a:cubicBezTo>
                    <a:pt x="601" y="267"/>
                    <a:pt x="592" y="268"/>
                    <a:pt x="581" y="268"/>
                  </a:cubicBezTo>
                  <a:cubicBezTo>
                    <a:pt x="581" y="268"/>
                    <a:pt x="578" y="269"/>
                    <a:pt x="573" y="269"/>
                  </a:cubicBezTo>
                  <a:cubicBezTo>
                    <a:pt x="569" y="269"/>
                    <a:pt x="562" y="269"/>
                    <a:pt x="553" y="268"/>
                  </a:cubicBezTo>
                  <a:cubicBezTo>
                    <a:pt x="536" y="267"/>
                    <a:pt x="514" y="264"/>
                    <a:pt x="492" y="258"/>
                  </a:cubicBezTo>
                  <a:cubicBezTo>
                    <a:pt x="470" y="251"/>
                    <a:pt x="448" y="242"/>
                    <a:pt x="432" y="234"/>
                  </a:cubicBezTo>
                  <a:cubicBezTo>
                    <a:pt x="424" y="230"/>
                    <a:pt x="418" y="226"/>
                    <a:pt x="413" y="224"/>
                  </a:cubicBezTo>
                  <a:cubicBezTo>
                    <a:pt x="409" y="221"/>
                    <a:pt x="406" y="220"/>
                    <a:pt x="406" y="220"/>
                  </a:cubicBezTo>
                  <a:cubicBezTo>
                    <a:pt x="398" y="215"/>
                    <a:pt x="390" y="209"/>
                    <a:pt x="381" y="203"/>
                  </a:cubicBezTo>
                  <a:cubicBezTo>
                    <a:pt x="381" y="203"/>
                    <a:pt x="386" y="208"/>
                    <a:pt x="391" y="213"/>
                  </a:cubicBezTo>
                  <a:cubicBezTo>
                    <a:pt x="396" y="218"/>
                    <a:pt x="401" y="223"/>
                    <a:pt x="401" y="223"/>
                  </a:cubicBezTo>
                  <a:close/>
                  <a:moveTo>
                    <a:pt x="842" y="188"/>
                  </a:moveTo>
                  <a:cubicBezTo>
                    <a:pt x="848" y="184"/>
                    <a:pt x="855" y="178"/>
                    <a:pt x="863" y="173"/>
                  </a:cubicBezTo>
                  <a:cubicBezTo>
                    <a:pt x="870" y="167"/>
                    <a:pt x="878" y="161"/>
                    <a:pt x="886" y="155"/>
                  </a:cubicBezTo>
                  <a:cubicBezTo>
                    <a:pt x="919" y="131"/>
                    <a:pt x="951" y="108"/>
                    <a:pt x="951" y="108"/>
                  </a:cubicBezTo>
                  <a:cubicBezTo>
                    <a:pt x="975" y="90"/>
                    <a:pt x="989" y="83"/>
                    <a:pt x="993" y="86"/>
                  </a:cubicBezTo>
                  <a:cubicBezTo>
                    <a:pt x="994" y="87"/>
                    <a:pt x="994" y="89"/>
                    <a:pt x="993" y="92"/>
                  </a:cubicBezTo>
                  <a:cubicBezTo>
                    <a:pt x="1033" y="55"/>
                    <a:pt x="1033" y="55"/>
                    <a:pt x="1033" y="55"/>
                  </a:cubicBezTo>
                  <a:cubicBezTo>
                    <a:pt x="1034" y="53"/>
                    <a:pt x="1035" y="50"/>
                    <a:pt x="1038" y="49"/>
                  </a:cubicBezTo>
                  <a:cubicBezTo>
                    <a:pt x="1042" y="46"/>
                    <a:pt x="1046" y="45"/>
                    <a:pt x="1050" y="44"/>
                  </a:cubicBezTo>
                  <a:cubicBezTo>
                    <a:pt x="1064" y="43"/>
                    <a:pt x="1078" y="42"/>
                    <a:pt x="1092" y="40"/>
                  </a:cubicBezTo>
                  <a:cubicBezTo>
                    <a:pt x="1092" y="40"/>
                    <a:pt x="1092" y="40"/>
                    <a:pt x="1092" y="40"/>
                  </a:cubicBezTo>
                  <a:cubicBezTo>
                    <a:pt x="1092" y="39"/>
                    <a:pt x="1092" y="38"/>
                    <a:pt x="1091" y="37"/>
                  </a:cubicBezTo>
                  <a:cubicBezTo>
                    <a:pt x="1078" y="38"/>
                    <a:pt x="1064" y="38"/>
                    <a:pt x="1050" y="39"/>
                  </a:cubicBezTo>
                  <a:cubicBezTo>
                    <a:pt x="1044" y="39"/>
                    <a:pt x="1036" y="39"/>
                    <a:pt x="1029" y="44"/>
                  </a:cubicBezTo>
                  <a:cubicBezTo>
                    <a:pt x="1027" y="45"/>
                    <a:pt x="1026" y="46"/>
                    <a:pt x="1024" y="47"/>
                  </a:cubicBezTo>
                  <a:cubicBezTo>
                    <a:pt x="1023" y="48"/>
                    <a:pt x="1023" y="48"/>
                    <a:pt x="1023" y="48"/>
                  </a:cubicBezTo>
                  <a:cubicBezTo>
                    <a:pt x="1023" y="49"/>
                    <a:pt x="1023" y="49"/>
                    <a:pt x="1023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1" y="50"/>
                    <a:pt x="1021" y="50"/>
                    <a:pt x="1021" y="50"/>
                  </a:cubicBezTo>
                  <a:cubicBezTo>
                    <a:pt x="1020" y="51"/>
                    <a:pt x="1018" y="53"/>
                    <a:pt x="1017" y="54"/>
                  </a:cubicBezTo>
                  <a:cubicBezTo>
                    <a:pt x="1015" y="56"/>
                    <a:pt x="1012" y="58"/>
                    <a:pt x="1009" y="60"/>
                  </a:cubicBezTo>
                  <a:cubicBezTo>
                    <a:pt x="1000" y="68"/>
                    <a:pt x="990" y="76"/>
                    <a:pt x="982" y="82"/>
                  </a:cubicBezTo>
                  <a:cubicBezTo>
                    <a:pt x="871" y="164"/>
                    <a:pt x="871" y="164"/>
                    <a:pt x="871" y="164"/>
                  </a:cubicBezTo>
                  <a:cubicBezTo>
                    <a:pt x="857" y="174"/>
                    <a:pt x="847" y="180"/>
                    <a:pt x="842" y="180"/>
                  </a:cubicBezTo>
                  <a:cubicBezTo>
                    <a:pt x="835" y="188"/>
                    <a:pt x="828" y="195"/>
                    <a:pt x="822" y="201"/>
                  </a:cubicBezTo>
                  <a:cubicBezTo>
                    <a:pt x="822" y="201"/>
                    <a:pt x="822" y="201"/>
                    <a:pt x="822" y="201"/>
                  </a:cubicBezTo>
                  <a:cubicBezTo>
                    <a:pt x="822" y="201"/>
                    <a:pt x="824" y="200"/>
                    <a:pt x="827" y="198"/>
                  </a:cubicBezTo>
                  <a:cubicBezTo>
                    <a:pt x="831" y="195"/>
                    <a:pt x="836" y="192"/>
                    <a:pt x="842" y="188"/>
                  </a:cubicBezTo>
                  <a:close/>
                  <a:moveTo>
                    <a:pt x="44" y="291"/>
                  </a:moveTo>
                  <a:cubicBezTo>
                    <a:pt x="28" y="428"/>
                    <a:pt x="28" y="428"/>
                    <a:pt x="28" y="428"/>
                  </a:cubicBezTo>
                  <a:cubicBezTo>
                    <a:pt x="25" y="450"/>
                    <a:pt x="22" y="462"/>
                    <a:pt x="19" y="462"/>
                  </a:cubicBezTo>
                  <a:cubicBezTo>
                    <a:pt x="15" y="462"/>
                    <a:pt x="12" y="450"/>
                    <a:pt x="9" y="428"/>
                  </a:cubicBezTo>
                  <a:cubicBezTo>
                    <a:pt x="2" y="366"/>
                    <a:pt x="2" y="366"/>
                    <a:pt x="2" y="366"/>
                  </a:cubicBezTo>
                  <a:cubicBezTo>
                    <a:pt x="2" y="372"/>
                    <a:pt x="1" y="378"/>
                    <a:pt x="1" y="384"/>
                  </a:cubicBezTo>
                  <a:cubicBezTo>
                    <a:pt x="5" y="416"/>
                    <a:pt x="5" y="416"/>
                    <a:pt x="5" y="416"/>
                  </a:cubicBezTo>
                  <a:cubicBezTo>
                    <a:pt x="7" y="431"/>
                    <a:pt x="8" y="448"/>
                    <a:pt x="9" y="466"/>
                  </a:cubicBezTo>
                  <a:cubicBezTo>
                    <a:pt x="9" y="476"/>
                    <a:pt x="10" y="485"/>
                    <a:pt x="10" y="495"/>
                  </a:cubicBezTo>
                  <a:cubicBezTo>
                    <a:pt x="10" y="498"/>
                    <a:pt x="10" y="500"/>
                    <a:pt x="10" y="503"/>
                  </a:cubicBezTo>
                  <a:cubicBezTo>
                    <a:pt x="10" y="505"/>
                    <a:pt x="10" y="508"/>
                    <a:pt x="10" y="511"/>
                  </a:cubicBezTo>
                  <a:cubicBezTo>
                    <a:pt x="11" y="517"/>
                    <a:pt x="12" y="522"/>
                    <a:pt x="13" y="528"/>
                  </a:cubicBezTo>
                  <a:cubicBezTo>
                    <a:pt x="14" y="532"/>
                    <a:pt x="15" y="536"/>
                    <a:pt x="16" y="540"/>
                  </a:cubicBezTo>
                  <a:cubicBezTo>
                    <a:pt x="16" y="540"/>
                    <a:pt x="17" y="542"/>
                    <a:pt x="19" y="546"/>
                  </a:cubicBezTo>
                  <a:cubicBezTo>
                    <a:pt x="21" y="550"/>
                    <a:pt x="24" y="555"/>
                    <a:pt x="28" y="559"/>
                  </a:cubicBezTo>
                  <a:cubicBezTo>
                    <a:pt x="29" y="561"/>
                    <a:pt x="31" y="563"/>
                    <a:pt x="33" y="565"/>
                  </a:cubicBezTo>
                  <a:cubicBezTo>
                    <a:pt x="35" y="567"/>
                    <a:pt x="36" y="569"/>
                    <a:pt x="38" y="570"/>
                  </a:cubicBezTo>
                  <a:cubicBezTo>
                    <a:pt x="39" y="571"/>
                    <a:pt x="39" y="571"/>
                    <a:pt x="39" y="571"/>
                  </a:cubicBezTo>
                  <a:cubicBezTo>
                    <a:pt x="40" y="571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1" y="572"/>
                    <a:pt x="41" y="572"/>
                    <a:pt x="41" y="572"/>
                  </a:cubicBezTo>
                  <a:cubicBezTo>
                    <a:pt x="41" y="572"/>
                    <a:pt x="41" y="573"/>
                    <a:pt x="41" y="573"/>
                  </a:cubicBezTo>
                  <a:cubicBezTo>
                    <a:pt x="41" y="573"/>
                    <a:pt x="42" y="573"/>
                    <a:pt x="42" y="573"/>
                  </a:cubicBezTo>
                  <a:cubicBezTo>
                    <a:pt x="43" y="574"/>
                    <a:pt x="43" y="574"/>
                    <a:pt x="43" y="574"/>
                  </a:cubicBezTo>
                  <a:cubicBezTo>
                    <a:pt x="43" y="574"/>
                    <a:pt x="43" y="574"/>
                    <a:pt x="42" y="573"/>
                  </a:cubicBezTo>
                  <a:cubicBezTo>
                    <a:pt x="42" y="573"/>
                    <a:pt x="42" y="572"/>
                    <a:pt x="41" y="572"/>
                  </a:cubicBezTo>
                  <a:cubicBezTo>
                    <a:pt x="41" y="572"/>
                    <a:pt x="41" y="571"/>
                    <a:pt x="41" y="571"/>
                  </a:cubicBezTo>
                  <a:cubicBezTo>
                    <a:pt x="41" y="571"/>
                    <a:pt x="41" y="571"/>
                    <a:pt x="40" y="571"/>
                  </a:cubicBezTo>
                  <a:cubicBezTo>
                    <a:pt x="40" y="571"/>
                    <a:pt x="40" y="570"/>
                    <a:pt x="40" y="570"/>
                  </a:cubicBezTo>
                  <a:cubicBezTo>
                    <a:pt x="37" y="567"/>
                    <a:pt x="34" y="563"/>
                    <a:pt x="31" y="557"/>
                  </a:cubicBezTo>
                  <a:cubicBezTo>
                    <a:pt x="29" y="551"/>
                    <a:pt x="26" y="544"/>
                    <a:pt x="24" y="537"/>
                  </a:cubicBezTo>
                  <a:cubicBezTo>
                    <a:pt x="23" y="529"/>
                    <a:pt x="22" y="521"/>
                    <a:pt x="22" y="514"/>
                  </a:cubicBezTo>
                  <a:cubicBezTo>
                    <a:pt x="22" y="506"/>
                    <a:pt x="23" y="498"/>
                    <a:pt x="24" y="491"/>
                  </a:cubicBezTo>
                  <a:cubicBezTo>
                    <a:pt x="25" y="484"/>
                    <a:pt x="26" y="477"/>
                    <a:pt x="26" y="472"/>
                  </a:cubicBezTo>
                  <a:cubicBezTo>
                    <a:pt x="28" y="460"/>
                    <a:pt x="29" y="453"/>
                    <a:pt x="29" y="453"/>
                  </a:cubicBezTo>
                  <a:cubicBezTo>
                    <a:pt x="32" y="424"/>
                    <a:pt x="36" y="408"/>
                    <a:pt x="41" y="408"/>
                  </a:cubicBezTo>
                  <a:cubicBezTo>
                    <a:pt x="44" y="408"/>
                    <a:pt x="47" y="413"/>
                    <a:pt x="49" y="424"/>
                  </a:cubicBezTo>
                  <a:cubicBezTo>
                    <a:pt x="49" y="271"/>
                    <a:pt x="49" y="271"/>
                    <a:pt x="49" y="271"/>
                  </a:cubicBezTo>
                  <a:cubicBezTo>
                    <a:pt x="47" y="252"/>
                    <a:pt x="47" y="252"/>
                    <a:pt x="47" y="252"/>
                  </a:cubicBezTo>
                  <a:cubicBezTo>
                    <a:pt x="46" y="267"/>
                    <a:pt x="45" y="280"/>
                    <a:pt x="44" y="291"/>
                  </a:cubicBezTo>
                  <a:close/>
                  <a:moveTo>
                    <a:pt x="41" y="33"/>
                  </a:moveTo>
                  <a:cubicBezTo>
                    <a:pt x="55" y="32"/>
                    <a:pt x="113" y="28"/>
                    <a:pt x="149" y="28"/>
                  </a:cubicBezTo>
                  <a:cubicBezTo>
                    <a:pt x="169" y="28"/>
                    <a:pt x="188" y="32"/>
                    <a:pt x="204" y="40"/>
                  </a:cubicBezTo>
                  <a:cubicBezTo>
                    <a:pt x="212" y="44"/>
                    <a:pt x="219" y="49"/>
                    <a:pt x="225" y="54"/>
                  </a:cubicBezTo>
                  <a:cubicBezTo>
                    <a:pt x="228" y="57"/>
                    <a:pt x="231" y="60"/>
                    <a:pt x="233" y="63"/>
                  </a:cubicBezTo>
                  <a:cubicBezTo>
                    <a:pt x="235" y="64"/>
                    <a:pt x="236" y="65"/>
                    <a:pt x="237" y="67"/>
                  </a:cubicBezTo>
                  <a:cubicBezTo>
                    <a:pt x="238" y="68"/>
                    <a:pt x="238" y="68"/>
                    <a:pt x="238" y="68"/>
                  </a:cubicBezTo>
                  <a:cubicBezTo>
                    <a:pt x="238" y="68"/>
                    <a:pt x="238" y="68"/>
                    <a:pt x="238" y="68"/>
                  </a:cubicBezTo>
                  <a:cubicBezTo>
                    <a:pt x="238" y="69"/>
                    <a:pt x="238" y="69"/>
                    <a:pt x="238" y="69"/>
                  </a:cubicBezTo>
                  <a:cubicBezTo>
                    <a:pt x="238" y="69"/>
                    <a:pt x="238" y="69"/>
                    <a:pt x="238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334" y="181"/>
                    <a:pt x="334" y="181"/>
                    <a:pt x="334" y="181"/>
                  </a:cubicBezTo>
                  <a:cubicBezTo>
                    <a:pt x="334" y="181"/>
                    <a:pt x="345" y="191"/>
                    <a:pt x="356" y="201"/>
                  </a:cubicBezTo>
                  <a:cubicBezTo>
                    <a:pt x="361" y="206"/>
                    <a:pt x="367" y="212"/>
                    <a:pt x="372" y="216"/>
                  </a:cubicBezTo>
                  <a:cubicBezTo>
                    <a:pt x="376" y="220"/>
                    <a:pt x="380" y="222"/>
                    <a:pt x="380" y="222"/>
                  </a:cubicBezTo>
                  <a:cubicBezTo>
                    <a:pt x="378" y="219"/>
                    <a:pt x="378" y="218"/>
                    <a:pt x="379" y="216"/>
                  </a:cubicBezTo>
                  <a:cubicBezTo>
                    <a:pt x="380" y="215"/>
                    <a:pt x="384" y="215"/>
                    <a:pt x="389" y="217"/>
                  </a:cubicBezTo>
                  <a:cubicBezTo>
                    <a:pt x="389" y="217"/>
                    <a:pt x="381" y="210"/>
                    <a:pt x="374" y="201"/>
                  </a:cubicBezTo>
                  <a:cubicBezTo>
                    <a:pt x="372" y="199"/>
                    <a:pt x="370" y="197"/>
                    <a:pt x="369" y="195"/>
                  </a:cubicBezTo>
                  <a:cubicBezTo>
                    <a:pt x="367" y="194"/>
                    <a:pt x="365" y="192"/>
                    <a:pt x="364" y="190"/>
                  </a:cubicBezTo>
                  <a:cubicBezTo>
                    <a:pt x="362" y="187"/>
                    <a:pt x="360" y="185"/>
                    <a:pt x="360" y="185"/>
                  </a:cubicBezTo>
                  <a:cubicBezTo>
                    <a:pt x="347" y="175"/>
                    <a:pt x="334" y="163"/>
                    <a:pt x="321" y="151"/>
                  </a:cubicBezTo>
                  <a:cubicBezTo>
                    <a:pt x="291" y="123"/>
                    <a:pt x="264" y="95"/>
                    <a:pt x="245" y="73"/>
                  </a:cubicBezTo>
                  <a:cubicBezTo>
                    <a:pt x="245" y="73"/>
                    <a:pt x="244" y="71"/>
                    <a:pt x="241" y="68"/>
                  </a:cubicBezTo>
                  <a:cubicBezTo>
                    <a:pt x="241" y="68"/>
                    <a:pt x="241" y="68"/>
                    <a:pt x="241" y="67"/>
                  </a:cubicBezTo>
                  <a:cubicBezTo>
                    <a:pt x="241" y="67"/>
                    <a:pt x="241" y="67"/>
                    <a:pt x="241" y="67"/>
                  </a:cubicBezTo>
                  <a:cubicBezTo>
                    <a:pt x="241" y="67"/>
                    <a:pt x="241" y="67"/>
                    <a:pt x="241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6"/>
                    <a:pt x="239" y="66"/>
                    <a:pt x="239" y="65"/>
                  </a:cubicBezTo>
                  <a:cubicBezTo>
                    <a:pt x="238" y="64"/>
                    <a:pt x="238" y="63"/>
                    <a:pt x="237" y="62"/>
                  </a:cubicBezTo>
                  <a:cubicBezTo>
                    <a:pt x="235" y="60"/>
                    <a:pt x="233" y="58"/>
                    <a:pt x="231" y="56"/>
                  </a:cubicBezTo>
                  <a:cubicBezTo>
                    <a:pt x="227" y="51"/>
                    <a:pt x="221" y="46"/>
                    <a:pt x="214" y="41"/>
                  </a:cubicBezTo>
                  <a:cubicBezTo>
                    <a:pt x="207" y="36"/>
                    <a:pt x="199" y="32"/>
                    <a:pt x="191" y="29"/>
                  </a:cubicBezTo>
                  <a:cubicBezTo>
                    <a:pt x="183" y="25"/>
                    <a:pt x="174" y="22"/>
                    <a:pt x="165" y="21"/>
                  </a:cubicBezTo>
                  <a:cubicBezTo>
                    <a:pt x="161" y="20"/>
                    <a:pt x="157" y="19"/>
                    <a:pt x="153" y="18"/>
                  </a:cubicBezTo>
                  <a:cubicBezTo>
                    <a:pt x="149" y="18"/>
                    <a:pt x="145" y="17"/>
                    <a:pt x="142" y="17"/>
                  </a:cubicBezTo>
                  <a:cubicBezTo>
                    <a:pt x="129" y="15"/>
                    <a:pt x="120" y="14"/>
                    <a:pt x="120" y="14"/>
                  </a:cubicBezTo>
                  <a:cubicBezTo>
                    <a:pt x="109" y="15"/>
                    <a:pt x="99" y="15"/>
                    <a:pt x="90" y="16"/>
                  </a:cubicBezTo>
                  <a:cubicBezTo>
                    <a:pt x="92" y="17"/>
                    <a:pt x="92" y="18"/>
                    <a:pt x="92" y="19"/>
                  </a:cubicBezTo>
                  <a:cubicBezTo>
                    <a:pt x="92" y="22"/>
                    <a:pt x="80" y="26"/>
                    <a:pt x="58" y="28"/>
                  </a:cubicBezTo>
                  <a:cubicBezTo>
                    <a:pt x="58" y="28"/>
                    <a:pt x="47" y="30"/>
                    <a:pt x="40" y="31"/>
                  </a:cubicBezTo>
                  <a:cubicBezTo>
                    <a:pt x="38" y="32"/>
                    <a:pt x="36" y="32"/>
                    <a:pt x="36" y="38"/>
                  </a:cubicBezTo>
                  <a:cubicBezTo>
                    <a:pt x="36" y="42"/>
                    <a:pt x="41" y="101"/>
                    <a:pt x="44" y="127"/>
                  </a:cubicBezTo>
                  <a:cubicBezTo>
                    <a:pt x="46" y="149"/>
                    <a:pt x="48" y="178"/>
                    <a:pt x="48" y="209"/>
                  </a:cubicBezTo>
                  <a:cubicBezTo>
                    <a:pt x="48" y="210"/>
                    <a:pt x="48" y="211"/>
                    <a:pt x="48" y="212"/>
                  </a:cubicBezTo>
                  <a:cubicBezTo>
                    <a:pt x="48" y="213"/>
                    <a:pt x="49" y="214"/>
                    <a:pt x="49" y="214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7" y="43"/>
                    <a:pt x="36" y="38"/>
                  </a:cubicBezTo>
                  <a:cubicBezTo>
                    <a:pt x="36" y="34"/>
                    <a:pt x="38" y="33"/>
                    <a:pt x="41" y="33"/>
                  </a:cubicBezTo>
                  <a:close/>
                  <a:moveTo>
                    <a:pt x="1027" y="379"/>
                  </a:moveTo>
                  <a:cubicBezTo>
                    <a:pt x="1025" y="374"/>
                    <a:pt x="1022" y="370"/>
                    <a:pt x="1019" y="365"/>
                  </a:cubicBezTo>
                  <a:cubicBezTo>
                    <a:pt x="1016" y="361"/>
                    <a:pt x="1011" y="357"/>
                    <a:pt x="1007" y="354"/>
                  </a:cubicBezTo>
                  <a:cubicBezTo>
                    <a:pt x="1001" y="350"/>
                    <a:pt x="993" y="347"/>
                    <a:pt x="986" y="346"/>
                  </a:cubicBezTo>
                  <a:cubicBezTo>
                    <a:pt x="982" y="345"/>
                    <a:pt x="978" y="345"/>
                    <a:pt x="974" y="345"/>
                  </a:cubicBezTo>
                  <a:cubicBezTo>
                    <a:pt x="974" y="345"/>
                    <a:pt x="973" y="345"/>
                    <a:pt x="972" y="345"/>
                  </a:cubicBezTo>
                  <a:cubicBezTo>
                    <a:pt x="970" y="345"/>
                    <a:pt x="970" y="345"/>
                    <a:pt x="970" y="345"/>
                  </a:cubicBezTo>
                  <a:cubicBezTo>
                    <a:pt x="969" y="345"/>
                    <a:pt x="969" y="345"/>
                    <a:pt x="969" y="345"/>
                  </a:cubicBezTo>
                  <a:cubicBezTo>
                    <a:pt x="967" y="345"/>
                    <a:pt x="965" y="345"/>
                    <a:pt x="963" y="346"/>
                  </a:cubicBezTo>
                  <a:cubicBezTo>
                    <a:pt x="955" y="347"/>
                    <a:pt x="948" y="349"/>
                    <a:pt x="942" y="351"/>
                  </a:cubicBezTo>
                  <a:cubicBezTo>
                    <a:pt x="939" y="353"/>
                    <a:pt x="935" y="354"/>
                    <a:pt x="933" y="356"/>
                  </a:cubicBezTo>
                  <a:cubicBezTo>
                    <a:pt x="931" y="356"/>
                    <a:pt x="930" y="357"/>
                    <a:pt x="928" y="358"/>
                  </a:cubicBezTo>
                  <a:cubicBezTo>
                    <a:pt x="926" y="360"/>
                    <a:pt x="926" y="360"/>
                    <a:pt x="926" y="360"/>
                  </a:cubicBezTo>
                  <a:cubicBezTo>
                    <a:pt x="924" y="361"/>
                    <a:pt x="924" y="361"/>
                    <a:pt x="924" y="361"/>
                  </a:cubicBezTo>
                  <a:cubicBezTo>
                    <a:pt x="919" y="364"/>
                    <a:pt x="919" y="364"/>
                    <a:pt x="919" y="364"/>
                  </a:cubicBezTo>
                  <a:cubicBezTo>
                    <a:pt x="919" y="364"/>
                    <a:pt x="920" y="364"/>
                    <a:pt x="921" y="363"/>
                  </a:cubicBezTo>
                  <a:cubicBezTo>
                    <a:pt x="922" y="363"/>
                    <a:pt x="923" y="362"/>
                    <a:pt x="924" y="362"/>
                  </a:cubicBezTo>
                  <a:cubicBezTo>
                    <a:pt x="925" y="361"/>
                    <a:pt x="926" y="361"/>
                    <a:pt x="927" y="360"/>
                  </a:cubicBezTo>
                  <a:cubicBezTo>
                    <a:pt x="928" y="360"/>
                    <a:pt x="929" y="359"/>
                    <a:pt x="931" y="359"/>
                  </a:cubicBezTo>
                  <a:cubicBezTo>
                    <a:pt x="932" y="358"/>
                    <a:pt x="933" y="357"/>
                    <a:pt x="935" y="357"/>
                  </a:cubicBezTo>
                  <a:cubicBezTo>
                    <a:pt x="938" y="356"/>
                    <a:pt x="942" y="354"/>
                    <a:pt x="945" y="353"/>
                  </a:cubicBezTo>
                  <a:cubicBezTo>
                    <a:pt x="953" y="351"/>
                    <a:pt x="962" y="350"/>
                    <a:pt x="972" y="350"/>
                  </a:cubicBezTo>
                  <a:cubicBezTo>
                    <a:pt x="982" y="350"/>
                    <a:pt x="991" y="352"/>
                    <a:pt x="999" y="356"/>
                  </a:cubicBezTo>
                  <a:cubicBezTo>
                    <a:pt x="1001" y="357"/>
                    <a:pt x="1003" y="358"/>
                    <a:pt x="1005" y="360"/>
                  </a:cubicBezTo>
                  <a:cubicBezTo>
                    <a:pt x="1005" y="360"/>
                    <a:pt x="1006" y="361"/>
                    <a:pt x="1007" y="362"/>
                  </a:cubicBezTo>
                  <a:cubicBezTo>
                    <a:pt x="1008" y="363"/>
                    <a:pt x="1008" y="363"/>
                    <a:pt x="1008" y="363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3" y="367"/>
                    <a:pt x="1016" y="371"/>
                    <a:pt x="1018" y="374"/>
                  </a:cubicBezTo>
                  <a:cubicBezTo>
                    <a:pt x="1023" y="381"/>
                    <a:pt x="1025" y="389"/>
                    <a:pt x="1026" y="396"/>
                  </a:cubicBezTo>
                  <a:cubicBezTo>
                    <a:pt x="1027" y="400"/>
                    <a:pt x="1027" y="404"/>
                    <a:pt x="1027" y="407"/>
                  </a:cubicBezTo>
                  <a:cubicBezTo>
                    <a:pt x="1027" y="411"/>
                    <a:pt x="1027" y="414"/>
                    <a:pt x="1027" y="417"/>
                  </a:cubicBezTo>
                  <a:cubicBezTo>
                    <a:pt x="1027" y="423"/>
                    <a:pt x="1027" y="426"/>
                    <a:pt x="1027" y="426"/>
                  </a:cubicBezTo>
                  <a:cubicBezTo>
                    <a:pt x="1028" y="420"/>
                    <a:pt x="1029" y="414"/>
                    <a:pt x="1030" y="410"/>
                  </a:cubicBezTo>
                  <a:cubicBezTo>
                    <a:pt x="1030" y="409"/>
                    <a:pt x="1030" y="409"/>
                    <a:pt x="1030" y="409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5"/>
                    <a:pt x="1030" y="405"/>
                    <a:pt x="1030" y="405"/>
                  </a:cubicBezTo>
                  <a:cubicBezTo>
                    <a:pt x="1030" y="404"/>
                    <a:pt x="1031" y="403"/>
                    <a:pt x="1031" y="402"/>
                  </a:cubicBezTo>
                  <a:cubicBezTo>
                    <a:pt x="1031" y="399"/>
                    <a:pt x="1030" y="397"/>
                    <a:pt x="1030" y="394"/>
                  </a:cubicBezTo>
                  <a:cubicBezTo>
                    <a:pt x="1030" y="389"/>
                    <a:pt x="1029" y="384"/>
                    <a:pt x="1027" y="379"/>
                  </a:cubicBezTo>
                  <a:close/>
                  <a:moveTo>
                    <a:pt x="1067" y="559"/>
                  </a:moveTo>
                  <a:cubicBezTo>
                    <a:pt x="1075" y="571"/>
                    <a:pt x="1085" y="580"/>
                    <a:pt x="1091" y="585"/>
                  </a:cubicBezTo>
                  <a:cubicBezTo>
                    <a:pt x="1098" y="591"/>
                    <a:pt x="1101" y="594"/>
                    <a:pt x="1101" y="596"/>
                  </a:cubicBezTo>
                  <a:cubicBezTo>
                    <a:pt x="1100" y="597"/>
                    <a:pt x="1100" y="598"/>
                    <a:pt x="1098" y="598"/>
                  </a:cubicBezTo>
                  <a:cubicBezTo>
                    <a:pt x="1098" y="598"/>
                    <a:pt x="1099" y="598"/>
                    <a:pt x="1101" y="599"/>
                  </a:cubicBezTo>
                  <a:cubicBezTo>
                    <a:pt x="1103" y="599"/>
                    <a:pt x="1106" y="600"/>
                    <a:pt x="1109" y="600"/>
                  </a:cubicBezTo>
                  <a:cubicBezTo>
                    <a:pt x="1115" y="601"/>
                    <a:pt x="1124" y="601"/>
                    <a:pt x="1132" y="601"/>
                  </a:cubicBezTo>
                  <a:cubicBezTo>
                    <a:pt x="1134" y="601"/>
                    <a:pt x="1136" y="601"/>
                    <a:pt x="1138" y="600"/>
                  </a:cubicBezTo>
                  <a:cubicBezTo>
                    <a:pt x="1139" y="600"/>
                    <a:pt x="1140" y="600"/>
                    <a:pt x="1141" y="600"/>
                  </a:cubicBezTo>
                  <a:cubicBezTo>
                    <a:pt x="1142" y="600"/>
                    <a:pt x="1143" y="600"/>
                    <a:pt x="1143" y="600"/>
                  </a:cubicBezTo>
                  <a:cubicBezTo>
                    <a:pt x="1147" y="599"/>
                    <a:pt x="1150" y="599"/>
                    <a:pt x="1153" y="599"/>
                  </a:cubicBezTo>
                  <a:cubicBezTo>
                    <a:pt x="1158" y="598"/>
                    <a:pt x="1162" y="598"/>
                    <a:pt x="1162" y="598"/>
                  </a:cubicBezTo>
                  <a:cubicBezTo>
                    <a:pt x="1162" y="598"/>
                    <a:pt x="1156" y="597"/>
                    <a:pt x="1148" y="596"/>
                  </a:cubicBezTo>
                  <a:cubicBezTo>
                    <a:pt x="1144" y="596"/>
                    <a:pt x="1139" y="595"/>
                    <a:pt x="1134" y="594"/>
                  </a:cubicBezTo>
                  <a:cubicBezTo>
                    <a:pt x="1128" y="594"/>
                    <a:pt x="1122" y="592"/>
                    <a:pt x="1117" y="591"/>
                  </a:cubicBezTo>
                  <a:cubicBezTo>
                    <a:pt x="1111" y="589"/>
                    <a:pt x="1106" y="587"/>
                    <a:pt x="1101" y="584"/>
                  </a:cubicBezTo>
                  <a:cubicBezTo>
                    <a:pt x="1096" y="582"/>
                    <a:pt x="1092" y="579"/>
                    <a:pt x="1089" y="577"/>
                  </a:cubicBezTo>
                  <a:cubicBezTo>
                    <a:pt x="1085" y="574"/>
                    <a:pt x="1083" y="572"/>
                    <a:pt x="1081" y="570"/>
                  </a:cubicBezTo>
                  <a:cubicBezTo>
                    <a:pt x="1079" y="568"/>
                    <a:pt x="1078" y="567"/>
                    <a:pt x="1078" y="567"/>
                  </a:cubicBezTo>
                  <a:cubicBezTo>
                    <a:pt x="1071" y="559"/>
                    <a:pt x="1068" y="551"/>
                    <a:pt x="1067" y="546"/>
                  </a:cubicBezTo>
                  <a:cubicBezTo>
                    <a:pt x="1065" y="540"/>
                    <a:pt x="1066" y="537"/>
                    <a:pt x="1068" y="536"/>
                  </a:cubicBezTo>
                  <a:cubicBezTo>
                    <a:pt x="1070" y="536"/>
                    <a:pt x="1072" y="537"/>
                    <a:pt x="1076" y="541"/>
                  </a:cubicBezTo>
                  <a:cubicBezTo>
                    <a:pt x="1077" y="542"/>
                    <a:pt x="1080" y="544"/>
                    <a:pt x="1082" y="546"/>
                  </a:cubicBezTo>
                  <a:cubicBezTo>
                    <a:pt x="1083" y="547"/>
                    <a:pt x="1085" y="549"/>
                    <a:pt x="1086" y="550"/>
                  </a:cubicBezTo>
                  <a:cubicBezTo>
                    <a:pt x="1086" y="550"/>
                    <a:pt x="1086" y="550"/>
                    <a:pt x="1086" y="550"/>
                  </a:cubicBezTo>
                  <a:cubicBezTo>
                    <a:pt x="1087" y="550"/>
                    <a:pt x="1087" y="550"/>
                    <a:pt x="1087" y="550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9" y="552"/>
                    <a:pt x="1090" y="553"/>
                    <a:pt x="1091" y="553"/>
                  </a:cubicBezTo>
                  <a:cubicBezTo>
                    <a:pt x="1091" y="553"/>
                    <a:pt x="1091" y="553"/>
                    <a:pt x="1092" y="554"/>
                  </a:cubicBezTo>
                  <a:cubicBezTo>
                    <a:pt x="1093" y="554"/>
                    <a:pt x="1094" y="555"/>
                    <a:pt x="1095" y="556"/>
                  </a:cubicBezTo>
                  <a:cubicBezTo>
                    <a:pt x="1098" y="557"/>
                    <a:pt x="1102" y="559"/>
                    <a:pt x="1106" y="560"/>
                  </a:cubicBezTo>
                  <a:cubicBezTo>
                    <a:pt x="1114" y="562"/>
                    <a:pt x="1122" y="562"/>
                    <a:pt x="1122" y="562"/>
                  </a:cubicBezTo>
                  <a:cubicBezTo>
                    <a:pt x="1122" y="562"/>
                    <a:pt x="1117" y="561"/>
                    <a:pt x="1112" y="559"/>
                  </a:cubicBezTo>
                  <a:cubicBezTo>
                    <a:pt x="1107" y="558"/>
                    <a:pt x="1103" y="555"/>
                    <a:pt x="1103" y="555"/>
                  </a:cubicBezTo>
                  <a:cubicBezTo>
                    <a:pt x="1103" y="555"/>
                    <a:pt x="1102" y="555"/>
                    <a:pt x="1101" y="554"/>
                  </a:cubicBezTo>
                  <a:cubicBezTo>
                    <a:pt x="1100" y="554"/>
                    <a:pt x="1099" y="554"/>
                    <a:pt x="1099" y="554"/>
                  </a:cubicBezTo>
                  <a:cubicBezTo>
                    <a:pt x="1096" y="553"/>
                    <a:pt x="1094" y="551"/>
                    <a:pt x="1093" y="550"/>
                  </a:cubicBezTo>
                  <a:cubicBezTo>
                    <a:pt x="1092" y="550"/>
                    <a:pt x="1092" y="550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0" y="548"/>
                    <a:pt x="1090" y="548"/>
                    <a:pt x="1090" y="548"/>
                  </a:cubicBezTo>
                  <a:cubicBezTo>
                    <a:pt x="1089" y="548"/>
                    <a:pt x="1089" y="548"/>
                    <a:pt x="1089" y="548"/>
                  </a:cubicBezTo>
                  <a:cubicBezTo>
                    <a:pt x="1089" y="548"/>
                    <a:pt x="1089" y="548"/>
                    <a:pt x="1089" y="548"/>
                  </a:cubicBezTo>
                  <a:cubicBezTo>
                    <a:pt x="1088" y="547"/>
                    <a:pt x="1088" y="547"/>
                    <a:pt x="1088" y="547"/>
                  </a:cubicBezTo>
                  <a:cubicBezTo>
                    <a:pt x="1088" y="547"/>
                    <a:pt x="1088" y="547"/>
                    <a:pt x="1087" y="546"/>
                  </a:cubicBezTo>
                  <a:cubicBezTo>
                    <a:pt x="1084" y="543"/>
                    <a:pt x="1081" y="540"/>
                    <a:pt x="1079" y="537"/>
                  </a:cubicBezTo>
                  <a:cubicBezTo>
                    <a:pt x="1077" y="533"/>
                    <a:pt x="1075" y="528"/>
                    <a:pt x="1073" y="522"/>
                  </a:cubicBezTo>
                  <a:cubicBezTo>
                    <a:pt x="1072" y="517"/>
                    <a:pt x="1071" y="510"/>
                    <a:pt x="1071" y="501"/>
                  </a:cubicBezTo>
                  <a:cubicBezTo>
                    <a:pt x="1071" y="460"/>
                    <a:pt x="1072" y="446"/>
                    <a:pt x="1076" y="417"/>
                  </a:cubicBezTo>
                  <a:cubicBezTo>
                    <a:pt x="1076" y="411"/>
                    <a:pt x="1076" y="411"/>
                    <a:pt x="1076" y="411"/>
                  </a:cubicBezTo>
                  <a:cubicBezTo>
                    <a:pt x="1076" y="411"/>
                    <a:pt x="1076" y="409"/>
                    <a:pt x="1076" y="406"/>
                  </a:cubicBezTo>
                  <a:cubicBezTo>
                    <a:pt x="1076" y="405"/>
                    <a:pt x="1076" y="405"/>
                    <a:pt x="1076" y="404"/>
                  </a:cubicBezTo>
                  <a:cubicBezTo>
                    <a:pt x="1076" y="403"/>
                    <a:pt x="1076" y="402"/>
                    <a:pt x="1076" y="400"/>
                  </a:cubicBezTo>
                  <a:cubicBezTo>
                    <a:pt x="1076" y="398"/>
                    <a:pt x="1076" y="396"/>
                    <a:pt x="1076" y="394"/>
                  </a:cubicBezTo>
                  <a:cubicBezTo>
                    <a:pt x="1075" y="389"/>
                    <a:pt x="1074" y="385"/>
                    <a:pt x="1074" y="381"/>
                  </a:cubicBezTo>
                  <a:cubicBezTo>
                    <a:pt x="1073" y="378"/>
                    <a:pt x="1072" y="376"/>
                    <a:pt x="1072" y="376"/>
                  </a:cubicBezTo>
                  <a:cubicBezTo>
                    <a:pt x="1072" y="376"/>
                    <a:pt x="1073" y="379"/>
                    <a:pt x="1073" y="384"/>
                  </a:cubicBezTo>
                  <a:cubicBezTo>
                    <a:pt x="1074" y="390"/>
                    <a:pt x="1074" y="397"/>
                    <a:pt x="1074" y="404"/>
                  </a:cubicBezTo>
                  <a:cubicBezTo>
                    <a:pt x="1074" y="404"/>
                    <a:pt x="1074" y="405"/>
                    <a:pt x="1073" y="406"/>
                  </a:cubicBezTo>
                  <a:cubicBezTo>
                    <a:pt x="1073" y="407"/>
                    <a:pt x="1073" y="407"/>
                    <a:pt x="1073" y="407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10"/>
                    <a:pt x="1073" y="411"/>
                    <a:pt x="1073" y="412"/>
                  </a:cubicBezTo>
                  <a:cubicBezTo>
                    <a:pt x="1072" y="415"/>
                    <a:pt x="1072" y="417"/>
                    <a:pt x="1072" y="420"/>
                  </a:cubicBezTo>
                  <a:cubicBezTo>
                    <a:pt x="1071" y="424"/>
                    <a:pt x="1071" y="427"/>
                    <a:pt x="1071" y="427"/>
                  </a:cubicBezTo>
                  <a:cubicBezTo>
                    <a:pt x="1069" y="448"/>
                    <a:pt x="1065" y="461"/>
                    <a:pt x="1062" y="461"/>
                  </a:cubicBezTo>
                  <a:cubicBezTo>
                    <a:pt x="1058" y="461"/>
                    <a:pt x="1055" y="448"/>
                    <a:pt x="1052" y="427"/>
                  </a:cubicBezTo>
                  <a:cubicBezTo>
                    <a:pt x="1052" y="427"/>
                    <a:pt x="1052" y="421"/>
                    <a:pt x="1051" y="413"/>
                  </a:cubicBezTo>
                  <a:cubicBezTo>
                    <a:pt x="1050" y="411"/>
                    <a:pt x="1050" y="408"/>
                    <a:pt x="1050" y="406"/>
                  </a:cubicBezTo>
                  <a:cubicBezTo>
                    <a:pt x="1050" y="404"/>
                    <a:pt x="1049" y="401"/>
                    <a:pt x="1049" y="399"/>
                  </a:cubicBezTo>
                  <a:cubicBezTo>
                    <a:pt x="1048" y="394"/>
                    <a:pt x="1046" y="388"/>
                    <a:pt x="1044" y="384"/>
                  </a:cubicBezTo>
                  <a:cubicBezTo>
                    <a:pt x="1040" y="374"/>
                    <a:pt x="1034" y="365"/>
                    <a:pt x="1029" y="360"/>
                  </a:cubicBezTo>
                  <a:cubicBezTo>
                    <a:pt x="1026" y="357"/>
                    <a:pt x="1023" y="355"/>
                    <a:pt x="1022" y="354"/>
                  </a:cubicBezTo>
                  <a:cubicBezTo>
                    <a:pt x="1021" y="353"/>
                    <a:pt x="1020" y="353"/>
                    <a:pt x="1020" y="353"/>
                  </a:cubicBezTo>
                  <a:cubicBezTo>
                    <a:pt x="1019" y="352"/>
                    <a:pt x="1019" y="352"/>
                    <a:pt x="1019" y="352"/>
                  </a:cubicBezTo>
                  <a:cubicBezTo>
                    <a:pt x="1019" y="352"/>
                    <a:pt x="1020" y="353"/>
                    <a:pt x="1020" y="354"/>
                  </a:cubicBezTo>
                  <a:cubicBezTo>
                    <a:pt x="1021" y="354"/>
                    <a:pt x="1021" y="354"/>
                    <a:pt x="1021" y="355"/>
                  </a:cubicBezTo>
                  <a:cubicBezTo>
                    <a:pt x="1021" y="355"/>
                    <a:pt x="1021" y="355"/>
                    <a:pt x="1022" y="355"/>
                  </a:cubicBezTo>
                  <a:cubicBezTo>
                    <a:pt x="1022" y="355"/>
                    <a:pt x="1022" y="355"/>
                    <a:pt x="1022" y="355"/>
                  </a:cubicBezTo>
                  <a:cubicBezTo>
                    <a:pt x="1022" y="355"/>
                    <a:pt x="1022" y="355"/>
                    <a:pt x="1022" y="355"/>
                  </a:cubicBezTo>
                  <a:cubicBezTo>
                    <a:pt x="1022" y="356"/>
                    <a:pt x="1022" y="356"/>
                    <a:pt x="1022" y="356"/>
                  </a:cubicBezTo>
                  <a:cubicBezTo>
                    <a:pt x="1022" y="356"/>
                    <a:pt x="1022" y="356"/>
                    <a:pt x="1022" y="356"/>
                  </a:cubicBezTo>
                  <a:cubicBezTo>
                    <a:pt x="1023" y="357"/>
                    <a:pt x="1023" y="358"/>
                    <a:pt x="1024" y="359"/>
                  </a:cubicBezTo>
                  <a:cubicBezTo>
                    <a:pt x="1027" y="363"/>
                    <a:pt x="1030" y="368"/>
                    <a:pt x="1031" y="374"/>
                  </a:cubicBezTo>
                  <a:cubicBezTo>
                    <a:pt x="1033" y="380"/>
                    <a:pt x="1034" y="386"/>
                    <a:pt x="1035" y="391"/>
                  </a:cubicBezTo>
                  <a:cubicBezTo>
                    <a:pt x="1035" y="393"/>
                    <a:pt x="1035" y="395"/>
                    <a:pt x="1035" y="396"/>
                  </a:cubicBezTo>
                  <a:cubicBezTo>
                    <a:pt x="1035" y="398"/>
                    <a:pt x="1035" y="398"/>
                    <a:pt x="1035" y="398"/>
                  </a:cubicBezTo>
                  <a:cubicBezTo>
                    <a:pt x="1035" y="398"/>
                    <a:pt x="1036" y="397"/>
                    <a:pt x="1037" y="397"/>
                  </a:cubicBezTo>
                  <a:cubicBezTo>
                    <a:pt x="1039" y="397"/>
                    <a:pt x="1042" y="400"/>
                    <a:pt x="1044" y="407"/>
                  </a:cubicBezTo>
                  <a:cubicBezTo>
                    <a:pt x="1047" y="414"/>
                    <a:pt x="1048" y="426"/>
                    <a:pt x="1050" y="440"/>
                  </a:cubicBezTo>
                  <a:cubicBezTo>
                    <a:pt x="1057" y="501"/>
                    <a:pt x="1057" y="501"/>
                    <a:pt x="1057" y="501"/>
                  </a:cubicBezTo>
                  <a:cubicBezTo>
                    <a:pt x="1057" y="501"/>
                    <a:pt x="1057" y="502"/>
                    <a:pt x="1057" y="503"/>
                  </a:cubicBezTo>
                  <a:cubicBezTo>
                    <a:pt x="1057" y="505"/>
                    <a:pt x="1056" y="507"/>
                    <a:pt x="1056" y="510"/>
                  </a:cubicBezTo>
                  <a:cubicBezTo>
                    <a:pt x="1056" y="515"/>
                    <a:pt x="1056" y="523"/>
                    <a:pt x="1057" y="530"/>
                  </a:cubicBezTo>
                  <a:cubicBezTo>
                    <a:pt x="1058" y="537"/>
                    <a:pt x="1061" y="545"/>
                    <a:pt x="1063" y="550"/>
                  </a:cubicBezTo>
                  <a:cubicBezTo>
                    <a:pt x="1065" y="555"/>
                    <a:pt x="1067" y="559"/>
                    <a:pt x="1067" y="559"/>
                  </a:cubicBezTo>
                  <a:close/>
                  <a:moveTo>
                    <a:pt x="1230" y="118"/>
                  </a:moveTo>
                  <a:cubicBezTo>
                    <a:pt x="1227" y="135"/>
                    <a:pt x="1224" y="144"/>
                    <a:pt x="1221" y="144"/>
                  </a:cubicBezTo>
                  <a:cubicBezTo>
                    <a:pt x="1218" y="144"/>
                    <a:pt x="1214" y="132"/>
                    <a:pt x="1212" y="110"/>
                  </a:cubicBezTo>
                  <a:cubicBezTo>
                    <a:pt x="1212" y="110"/>
                    <a:pt x="1211" y="101"/>
                    <a:pt x="1208" y="93"/>
                  </a:cubicBezTo>
                  <a:cubicBezTo>
                    <a:pt x="1207" y="89"/>
                    <a:pt x="1206" y="85"/>
                    <a:pt x="1205" y="82"/>
                  </a:cubicBezTo>
                  <a:cubicBezTo>
                    <a:pt x="1204" y="79"/>
                    <a:pt x="1203" y="77"/>
                    <a:pt x="1203" y="77"/>
                  </a:cubicBezTo>
                  <a:cubicBezTo>
                    <a:pt x="1203" y="79"/>
                    <a:pt x="1204" y="82"/>
                    <a:pt x="1204" y="85"/>
                  </a:cubicBezTo>
                  <a:cubicBezTo>
                    <a:pt x="1204" y="85"/>
                    <a:pt x="1204" y="87"/>
                    <a:pt x="1204" y="91"/>
                  </a:cubicBezTo>
                  <a:cubicBezTo>
                    <a:pt x="1205" y="94"/>
                    <a:pt x="1205" y="100"/>
                    <a:pt x="1204" y="106"/>
                  </a:cubicBezTo>
                  <a:cubicBezTo>
                    <a:pt x="1204" y="112"/>
                    <a:pt x="1203" y="120"/>
                    <a:pt x="1202" y="128"/>
                  </a:cubicBezTo>
                  <a:cubicBezTo>
                    <a:pt x="1201" y="136"/>
                    <a:pt x="1200" y="145"/>
                    <a:pt x="1199" y="153"/>
                  </a:cubicBezTo>
                  <a:cubicBezTo>
                    <a:pt x="1195" y="187"/>
                    <a:pt x="1191" y="222"/>
                    <a:pt x="1191" y="222"/>
                  </a:cubicBezTo>
                  <a:cubicBezTo>
                    <a:pt x="1189" y="237"/>
                    <a:pt x="1188" y="256"/>
                    <a:pt x="1188" y="277"/>
                  </a:cubicBezTo>
                  <a:cubicBezTo>
                    <a:pt x="1190" y="259"/>
                    <a:pt x="1193" y="250"/>
                    <a:pt x="1196" y="250"/>
                  </a:cubicBezTo>
                  <a:cubicBezTo>
                    <a:pt x="1200" y="250"/>
                    <a:pt x="1203" y="262"/>
                    <a:pt x="1206" y="284"/>
                  </a:cubicBezTo>
                  <a:cubicBezTo>
                    <a:pt x="1221" y="420"/>
                    <a:pt x="1221" y="420"/>
                    <a:pt x="1221" y="420"/>
                  </a:cubicBezTo>
                  <a:cubicBezTo>
                    <a:pt x="1224" y="442"/>
                    <a:pt x="1225" y="471"/>
                    <a:pt x="1225" y="502"/>
                  </a:cubicBezTo>
                  <a:cubicBezTo>
                    <a:pt x="1225" y="511"/>
                    <a:pt x="1225" y="520"/>
                    <a:pt x="1225" y="529"/>
                  </a:cubicBezTo>
                  <a:cubicBezTo>
                    <a:pt x="1225" y="527"/>
                    <a:pt x="1226" y="525"/>
                    <a:pt x="1226" y="522"/>
                  </a:cubicBezTo>
                  <a:cubicBezTo>
                    <a:pt x="1231" y="479"/>
                    <a:pt x="1231" y="479"/>
                    <a:pt x="1231" y="479"/>
                  </a:cubicBezTo>
                  <a:cubicBezTo>
                    <a:pt x="1224" y="416"/>
                    <a:pt x="1224" y="416"/>
                    <a:pt x="1224" y="416"/>
                  </a:cubicBezTo>
                  <a:cubicBezTo>
                    <a:pt x="1220" y="387"/>
                    <a:pt x="1218" y="348"/>
                    <a:pt x="1218" y="307"/>
                  </a:cubicBezTo>
                  <a:cubicBezTo>
                    <a:pt x="1218" y="266"/>
                    <a:pt x="1220" y="227"/>
                    <a:pt x="1224" y="198"/>
                  </a:cubicBezTo>
                  <a:cubicBezTo>
                    <a:pt x="1231" y="135"/>
                    <a:pt x="1231" y="135"/>
                    <a:pt x="1231" y="135"/>
                  </a:cubicBezTo>
                  <a:cubicBezTo>
                    <a:pt x="1231" y="130"/>
                    <a:pt x="1231" y="130"/>
                    <a:pt x="1231" y="130"/>
                  </a:cubicBezTo>
                  <a:lnTo>
                    <a:pt x="1230" y="118"/>
                  </a:lnTo>
                  <a:close/>
                  <a:moveTo>
                    <a:pt x="1226" y="588"/>
                  </a:moveTo>
                  <a:cubicBezTo>
                    <a:pt x="1225" y="589"/>
                    <a:pt x="1225" y="589"/>
                    <a:pt x="1225" y="589"/>
                  </a:cubicBezTo>
                  <a:cubicBezTo>
                    <a:pt x="1225" y="599"/>
                    <a:pt x="1217" y="608"/>
                    <a:pt x="1206" y="607"/>
                  </a:cubicBezTo>
                  <a:cubicBezTo>
                    <a:pt x="1195" y="607"/>
                    <a:pt x="1184" y="607"/>
                    <a:pt x="1172" y="607"/>
                  </a:cubicBezTo>
                  <a:cubicBezTo>
                    <a:pt x="1165" y="607"/>
                    <a:pt x="1158" y="607"/>
                    <a:pt x="1150" y="607"/>
                  </a:cubicBezTo>
                  <a:cubicBezTo>
                    <a:pt x="1147" y="607"/>
                    <a:pt x="1143" y="607"/>
                    <a:pt x="1140" y="607"/>
                  </a:cubicBezTo>
                  <a:cubicBezTo>
                    <a:pt x="1137" y="607"/>
                    <a:pt x="1137" y="607"/>
                    <a:pt x="1137" y="607"/>
                  </a:cubicBezTo>
                  <a:cubicBezTo>
                    <a:pt x="1135" y="607"/>
                    <a:pt x="1135" y="607"/>
                    <a:pt x="1135" y="607"/>
                  </a:cubicBezTo>
                  <a:cubicBezTo>
                    <a:pt x="1134" y="607"/>
                    <a:pt x="1134" y="607"/>
                    <a:pt x="1134" y="607"/>
                  </a:cubicBezTo>
                  <a:cubicBezTo>
                    <a:pt x="1132" y="607"/>
                    <a:pt x="1130" y="607"/>
                    <a:pt x="1128" y="607"/>
                  </a:cubicBezTo>
                  <a:cubicBezTo>
                    <a:pt x="1112" y="606"/>
                    <a:pt x="1096" y="603"/>
                    <a:pt x="1081" y="596"/>
                  </a:cubicBezTo>
                  <a:cubicBezTo>
                    <a:pt x="1076" y="594"/>
                    <a:pt x="1069" y="591"/>
                    <a:pt x="1062" y="586"/>
                  </a:cubicBezTo>
                  <a:cubicBezTo>
                    <a:pt x="1073" y="596"/>
                    <a:pt x="1086" y="603"/>
                    <a:pt x="1100" y="607"/>
                  </a:cubicBezTo>
                  <a:cubicBezTo>
                    <a:pt x="1107" y="609"/>
                    <a:pt x="1113" y="611"/>
                    <a:pt x="1120" y="612"/>
                  </a:cubicBezTo>
                  <a:cubicBezTo>
                    <a:pt x="1124" y="612"/>
                    <a:pt x="1127" y="612"/>
                    <a:pt x="1130" y="612"/>
                  </a:cubicBezTo>
                  <a:cubicBezTo>
                    <a:pt x="1132" y="613"/>
                    <a:pt x="1133" y="613"/>
                    <a:pt x="1135" y="613"/>
                  </a:cubicBezTo>
                  <a:cubicBezTo>
                    <a:pt x="1140" y="613"/>
                    <a:pt x="1140" y="613"/>
                    <a:pt x="1140" y="613"/>
                  </a:cubicBezTo>
                  <a:cubicBezTo>
                    <a:pt x="1206" y="613"/>
                    <a:pt x="1206" y="613"/>
                    <a:pt x="1206" y="613"/>
                  </a:cubicBezTo>
                  <a:cubicBezTo>
                    <a:pt x="1220" y="613"/>
                    <a:pt x="1231" y="602"/>
                    <a:pt x="1231" y="588"/>
                  </a:cubicBezTo>
                  <a:cubicBezTo>
                    <a:pt x="1231" y="507"/>
                    <a:pt x="1231" y="507"/>
                    <a:pt x="1231" y="507"/>
                  </a:cubicBezTo>
                  <a:cubicBezTo>
                    <a:pt x="1230" y="513"/>
                    <a:pt x="1230" y="513"/>
                    <a:pt x="1230" y="513"/>
                  </a:cubicBezTo>
                  <a:cubicBezTo>
                    <a:pt x="1228" y="534"/>
                    <a:pt x="1226" y="560"/>
                    <a:pt x="1226" y="588"/>
                  </a:cubicBezTo>
                  <a:close/>
                  <a:moveTo>
                    <a:pt x="930" y="353"/>
                  </a:moveTo>
                  <a:cubicBezTo>
                    <a:pt x="931" y="352"/>
                    <a:pt x="933" y="351"/>
                    <a:pt x="935" y="351"/>
                  </a:cubicBezTo>
                  <a:cubicBezTo>
                    <a:pt x="933" y="351"/>
                    <a:pt x="931" y="352"/>
                    <a:pt x="929" y="353"/>
                  </a:cubicBezTo>
                  <a:cubicBezTo>
                    <a:pt x="927" y="354"/>
                    <a:pt x="927" y="354"/>
                    <a:pt x="927" y="354"/>
                  </a:cubicBezTo>
                  <a:cubicBezTo>
                    <a:pt x="924" y="355"/>
                    <a:pt x="924" y="355"/>
                    <a:pt x="924" y="355"/>
                  </a:cubicBezTo>
                  <a:cubicBezTo>
                    <a:pt x="921" y="357"/>
                    <a:pt x="917" y="359"/>
                    <a:pt x="913" y="361"/>
                  </a:cubicBezTo>
                  <a:cubicBezTo>
                    <a:pt x="907" y="364"/>
                    <a:pt x="901" y="368"/>
                    <a:pt x="895" y="372"/>
                  </a:cubicBezTo>
                  <a:cubicBezTo>
                    <a:pt x="892" y="373"/>
                    <a:pt x="889" y="375"/>
                    <a:pt x="886" y="377"/>
                  </a:cubicBezTo>
                  <a:cubicBezTo>
                    <a:pt x="884" y="379"/>
                    <a:pt x="881" y="381"/>
                    <a:pt x="878" y="383"/>
                  </a:cubicBezTo>
                  <a:cubicBezTo>
                    <a:pt x="867" y="391"/>
                    <a:pt x="857" y="398"/>
                    <a:pt x="848" y="404"/>
                  </a:cubicBezTo>
                  <a:cubicBezTo>
                    <a:pt x="848" y="404"/>
                    <a:pt x="847" y="405"/>
                    <a:pt x="844" y="407"/>
                  </a:cubicBezTo>
                  <a:cubicBezTo>
                    <a:pt x="841" y="410"/>
                    <a:pt x="837" y="413"/>
                    <a:pt x="832" y="417"/>
                  </a:cubicBezTo>
                  <a:cubicBezTo>
                    <a:pt x="821" y="425"/>
                    <a:pt x="807" y="435"/>
                    <a:pt x="793" y="445"/>
                  </a:cubicBezTo>
                  <a:cubicBezTo>
                    <a:pt x="779" y="455"/>
                    <a:pt x="765" y="465"/>
                    <a:pt x="755" y="473"/>
                  </a:cubicBezTo>
                  <a:cubicBezTo>
                    <a:pt x="744" y="480"/>
                    <a:pt x="737" y="485"/>
                    <a:pt x="737" y="485"/>
                  </a:cubicBezTo>
                  <a:cubicBezTo>
                    <a:pt x="719" y="498"/>
                    <a:pt x="708" y="503"/>
                    <a:pt x="705" y="500"/>
                  </a:cubicBezTo>
                  <a:cubicBezTo>
                    <a:pt x="703" y="497"/>
                    <a:pt x="709" y="489"/>
                    <a:pt x="720" y="476"/>
                  </a:cubicBezTo>
                  <a:cubicBezTo>
                    <a:pt x="713" y="483"/>
                    <a:pt x="706" y="489"/>
                    <a:pt x="699" y="495"/>
                  </a:cubicBezTo>
                  <a:cubicBezTo>
                    <a:pt x="696" y="498"/>
                    <a:pt x="693" y="501"/>
                    <a:pt x="689" y="504"/>
                  </a:cubicBezTo>
                  <a:cubicBezTo>
                    <a:pt x="687" y="507"/>
                    <a:pt x="684" y="509"/>
                    <a:pt x="681" y="512"/>
                  </a:cubicBezTo>
                  <a:cubicBezTo>
                    <a:pt x="681" y="512"/>
                    <a:pt x="679" y="513"/>
                    <a:pt x="677" y="515"/>
                  </a:cubicBezTo>
                  <a:cubicBezTo>
                    <a:pt x="674" y="518"/>
                    <a:pt x="670" y="521"/>
                    <a:pt x="665" y="524"/>
                  </a:cubicBezTo>
                  <a:cubicBezTo>
                    <a:pt x="663" y="526"/>
                    <a:pt x="660" y="528"/>
                    <a:pt x="657" y="530"/>
                  </a:cubicBezTo>
                  <a:cubicBezTo>
                    <a:pt x="654" y="531"/>
                    <a:pt x="651" y="533"/>
                    <a:pt x="648" y="535"/>
                  </a:cubicBezTo>
                  <a:cubicBezTo>
                    <a:pt x="641" y="538"/>
                    <a:pt x="634" y="541"/>
                    <a:pt x="626" y="543"/>
                  </a:cubicBezTo>
                  <a:cubicBezTo>
                    <a:pt x="622" y="544"/>
                    <a:pt x="618" y="544"/>
                    <a:pt x="614" y="545"/>
                  </a:cubicBezTo>
                  <a:cubicBezTo>
                    <a:pt x="610" y="545"/>
                    <a:pt x="606" y="545"/>
                    <a:pt x="602" y="545"/>
                  </a:cubicBezTo>
                  <a:cubicBezTo>
                    <a:pt x="594" y="545"/>
                    <a:pt x="587" y="544"/>
                    <a:pt x="581" y="543"/>
                  </a:cubicBezTo>
                  <a:cubicBezTo>
                    <a:pt x="575" y="542"/>
                    <a:pt x="570" y="540"/>
                    <a:pt x="566" y="539"/>
                  </a:cubicBezTo>
                  <a:cubicBezTo>
                    <a:pt x="562" y="537"/>
                    <a:pt x="560" y="537"/>
                    <a:pt x="560" y="537"/>
                  </a:cubicBezTo>
                  <a:cubicBezTo>
                    <a:pt x="558" y="536"/>
                    <a:pt x="555" y="535"/>
                    <a:pt x="553" y="534"/>
                  </a:cubicBezTo>
                  <a:cubicBezTo>
                    <a:pt x="553" y="534"/>
                    <a:pt x="560" y="539"/>
                    <a:pt x="567" y="543"/>
                  </a:cubicBezTo>
                  <a:cubicBezTo>
                    <a:pt x="570" y="545"/>
                    <a:pt x="574" y="547"/>
                    <a:pt x="577" y="549"/>
                  </a:cubicBezTo>
                  <a:cubicBezTo>
                    <a:pt x="580" y="550"/>
                    <a:pt x="582" y="551"/>
                    <a:pt x="582" y="551"/>
                  </a:cubicBezTo>
                  <a:cubicBezTo>
                    <a:pt x="593" y="556"/>
                    <a:pt x="602" y="558"/>
                    <a:pt x="608" y="560"/>
                  </a:cubicBezTo>
                  <a:cubicBezTo>
                    <a:pt x="610" y="561"/>
                    <a:pt x="611" y="561"/>
                    <a:pt x="612" y="561"/>
                  </a:cubicBezTo>
                  <a:cubicBezTo>
                    <a:pt x="613" y="562"/>
                    <a:pt x="613" y="562"/>
                    <a:pt x="614" y="562"/>
                  </a:cubicBezTo>
                  <a:cubicBezTo>
                    <a:pt x="614" y="562"/>
                    <a:pt x="615" y="563"/>
                    <a:pt x="615" y="563"/>
                  </a:cubicBezTo>
                  <a:cubicBezTo>
                    <a:pt x="617" y="564"/>
                    <a:pt x="618" y="564"/>
                    <a:pt x="618" y="565"/>
                  </a:cubicBezTo>
                  <a:cubicBezTo>
                    <a:pt x="618" y="566"/>
                    <a:pt x="617" y="567"/>
                    <a:pt x="616" y="568"/>
                  </a:cubicBezTo>
                  <a:cubicBezTo>
                    <a:pt x="615" y="568"/>
                    <a:pt x="614" y="568"/>
                    <a:pt x="613" y="569"/>
                  </a:cubicBezTo>
                  <a:cubicBezTo>
                    <a:pt x="612" y="569"/>
                    <a:pt x="611" y="569"/>
                    <a:pt x="610" y="570"/>
                  </a:cubicBezTo>
                  <a:cubicBezTo>
                    <a:pt x="605" y="571"/>
                    <a:pt x="597" y="572"/>
                    <a:pt x="587" y="571"/>
                  </a:cubicBezTo>
                  <a:cubicBezTo>
                    <a:pt x="587" y="571"/>
                    <a:pt x="590" y="572"/>
                    <a:pt x="593" y="573"/>
                  </a:cubicBezTo>
                  <a:cubicBezTo>
                    <a:pt x="597" y="574"/>
                    <a:pt x="600" y="574"/>
                    <a:pt x="600" y="574"/>
                  </a:cubicBezTo>
                  <a:cubicBezTo>
                    <a:pt x="600" y="574"/>
                    <a:pt x="602" y="575"/>
                    <a:pt x="604" y="575"/>
                  </a:cubicBezTo>
                  <a:cubicBezTo>
                    <a:pt x="605" y="575"/>
                    <a:pt x="607" y="575"/>
                    <a:pt x="607" y="575"/>
                  </a:cubicBezTo>
                  <a:cubicBezTo>
                    <a:pt x="607" y="575"/>
                    <a:pt x="608" y="575"/>
                    <a:pt x="610" y="575"/>
                  </a:cubicBezTo>
                  <a:cubicBezTo>
                    <a:pt x="611" y="575"/>
                    <a:pt x="611" y="575"/>
                    <a:pt x="612" y="575"/>
                  </a:cubicBezTo>
                  <a:cubicBezTo>
                    <a:pt x="612" y="575"/>
                    <a:pt x="613" y="575"/>
                    <a:pt x="613" y="575"/>
                  </a:cubicBezTo>
                  <a:cubicBezTo>
                    <a:pt x="613" y="575"/>
                    <a:pt x="614" y="575"/>
                    <a:pt x="614" y="575"/>
                  </a:cubicBezTo>
                  <a:cubicBezTo>
                    <a:pt x="614" y="574"/>
                    <a:pt x="614" y="574"/>
                    <a:pt x="614" y="574"/>
                  </a:cubicBezTo>
                  <a:cubicBezTo>
                    <a:pt x="614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7" y="574"/>
                    <a:pt x="618" y="574"/>
                    <a:pt x="619" y="574"/>
                  </a:cubicBezTo>
                  <a:cubicBezTo>
                    <a:pt x="626" y="573"/>
                    <a:pt x="636" y="571"/>
                    <a:pt x="645" y="568"/>
                  </a:cubicBezTo>
                  <a:cubicBezTo>
                    <a:pt x="654" y="565"/>
                    <a:pt x="662" y="561"/>
                    <a:pt x="668" y="557"/>
                  </a:cubicBezTo>
                  <a:cubicBezTo>
                    <a:pt x="674" y="554"/>
                    <a:pt x="677" y="552"/>
                    <a:pt x="677" y="552"/>
                  </a:cubicBezTo>
                  <a:cubicBezTo>
                    <a:pt x="684" y="547"/>
                    <a:pt x="691" y="542"/>
                    <a:pt x="698" y="537"/>
                  </a:cubicBezTo>
                  <a:cubicBezTo>
                    <a:pt x="700" y="535"/>
                    <a:pt x="702" y="534"/>
                    <a:pt x="703" y="533"/>
                  </a:cubicBezTo>
                  <a:cubicBezTo>
                    <a:pt x="705" y="531"/>
                    <a:pt x="707" y="530"/>
                    <a:pt x="709" y="528"/>
                  </a:cubicBezTo>
                  <a:cubicBezTo>
                    <a:pt x="712" y="525"/>
                    <a:pt x="716" y="522"/>
                    <a:pt x="719" y="519"/>
                  </a:cubicBezTo>
                  <a:cubicBezTo>
                    <a:pt x="726" y="513"/>
                    <a:pt x="734" y="506"/>
                    <a:pt x="741" y="499"/>
                  </a:cubicBezTo>
                  <a:cubicBezTo>
                    <a:pt x="745" y="496"/>
                    <a:pt x="748" y="492"/>
                    <a:pt x="752" y="489"/>
                  </a:cubicBezTo>
                  <a:cubicBezTo>
                    <a:pt x="756" y="486"/>
                    <a:pt x="760" y="482"/>
                    <a:pt x="763" y="479"/>
                  </a:cubicBezTo>
                  <a:cubicBezTo>
                    <a:pt x="771" y="472"/>
                    <a:pt x="778" y="465"/>
                    <a:pt x="786" y="459"/>
                  </a:cubicBezTo>
                  <a:cubicBezTo>
                    <a:pt x="790" y="455"/>
                    <a:pt x="793" y="452"/>
                    <a:pt x="797" y="449"/>
                  </a:cubicBezTo>
                  <a:cubicBezTo>
                    <a:pt x="801" y="446"/>
                    <a:pt x="804" y="443"/>
                    <a:pt x="808" y="440"/>
                  </a:cubicBezTo>
                  <a:cubicBezTo>
                    <a:pt x="815" y="434"/>
                    <a:pt x="822" y="429"/>
                    <a:pt x="829" y="423"/>
                  </a:cubicBezTo>
                  <a:cubicBezTo>
                    <a:pt x="832" y="420"/>
                    <a:pt x="835" y="418"/>
                    <a:pt x="838" y="415"/>
                  </a:cubicBezTo>
                  <a:cubicBezTo>
                    <a:pt x="841" y="413"/>
                    <a:pt x="844" y="411"/>
                    <a:pt x="847" y="409"/>
                  </a:cubicBezTo>
                  <a:cubicBezTo>
                    <a:pt x="847" y="409"/>
                    <a:pt x="850" y="406"/>
                    <a:pt x="855" y="403"/>
                  </a:cubicBezTo>
                  <a:cubicBezTo>
                    <a:pt x="859" y="400"/>
                    <a:pt x="865" y="396"/>
                    <a:pt x="872" y="392"/>
                  </a:cubicBezTo>
                  <a:cubicBezTo>
                    <a:pt x="875" y="390"/>
                    <a:pt x="878" y="388"/>
                    <a:pt x="881" y="386"/>
                  </a:cubicBezTo>
                  <a:cubicBezTo>
                    <a:pt x="882" y="385"/>
                    <a:pt x="883" y="385"/>
                    <a:pt x="884" y="385"/>
                  </a:cubicBezTo>
                  <a:cubicBezTo>
                    <a:pt x="884" y="384"/>
                    <a:pt x="884" y="384"/>
                    <a:pt x="884" y="384"/>
                  </a:cubicBezTo>
                  <a:cubicBezTo>
                    <a:pt x="884" y="384"/>
                    <a:pt x="884" y="384"/>
                    <a:pt x="884" y="384"/>
                  </a:cubicBezTo>
                  <a:cubicBezTo>
                    <a:pt x="885" y="384"/>
                    <a:pt x="885" y="384"/>
                    <a:pt x="885" y="384"/>
                  </a:cubicBezTo>
                  <a:cubicBezTo>
                    <a:pt x="885" y="384"/>
                    <a:pt x="885" y="383"/>
                    <a:pt x="886" y="383"/>
                  </a:cubicBezTo>
                  <a:cubicBezTo>
                    <a:pt x="887" y="383"/>
                    <a:pt x="888" y="382"/>
                    <a:pt x="889" y="381"/>
                  </a:cubicBezTo>
                  <a:cubicBezTo>
                    <a:pt x="894" y="379"/>
                    <a:pt x="897" y="377"/>
                    <a:pt x="897" y="377"/>
                  </a:cubicBezTo>
                  <a:cubicBezTo>
                    <a:pt x="897" y="377"/>
                    <a:pt x="905" y="370"/>
                    <a:pt x="913" y="364"/>
                  </a:cubicBezTo>
                  <a:cubicBezTo>
                    <a:pt x="915" y="363"/>
                    <a:pt x="917" y="362"/>
                    <a:pt x="919" y="360"/>
                  </a:cubicBezTo>
                  <a:cubicBezTo>
                    <a:pt x="921" y="359"/>
                    <a:pt x="923" y="358"/>
                    <a:pt x="924" y="357"/>
                  </a:cubicBezTo>
                  <a:cubicBezTo>
                    <a:pt x="928" y="355"/>
                    <a:pt x="930" y="353"/>
                    <a:pt x="930" y="35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9B0DEC78-13D2-458D-9B8E-F22658CFA8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38600" y="2482850"/>
            <a:ext cx="4114800" cy="2066172"/>
            <a:chOff x="-85296375" y="18191163"/>
            <a:chExt cx="195448238" cy="98140837"/>
          </a:xfrm>
        </p:grpSpPr>
        <p:sp>
          <p:nvSpPr>
            <p:cNvPr id="10" name="Freeform 33">
              <a:extLst>
                <a:ext uri="{FF2B5EF4-FFF2-40B4-BE49-F238E27FC236}">
                  <a16:creationId xmlns:a16="http://schemas.microsoft.com/office/drawing/2014/main" id="{C873DA3B-A4C1-4AF9-A5B7-B49DDE7AEF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4">
              <a:extLst>
                <a:ext uri="{FF2B5EF4-FFF2-40B4-BE49-F238E27FC236}">
                  <a16:creationId xmlns:a16="http://schemas.microsoft.com/office/drawing/2014/main" id="{687DD8DA-6EE0-4F12-8960-9317D28DA8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FE6FAEB8-D55A-4627-8BE0-1326E916AE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ED4D4511-099A-4527-88BA-DAE25541E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B9E15D25-D0A0-4509-93F7-659469A755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B266DC52-2CFD-4CFE-B920-0DF9B3764C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C2E4DEA0-1A42-45EE-B06F-BB28AA848D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256EC384-3E32-41BD-B09B-6B6EF052B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17F0A68D-389B-4010-9D03-FABE5E1EB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0DCB8430-8960-4781-9CBF-CE2EDB3851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OSI Pi Infrastructure Next Steps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lnSpc>
                <a:spcPct val="105000"/>
              </a:lnSpc>
              <a:defRPr baseline="0"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lnSpc>
                <a:spcPct val="105000"/>
              </a:lnSpc>
              <a:defRPr sz="1200" baseline="0">
                <a:solidFill>
                  <a:schemeClr val="accent1"/>
                </a:solidFill>
              </a:defRPr>
            </a:lvl1pPr>
            <a:lvl2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2pPr>
            <a:lvl3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3pPr>
            <a:lvl4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960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2296" y="1484312"/>
            <a:ext cx="3888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248943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/>
          </p:nvPr>
        </p:nvSpPr>
        <p:spPr bwMode="gray">
          <a:xfrm>
            <a:off x="623888" y="4437469"/>
            <a:ext cx="3960000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prstGeom prst="roundRect">
            <a:avLst>
              <a:gd name="adj" fmla="val 6044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248945"/>
          </a:xfrm>
          <a:prstGeom prst="roundRect">
            <a:avLst>
              <a:gd name="adj" fmla="val 5697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prstGeom prst="roundRect">
            <a:avLst>
              <a:gd name="adj" fmla="val 5697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r>
              <a:rPr lang="en-US"/>
              <a:t>OSI Pi Infrastructure Next Ste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968551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6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292897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50108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 dirty="0">
                <a:solidFill>
                  <a:srgbClr val="FFFFFF"/>
                </a:solidFill>
                <a:latin typeface="Verdana"/>
              </a:endParaRPr>
            </a:p>
          </p:txBody>
        </p:sp>
      </p:grpSp>
      <p:sp>
        <p:nvSpPr>
          <p:cNvPr id="17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Rechteck 18"/>
          <p:cNvSpPr/>
          <p:nvPr userDrawn="1"/>
        </p:nvSpPr>
        <p:spPr bwMode="gray">
          <a:xfrm rot="996474">
            <a:off x="2799824" y="4275032"/>
            <a:ext cx="1690556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EB3C96"/>
                </a:solidFill>
                <a:latin typeface="+mn-lt"/>
              </a:rPr>
              <a:t>EMD Performance Materials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is a business of Merck </a:t>
            </a:r>
            <a:r>
              <a:rPr lang="en-US" sz="700" kern="0" dirty="0" err="1">
                <a:solidFill>
                  <a:srgbClr val="EB3C96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EB3C96"/>
                </a:solidFill>
                <a:latin typeface="+mn-lt"/>
              </a:rPr>
              <a:t>,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Darmstadt, Germany</a:t>
            </a:r>
            <a:endParaRPr lang="de-DE" sz="700" kern="0" dirty="0">
              <a:solidFill>
                <a:srgbClr val="EB3C96"/>
              </a:solidFill>
              <a:latin typeface="Verdana"/>
            </a:endParaRPr>
          </a:p>
        </p:txBody>
      </p:sp>
      <p:sp>
        <p:nvSpPr>
          <p:cNvPr id="23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BBE6A09-ED79-4B5D-ABA8-4089E331E356}"/>
              </a:ext>
            </a:extLst>
          </p:cNvPr>
          <p:cNvGrpSpPr/>
          <p:nvPr userDrawn="1"/>
        </p:nvGrpSpPr>
        <p:grpSpPr>
          <a:xfrm>
            <a:off x="1271588" y="5270500"/>
            <a:ext cx="2520951" cy="1254126"/>
            <a:chOff x="1271588" y="5270500"/>
            <a:chExt cx="2520951" cy="1254126"/>
          </a:xfrm>
        </p:grpSpPr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7C7F98EE-C4EA-4D05-9B97-688F9C7A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71588" y="5270500"/>
              <a:ext cx="2520950" cy="1254125"/>
            </a:xfrm>
            <a:custGeom>
              <a:avLst/>
              <a:gdLst>
                <a:gd name="T0" fmla="*/ 44523 w 45552"/>
                <a:gd name="T1" fmla="*/ 1227 h 22669"/>
                <a:gd name="T2" fmla="*/ 41841 w 45552"/>
                <a:gd name="T3" fmla="*/ 15 h 22669"/>
                <a:gd name="T4" fmla="*/ 38522 w 45552"/>
                <a:gd name="T5" fmla="*/ 0 h 22669"/>
                <a:gd name="T6" fmla="*/ 37258 w 45552"/>
                <a:gd name="T7" fmla="*/ 424 h 22669"/>
                <a:gd name="T8" fmla="*/ 31277 w 45552"/>
                <a:gd name="T9" fmla="*/ 5972 h 22669"/>
                <a:gd name="T10" fmla="*/ 27125 w 45552"/>
                <a:gd name="T11" fmla="*/ 8822 h 22669"/>
                <a:gd name="T12" fmla="*/ 18265 w 45552"/>
                <a:gd name="T13" fmla="*/ 8749 h 22669"/>
                <a:gd name="T14" fmla="*/ 14840 w 45552"/>
                <a:gd name="T15" fmla="*/ 6489 h 22669"/>
                <a:gd name="T16" fmla="*/ 6366 w 45552"/>
                <a:gd name="T17" fmla="*/ 64 h 22669"/>
                <a:gd name="T18" fmla="*/ 1413 w 45552"/>
                <a:gd name="T19" fmla="*/ 0 h 22669"/>
                <a:gd name="T20" fmla="*/ 112 w 45552"/>
                <a:gd name="T21" fmla="*/ 849 h 22669"/>
                <a:gd name="T22" fmla="*/ 1 w 45552"/>
                <a:gd name="T23" fmla="*/ 4327 h 22669"/>
                <a:gd name="T24" fmla="*/ 980 w 45552"/>
                <a:gd name="T25" fmla="*/ 21385 h 22669"/>
                <a:gd name="T26" fmla="*/ 5972 w 45552"/>
                <a:gd name="T27" fmla="*/ 22668 h 22669"/>
                <a:gd name="T28" fmla="*/ 7547 w 45552"/>
                <a:gd name="T29" fmla="*/ 21288 h 22669"/>
                <a:gd name="T30" fmla="*/ 7706 w 45552"/>
                <a:gd name="T31" fmla="*/ 14176 h 22669"/>
                <a:gd name="T32" fmla="*/ 8378 w 45552"/>
                <a:gd name="T33" fmla="*/ 13308 h 22669"/>
                <a:gd name="T34" fmla="*/ 9613 w 45552"/>
                <a:gd name="T35" fmla="*/ 12943 h 22669"/>
                <a:gd name="T36" fmla="*/ 11891 w 45552"/>
                <a:gd name="T37" fmla="*/ 13669 h 22669"/>
                <a:gd name="T38" fmla="*/ 15553 w 45552"/>
                <a:gd name="T39" fmla="*/ 16750 h 22669"/>
                <a:gd name="T40" fmla="*/ 20530 w 45552"/>
                <a:gd name="T41" fmla="*/ 20740 h 22669"/>
                <a:gd name="T42" fmla="*/ 22737 w 45552"/>
                <a:gd name="T43" fmla="*/ 21278 h 22669"/>
                <a:gd name="T44" fmla="*/ 24912 w 45552"/>
                <a:gd name="T45" fmla="*/ 20792 h 22669"/>
                <a:gd name="T46" fmla="*/ 31405 w 45552"/>
                <a:gd name="T47" fmla="*/ 15426 h 22669"/>
                <a:gd name="T48" fmla="*/ 34388 w 45552"/>
                <a:gd name="T49" fmla="*/ 13291 h 22669"/>
                <a:gd name="T50" fmla="*/ 37429 w 45552"/>
                <a:gd name="T51" fmla="*/ 13529 h 22669"/>
                <a:gd name="T52" fmla="*/ 38000 w 45552"/>
                <a:gd name="T53" fmla="*/ 14944 h 22669"/>
                <a:gd name="T54" fmla="*/ 38003 w 45552"/>
                <a:gd name="T55" fmla="*/ 18529 h 22669"/>
                <a:gd name="T56" fmla="*/ 39012 w 45552"/>
                <a:gd name="T57" fmla="*/ 21418 h 22669"/>
                <a:gd name="T58" fmla="*/ 43568 w 45552"/>
                <a:gd name="T59" fmla="*/ 22668 h 22669"/>
                <a:gd name="T60" fmla="*/ 45272 w 45552"/>
                <a:gd name="T61" fmla="*/ 22125 h 22669"/>
                <a:gd name="T62" fmla="*/ 45552 w 45552"/>
                <a:gd name="T63" fmla="*/ 5218 h 22669"/>
                <a:gd name="T64" fmla="*/ 1828 w 45552"/>
                <a:gd name="T65" fmla="*/ 1463 h 22669"/>
                <a:gd name="T66" fmla="*/ 40426 w 45552"/>
                <a:gd name="T67" fmla="*/ 20256 h 22669"/>
                <a:gd name="T68" fmla="*/ 39910 w 45552"/>
                <a:gd name="T69" fmla="*/ 19292 h 22669"/>
                <a:gd name="T70" fmla="*/ 39827 w 45552"/>
                <a:gd name="T71" fmla="*/ 14982 h 22669"/>
                <a:gd name="T72" fmla="*/ 38746 w 45552"/>
                <a:gd name="T73" fmla="*/ 12265 h 22669"/>
                <a:gd name="T74" fmla="*/ 36932 w 45552"/>
                <a:gd name="T75" fmla="*/ 11229 h 22669"/>
                <a:gd name="T76" fmla="*/ 31642 w 45552"/>
                <a:gd name="T77" fmla="*/ 12831 h 22669"/>
                <a:gd name="T78" fmla="*/ 25830 w 45552"/>
                <a:gd name="T79" fmla="*/ 18022 h 22669"/>
                <a:gd name="T80" fmla="*/ 23941 w 45552"/>
                <a:gd name="T81" fmla="*/ 19226 h 22669"/>
                <a:gd name="T82" fmla="*/ 21847 w 45552"/>
                <a:gd name="T83" fmla="*/ 19311 h 22669"/>
                <a:gd name="T84" fmla="*/ 20010 w 45552"/>
                <a:gd name="T85" fmla="*/ 18250 h 22669"/>
                <a:gd name="T86" fmla="*/ 14197 w 45552"/>
                <a:gd name="T87" fmla="*/ 13054 h 22669"/>
                <a:gd name="T88" fmla="*/ 11630 w 45552"/>
                <a:gd name="T89" fmla="*/ 11505 h 22669"/>
                <a:gd name="T90" fmla="*/ 9281 w 45552"/>
                <a:gd name="T91" fmla="*/ 11129 h 22669"/>
                <a:gd name="T92" fmla="*/ 6720 w 45552"/>
                <a:gd name="T93" fmla="*/ 12358 h 22669"/>
                <a:gd name="T94" fmla="*/ 5724 w 45552"/>
                <a:gd name="T95" fmla="*/ 18815 h 22669"/>
                <a:gd name="T96" fmla="*/ 3708 w 45552"/>
                <a:gd name="T97" fmla="*/ 20818 h 22669"/>
                <a:gd name="T98" fmla="*/ 2307 w 45552"/>
                <a:gd name="T99" fmla="*/ 20128 h 22669"/>
                <a:gd name="T100" fmla="*/ 4901 w 45552"/>
                <a:gd name="T101" fmla="*/ 1826 h 22669"/>
                <a:gd name="T102" fmla="*/ 8434 w 45552"/>
                <a:gd name="T103" fmla="*/ 3020 h 22669"/>
                <a:gd name="T104" fmla="*/ 13980 w 45552"/>
                <a:gd name="T105" fmla="*/ 8159 h 22669"/>
                <a:gd name="T106" fmla="*/ 17711 w 45552"/>
                <a:gd name="T107" fmla="*/ 10503 h 22669"/>
                <a:gd name="T108" fmla="*/ 23865 w 45552"/>
                <a:gd name="T109" fmla="*/ 11432 h 22669"/>
                <a:gd name="T110" fmla="*/ 29815 w 45552"/>
                <a:gd name="T111" fmla="*/ 9444 h 22669"/>
                <a:gd name="T112" fmla="*/ 38141 w 45552"/>
                <a:gd name="T113" fmla="*/ 2081 h 22669"/>
                <a:gd name="T114" fmla="*/ 38522 w 45552"/>
                <a:gd name="T115" fmla="*/ 1826 h 22669"/>
                <a:gd name="T116" fmla="*/ 41706 w 45552"/>
                <a:gd name="T117" fmla="*/ 1836 h 22669"/>
                <a:gd name="T118" fmla="*/ 43237 w 45552"/>
                <a:gd name="T119" fmla="*/ 2529 h 22669"/>
                <a:gd name="T120" fmla="*/ 43726 w 45552"/>
                <a:gd name="T121" fmla="*/ 5218 h 22669"/>
                <a:gd name="T122" fmla="*/ 43724 w 45552"/>
                <a:gd name="T123" fmla="*/ 21209 h 22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552" h="22669">
                  <a:moveTo>
                    <a:pt x="45549" y="4005"/>
                  </a:moveTo>
                  <a:cubicBezTo>
                    <a:pt x="45549" y="3938"/>
                    <a:pt x="45545" y="3869"/>
                    <a:pt x="45541" y="3801"/>
                  </a:cubicBezTo>
                  <a:cubicBezTo>
                    <a:pt x="45510" y="3255"/>
                    <a:pt x="45396" y="2671"/>
                    <a:pt x="45126" y="2111"/>
                  </a:cubicBezTo>
                  <a:cubicBezTo>
                    <a:pt x="45057" y="1973"/>
                    <a:pt x="44982" y="1836"/>
                    <a:pt x="44895" y="1704"/>
                  </a:cubicBezTo>
                  <a:cubicBezTo>
                    <a:pt x="44852" y="1638"/>
                    <a:pt x="44808" y="1573"/>
                    <a:pt x="44759" y="1511"/>
                  </a:cubicBezTo>
                  <a:cubicBezTo>
                    <a:pt x="44735" y="1479"/>
                    <a:pt x="44713" y="1448"/>
                    <a:pt x="44686" y="1415"/>
                  </a:cubicBezTo>
                  <a:cubicBezTo>
                    <a:pt x="44600" y="1313"/>
                    <a:pt x="44600" y="1313"/>
                    <a:pt x="44600" y="1313"/>
                  </a:cubicBezTo>
                  <a:cubicBezTo>
                    <a:pt x="44556" y="1263"/>
                    <a:pt x="44556" y="1263"/>
                    <a:pt x="44556" y="1263"/>
                  </a:cubicBezTo>
                  <a:cubicBezTo>
                    <a:pt x="44541" y="1245"/>
                    <a:pt x="44534" y="1240"/>
                    <a:pt x="44523" y="1227"/>
                  </a:cubicBezTo>
                  <a:cubicBezTo>
                    <a:pt x="44462" y="1163"/>
                    <a:pt x="44462" y="1163"/>
                    <a:pt x="44462" y="1163"/>
                  </a:cubicBezTo>
                  <a:cubicBezTo>
                    <a:pt x="44468" y="1169"/>
                    <a:pt x="44420" y="1119"/>
                    <a:pt x="44408" y="1109"/>
                  </a:cubicBezTo>
                  <a:cubicBezTo>
                    <a:pt x="44365" y="1068"/>
                    <a:pt x="44365" y="1068"/>
                    <a:pt x="44365" y="1068"/>
                  </a:cubicBezTo>
                  <a:cubicBezTo>
                    <a:pt x="44279" y="986"/>
                    <a:pt x="44279" y="986"/>
                    <a:pt x="44279" y="986"/>
                  </a:cubicBezTo>
                  <a:cubicBezTo>
                    <a:pt x="44159" y="882"/>
                    <a:pt x="44035" y="782"/>
                    <a:pt x="43902" y="693"/>
                  </a:cubicBezTo>
                  <a:cubicBezTo>
                    <a:pt x="43638" y="514"/>
                    <a:pt x="43350" y="370"/>
                    <a:pt x="43057" y="265"/>
                  </a:cubicBezTo>
                  <a:cubicBezTo>
                    <a:pt x="42764" y="160"/>
                    <a:pt x="42465" y="92"/>
                    <a:pt x="42171" y="51"/>
                  </a:cubicBezTo>
                  <a:cubicBezTo>
                    <a:pt x="42097" y="40"/>
                    <a:pt x="42024" y="32"/>
                    <a:pt x="41951" y="25"/>
                  </a:cubicBezTo>
                  <a:cubicBezTo>
                    <a:pt x="41841" y="15"/>
                    <a:pt x="41841" y="15"/>
                    <a:pt x="41841" y="15"/>
                  </a:cubicBezTo>
                  <a:cubicBezTo>
                    <a:pt x="41723" y="9"/>
                    <a:pt x="41723" y="9"/>
                    <a:pt x="41723" y="9"/>
                  </a:cubicBezTo>
                  <a:cubicBezTo>
                    <a:pt x="41607" y="3"/>
                    <a:pt x="41607" y="3"/>
                    <a:pt x="41607" y="3"/>
                  </a:cubicBezTo>
                  <a:cubicBezTo>
                    <a:pt x="41516" y="1"/>
                    <a:pt x="41516" y="1"/>
                    <a:pt x="41516" y="1"/>
                  </a:cubicBezTo>
                  <a:cubicBezTo>
                    <a:pt x="41408" y="0"/>
                    <a:pt x="41408" y="0"/>
                    <a:pt x="41408" y="0"/>
                  </a:cubicBezTo>
                  <a:cubicBezTo>
                    <a:pt x="41316" y="0"/>
                    <a:pt x="41316" y="0"/>
                    <a:pt x="41316" y="0"/>
                  </a:cubicBezTo>
                  <a:cubicBezTo>
                    <a:pt x="41071" y="0"/>
                    <a:pt x="40826" y="0"/>
                    <a:pt x="40579" y="0"/>
                  </a:cubicBezTo>
                  <a:cubicBezTo>
                    <a:pt x="40086" y="0"/>
                    <a:pt x="39588" y="0"/>
                    <a:pt x="39087" y="0"/>
                  </a:cubicBezTo>
                  <a:cubicBezTo>
                    <a:pt x="38962" y="0"/>
                    <a:pt x="38836" y="0"/>
                    <a:pt x="38711" y="0"/>
                  </a:cubicBezTo>
                  <a:cubicBezTo>
                    <a:pt x="38522" y="0"/>
                    <a:pt x="38522" y="0"/>
                    <a:pt x="38522" y="0"/>
                  </a:cubicBezTo>
                  <a:cubicBezTo>
                    <a:pt x="38474" y="0"/>
                    <a:pt x="38474" y="0"/>
                    <a:pt x="38474" y="0"/>
                  </a:cubicBezTo>
                  <a:cubicBezTo>
                    <a:pt x="38458" y="0"/>
                    <a:pt x="38421" y="0"/>
                    <a:pt x="38395" y="1"/>
                  </a:cubicBezTo>
                  <a:cubicBezTo>
                    <a:pt x="38338" y="3"/>
                    <a:pt x="38279" y="8"/>
                    <a:pt x="38220" y="15"/>
                  </a:cubicBezTo>
                  <a:cubicBezTo>
                    <a:pt x="38103" y="29"/>
                    <a:pt x="37983" y="55"/>
                    <a:pt x="37865" y="94"/>
                  </a:cubicBezTo>
                  <a:cubicBezTo>
                    <a:pt x="37836" y="103"/>
                    <a:pt x="37807" y="113"/>
                    <a:pt x="37778" y="124"/>
                  </a:cubicBezTo>
                  <a:cubicBezTo>
                    <a:pt x="37747" y="136"/>
                    <a:pt x="37725" y="145"/>
                    <a:pt x="37687" y="162"/>
                  </a:cubicBezTo>
                  <a:cubicBezTo>
                    <a:pt x="37636" y="185"/>
                    <a:pt x="37652" y="177"/>
                    <a:pt x="37606" y="200"/>
                  </a:cubicBezTo>
                  <a:cubicBezTo>
                    <a:pt x="37575" y="216"/>
                    <a:pt x="37545" y="232"/>
                    <a:pt x="37518" y="247"/>
                  </a:cubicBezTo>
                  <a:cubicBezTo>
                    <a:pt x="37410" y="310"/>
                    <a:pt x="37332" y="368"/>
                    <a:pt x="37258" y="424"/>
                  </a:cubicBezTo>
                  <a:cubicBezTo>
                    <a:pt x="37186" y="480"/>
                    <a:pt x="37122" y="534"/>
                    <a:pt x="37062" y="588"/>
                  </a:cubicBezTo>
                  <a:cubicBezTo>
                    <a:pt x="37002" y="642"/>
                    <a:pt x="36950" y="691"/>
                    <a:pt x="36891" y="749"/>
                  </a:cubicBezTo>
                  <a:cubicBezTo>
                    <a:pt x="36855" y="784"/>
                    <a:pt x="36855" y="784"/>
                    <a:pt x="36855" y="784"/>
                  </a:cubicBezTo>
                  <a:cubicBezTo>
                    <a:pt x="36855" y="784"/>
                    <a:pt x="36855" y="784"/>
                    <a:pt x="36855" y="784"/>
                  </a:cubicBezTo>
                  <a:cubicBezTo>
                    <a:pt x="36854" y="785"/>
                    <a:pt x="36851" y="788"/>
                    <a:pt x="36842" y="797"/>
                  </a:cubicBezTo>
                  <a:cubicBezTo>
                    <a:pt x="36771" y="862"/>
                    <a:pt x="36771" y="862"/>
                    <a:pt x="36771" y="862"/>
                  </a:cubicBezTo>
                  <a:cubicBezTo>
                    <a:pt x="36678" y="949"/>
                    <a:pt x="36584" y="1036"/>
                    <a:pt x="36491" y="1123"/>
                  </a:cubicBezTo>
                  <a:cubicBezTo>
                    <a:pt x="36303" y="1298"/>
                    <a:pt x="36115" y="1473"/>
                    <a:pt x="35926" y="1648"/>
                  </a:cubicBezTo>
                  <a:cubicBezTo>
                    <a:pt x="34415" y="3053"/>
                    <a:pt x="32863" y="4497"/>
                    <a:pt x="31277" y="5972"/>
                  </a:cubicBezTo>
                  <a:cubicBezTo>
                    <a:pt x="31178" y="6064"/>
                    <a:pt x="31080" y="6155"/>
                    <a:pt x="30981" y="6247"/>
                  </a:cubicBezTo>
                  <a:cubicBezTo>
                    <a:pt x="30886" y="6334"/>
                    <a:pt x="30792" y="6421"/>
                    <a:pt x="30695" y="6505"/>
                  </a:cubicBezTo>
                  <a:cubicBezTo>
                    <a:pt x="30502" y="6676"/>
                    <a:pt x="30304" y="6840"/>
                    <a:pt x="30102" y="7001"/>
                  </a:cubicBezTo>
                  <a:cubicBezTo>
                    <a:pt x="29699" y="7322"/>
                    <a:pt x="29277" y="7623"/>
                    <a:pt x="28838" y="7900"/>
                  </a:cubicBezTo>
                  <a:cubicBezTo>
                    <a:pt x="28400" y="8177"/>
                    <a:pt x="27944" y="8434"/>
                    <a:pt x="27475" y="8660"/>
                  </a:cubicBezTo>
                  <a:cubicBezTo>
                    <a:pt x="27380" y="8705"/>
                    <a:pt x="27380" y="8705"/>
                    <a:pt x="27380" y="8705"/>
                  </a:cubicBezTo>
                  <a:cubicBezTo>
                    <a:pt x="27333" y="8728"/>
                    <a:pt x="27333" y="8728"/>
                    <a:pt x="27333" y="8728"/>
                  </a:cubicBezTo>
                  <a:cubicBezTo>
                    <a:pt x="27297" y="8744"/>
                    <a:pt x="27297" y="8744"/>
                    <a:pt x="27297" y="8744"/>
                  </a:cubicBezTo>
                  <a:cubicBezTo>
                    <a:pt x="27125" y="8822"/>
                    <a:pt x="27125" y="8822"/>
                    <a:pt x="27125" y="8822"/>
                  </a:cubicBezTo>
                  <a:cubicBezTo>
                    <a:pt x="27009" y="8872"/>
                    <a:pt x="26893" y="8922"/>
                    <a:pt x="26775" y="8966"/>
                  </a:cubicBezTo>
                  <a:cubicBezTo>
                    <a:pt x="26539" y="9060"/>
                    <a:pt x="26296" y="9137"/>
                    <a:pt x="26051" y="9212"/>
                  </a:cubicBezTo>
                  <a:cubicBezTo>
                    <a:pt x="25065" y="9498"/>
                    <a:pt x="24013" y="9632"/>
                    <a:pt x="22937" y="9641"/>
                  </a:cubicBezTo>
                  <a:cubicBezTo>
                    <a:pt x="21860" y="9655"/>
                    <a:pt x="20783" y="9549"/>
                    <a:pt x="19758" y="9283"/>
                  </a:cubicBezTo>
                  <a:cubicBezTo>
                    <a:pt x="19503" y="9214"/>
                    <a:pt x="19250" y="9139"/>
                    <a:pt x="19002" y="9050"/>
                  </a:cubicBezTo>
                  <a:cubicBezTo>
                    <a:pt x="18940" y="9029"/>
                    <a:pt x="18879" y="9004"/>
                    <a:pt x="18817" y="8981"/>
                  </a:cubicBezTo>
                  <a:cubicBezTo>
                    <a:pt x="18755" y="8958"/>
                    <a:pt x="18694" y="8935"/>
                    <a:pt x="18638" y="8911"/>
                  </a:cubicBezTo>
                  <a:cubicBezTo>
                    <a:pt x="18464" y="8839"/>
                    <a:pt x="18464" y="8839"/>
                    <a:pt x="18464" y="8839"/>
                  </a:cubicBezTo>
                  <a:cubicBezTo>
                    <a:pt x="18265" y="8749"/>
                    <a:pt x="18265" y="8749"/>
                    <a:pt x="18265" y="8749"/>
                  </a:cubicBezTo>
                  <a:cubicBezTo>
                    <a:pt x="18217" y="8727"/>
                    <a:pt x="18217" y="8727"/>
                    <a:pt x="18217" y="8727"/>
                  </a:cubicBezTo>
                  <a:cubicBezTo>
                    <a:pt x="18215" y="8726"/>
                    <a:pt x="18190" y="8714"/>
                    <a:pt x="18181" y="8710"/>
                  </a:cubicBezTo>
                  <a:cubicBezTo>
                    <a:pt x="18089" y="8665"/>
                    <a:pt x="18089" y="8665"/>
                    <a:pt x="18089" y="8665"/>
                  </a:cubicBezTo>
                  <a:cubicBezTo>
                    <a:pt x="18027" y="8635"/>
                    <a:pt x="17966" y="8606"/>
                    <a:pt x="17905" y="8575"/>
                  </a:cubicBezTo>
                  <a:cubicBezTo>
                    <a:pt x="17783" y="8514"/>
                    <a:pt x="17661" y="8450"/>
                    <a:pt x="17541" y="8385"/>
                  </a:cubicBezTo>
                  <a:cubicBezTo>
                    <a:pt x="17301" y="8254"/>
                    <a:pt x="17062" y="8118"/>
                    <a:pt x="16829" y="7973"/>
                  </a:cubicBezTo>
                  <a:cubicBezTo>
                    <a:pt x="16361" y="7683"/>
                    <a:pt x="15909" y="7365"/>
                    <a:pt x="15475" y="7021"/>
                  </a:cubicBezTo>
                  <a:cubicBezTo>
                    <a:pt x="15366" y="6936"/>
                    <a:pt x="15259" y="6847"/>
                    <a:pt x="15152" y="6759"/>
                  </a:cubicBezTo>
                  <a:cubicBezTo>
                    <a:pt x="15046" y="6669"/>
                    <a:pt x="14939" y="6579"/>
                    <a:pt x="14840" y="6489"/>
                  </a:cubicBezTo>
                  <a:cubicBezTo>
                    <a:pt x="14745" y="6408"/>
                    <a:pt x="14620" y="6291"/>
                    <a:pt x="14526" y="6205"/>
                  </a:cubicBezTo>
                  <a:cubicBezTo>
                    <a:pt x="14202" y="5903"/>
                    <a:pt x="14202" y="5903"/>
                    <a:pt x="14202" y="5903"/>
                  </a:cubicBezTo>
                  <a:cubicBezTo>
                    <a:pt x="13338" y="5097"/>
                    <a:pt x="12471" y="4288"/>
                    <a:pt x="11601" y="3476"/>
                  </a:cubicBezTo>
                  <a:cubicBezTo>
                    <a:pt x="11166" y="3071"/>
                    <a:pt x="10730" y="2664"/>
                    <a:pt x="10294" y="2257"/>
                  </a:cubicBezTo>
                  <a:cubicBezTo>
                    <a:pt x="10088" y="2065"/>
                    <a:pt x="9882" y="1873"/>
                    <a:pt x="9676" y="1681"/>
                  </a:cubicBezTo>
                  <a:cubicBezTo>
                    <a:pt x="9428" y="1421"/>
                    <a:pt x="9150" y="1184"/>
                    <a:pt x="8850" y="980"/>
                  </a:cubicBezTo>
                  <a:cubicBezTo>
                    <a:pt x="8249" y="569"/>
                    <a:pt x="7564" y="298"/>
                    <a:pt x="6880" y="152"/>
                  </a:cubicBezTo>
                  <a:cubicBezTo>
                    <a:pt x="6623" y="102"/>
                    <a:pt x="6623" y="102"/>
                    <a:pt x="6623" y="102"/>
                  </a:cubicBezTo>
                  <a:cubicBezTo>
                    <a:pt x="6366" y="64"/>
                    <a:pt x="6366" y="64"/>
                    <a:pt x="6366" y="64"/>
                  </a:cubicBezTo>
                  <a:cubicBezTo>
                    <a:pt x="6194" y="43"/>
                    <a:pt x="6030" y="24"/>
                    <a:pt x="5846" y="15"/>
                  </a:cubicBezTo>
                  <a:cubicBezTo>
                    <a:pt x="5757" y="10"/>
                    <a:pt x="5662" y="4"/>
                    <a:pt x="5593" y="4"/>
                  </a:cubicBezTo>
                  <a:cubicBezTo>
                    <a:pt x="5350" y="0"/>
                    <a:pt x="5350" y="0"/>
                    <a:pt x="5350" y="0"/>
                  </a:cubicBezTo>
                  <a:cubicBezTo>
                    <a:pt x="4901" y="0"/>
                    <a:pt x="4901" y="0"/>
                    <a:pt x="4901" y="0"/>
                  </a:cubicBezTo>
                  <a:cubicBezTo>
                    <a:pt x="4301" y="0"/>
                    <a:pt x="3701" y="0"/>
                    <a:pt x="3101" y="0"/>
                  </a:cubicBezTo>
                  <a:cubicBezTo>
                    <a:pt x="2201" y="0"/>
                    <a:pt x="2201" y="0"/>
                    <a:pt x="2201" y="0"/>
                  </a:cubicBezTo>
                  <a:cubicBezTo>
                    <a:pt x="1751" y="0"/>
                    <a:pt x="1751" y="0"/>
                    <a:pt x="1751" y="0"/>
                  </a:cubicBezTo>
                  <a:cubicBezTo>
                    <a:pt x="1526" y="0"/>
                    <a:pt x="1526" y="0"/>
                    <a:pt x="1526" y="0"/>
                  </a:cubicBezTo>
                  <a:cubicBezTo>
                    <a:pt x="1413" y="0"/>
                    <a:pt x="1413" y="0"/>
                    <a:pt x="1413" y="0"/>
                  </a:cubicBezTo>
                  <a:cubicBezTo>
                    <a:pt x="1392" y="0"/>
                    <a:pt x="1336" y="1"/>
                    <a:pt x="1300" y="3"/>
                  </a:cubicBezTo>
                  <a:cubicBezTo>
                    <a:pt x="1259" y="5"/>
                    <a:pt x="1210" y="12"/>
                    <a:pt x="1166" y="17"/>
                  </a:cubicBezTo>
                  <a:cubicBezTo>
                    <a:pt x="1122" y="23"/>
                    <a:pt x="1069" y="35"/>
                    <a:pt x="1021" y="46"/>
                  </a:cubicBezTo>
                  <a:cubicBezTo>
                    <a:pt x="971" y="59"/>
                    <a:pt x="915" y="77"/>
                    <a:pt x="864" y="96"/>
                  </a:cubicBezTo>
                  <a:cubicBezTo>
                    <a:pt x="809" y="118"/>
                    <a:pt x="755" y="142"/>
                    <a:pt x="700" y="172"/>
                  </a:cubicBezTo>
                  <a:cubicBezTo>
                    <a:pt x="645" y="204"/>
                    <a:pt x="592" y="236"/>
                    <a:pt x="540" y="277"/>
                  </a:cubicBezTo>
                  <a:cubicBezTo>
                    <a:pt x="436" y="355"/>
                    <a:pt x="345" y="452"/>
                    <a:pt x="274" y="552"/>
                  </a:cubicBezTo>
                  <a:cubicBezTo>
                    <a:pt x="235" y="603"/>
                    <a:pt x="209" y="651"/>
                    <a:pt x="180" y="702"/>
                  </a:cubicBezTo>
                  <a:cubicBezTo>
                    <a:pt x="154" y="752"/>
                    <a:pt x="133" y="799"/>
                    <a:pt x="112" y="849"/>
                  </a:cubicBezTo>
                  <a:cubicBezTo>
                    <a:pt x="95" y="894"/>
                    <a:pt x="80" y="940"/>
                    <a:pt x="66" y="986"/>
                  </a:cubicBezTo>
                  <a:cubicBezTo>
                    <a:pt x="55" y="1028"/>
                    <a:pt x="45" y="1070"/>
                    <a:pt x="36" y="1113"/>
                  </a:cubicBezTo>
                  <a:cubicBezTo>
                    <a:pt x="28" y="1152"/>
                    <a:pt x="22" y="1190"/>
                    <a:pt x="17" y="1229"/>
                  </a:cubicBezTo>
                  <a:cubicBezTo>
                    <a:pt x="11" y="1270"/>
                    <a:pt x="8" y="1315"/>
                    <a:pt x="5" y="1358"/>
                  </a:cubicBezTo>
                  <a:cubicBezTo>
                    <a:pt x="1" y="1413"/>
                    <a:pt x="3" y="1406"/>
                    <a:pt x="2" y="1433"/>
                  </a:cubicBezTo>
                  <a:cubicBezTo>
                    <a:pt x="1" y="1446"/>
                    <a:pt x="0" y="1519"/>
                    <a:pt x="1" y="1515"/>
                  </a:cubicBezTo>
                  <a:cubicBezTo>
                    <a:pt x="1" y="1627"/>
                    <a:pt x="1" y="1627"/>
                    <a:pt x="1" y="1627"/>
                  </a:cubicBezTo>
                  <a:cubicBezTo>
                    <a:pt x="1" y="2528"/>
                    <a:pt x="1" y="2528"/>
                    <a:pt x="1" y="2528"/>
                  </a:cubicBezTo>
                  <a:cubicBezTo>
                    <a:pt x="1" y="3128"/>
                    <a:pt x="1" y="3728"/>
                    <a:pt x="1" y="4327"/>
                  </a:cubicBezTo>
                  <a:cubicBezTo>
                    <a:pt x="1" y="5526"/>
                    <a:pt x="1" y="6724"/>
                    <a:pt x="1" y="7920"/>
                  </a:cubicBezTo>
                  <a:cubicBezTo>
                    <a:pt x="1" y="10311"/>
                    <a:pt x="1" y="12693"/>
                    <a:pt x="1" y="15057"/>
                  </a:cubicBezTo>
                  <a:cubicBezTo>
                    <a:pt x="1" y="16242"/>
                    <a:pt x="1" y="17422"/>
                    <a:pt x="2" y="18597"/>
                  </a:cubicBezTo>
                  <a:cubicBezTo>
                    <a:pt x="7" y="18941"/>
                    <a:pt x="37" y="19295"/>
                    <a:pt x="117" y="19653"/>
                  </a:cubicBezTo>
                  <a:cubicBezTo>
                    <a:pt x="155" y="19832"/>
                    <a:pt x="210" y="20012"/>
                    <a:pt x="272" y="20189"/>
                  </a:cubicBezTo>
                  <a:cubicBezTo>
                    <a:pt x="338" y="20367"/>
                    <a:pt x="414" y="20543"/>
                    <a:pt x="507" y="20713"/>
                  </a:cubicBezTo>
                  <a:cubicBezTo>
                    <a:pt x="602" y="20882"/>
                    <a:pt x="705" y="21047"/>
                    <a:pt x="827" y="21200"/>
                  </a:cubicBezTo>
                  <a:cubicBezTo>
                    <a:pt x="854" y="21238"/>
                    <a:pt x="891" y="21281"/>
                    <a:pt x="926" y="21323"/>
                  </a:cubicBezTo>
                  <a:cubicBezTo>
                    <a:pt x="980" y="21385"/>
                    <a:pt x="980" y="21385"/>
                    <a:pt x="980" y="21385"/>
                  </a:cubicBezTo>
                  <a:cubicBezTo>
                    <a:pt x="1000" y="21409"/>
                    <a:pt x="1014" y="21424"/>
                    <a:pt x="1025" y="21435"/>
                  </a:cubicBezTo>
                  <a:cubicBezTo>
                    <a:pt x="1100" y="21514"/>
                    <a:pt x="1100" y="21514"/>
                    <a:pt x="1100" y="21514"/>
                  </a:cubicBezTo>
                  <a:cubicBezTo>
                    <a:pt x="1146" y="21562"/>
                    <a:pt x="1143" y="21556"/>
                    <a:pt x="1167" y="21580"/>
                  </a:cubicBezTo>
                  <a:cubicBezTo>
                    <a:pt x="1219" y="21630"/>
                    <a:pt x="1219" y="21630"/>
                    <a:pt x="1219" y="21630"/>
                  </a:cubicBezTo>
                  <a:cubicBezTo>
                    <a:pt x="1361" y="21762"/>
                    <a:pt x="1514" y="21885"/>
                    <a:pt x="1676" y="21991"/>
                  </a:cubicBezTo>
                  <a:cubicBezTo>
                    <a:pt x="1837" y="22100"/>
                    <a:pt x="2007" y="22194"/>
                    <a:pt x="2180" y="22273"/>
                  </a:cubicBezTo>
                  <a:cubicBezTo>
                    <a:pt x="2526" y="22434"/>
                    <a:pt x="2886" y="22534"/>
                    <a:pt x="3237" y="22594"/>
                  </a:cubicBezTo>
                  <a:cubicBezTo>
                    <a:pt x="3581" y="22656"/>
                    <a:pt x="3961" y="22669"/>
                    <a:pt x="4251" y="22668"/>
                  </a:cubicBezTo>
                  <a:cubicBezTo>
                    <a:pt x="4827" y="22668"/>
                    <a:pt x="5400" y="22668"/>
                    <a:pt x="5972" y="22668"/>
                  </a:cubicBezTo>
                  <a:cubicBezTo>
                    <a:pt x="6079" y="22668"/>
                    <a:pt x="6079" y="22668"/>
                    <a:pt x="6079" y="22668"/>
                  </a:cubicBezTo>
                  <a:cubicBezTo>
                    <a:pt x="6132" y="22668"/>
                    <a:pt x="6132" y="22668"/>
                    <a:pt x="6132" y="22668"/>
                  </a:cubicBezTo>
                  <a:cubicBezTo>
                    <a:pt x="6141" y="22668"/>
                    <a:pt x="6202" y="22666"/>
                    <a:pt x="6235" y="22665"/>
                  </a:cubicBezTo>
                  <a:cubicBezTo>
                    <a:pt x="6392" y="22656"/>
                    <a:pt x="6586" y="22625"/>
                    <a:pt x="6796" y="22523"/>
                  </a:cubicBezTo>
                  <a:cubicBezTo>
                    <a:pt x="6900" y="22472"/>
                    <a:pt x="7004" y="22402"/>
                    <a:pt x="7097" y="22319"/>
                  </a:cubicBezTo>
                  <a:cubicBezTo>
                    <a:pt x="7187" y="22235"/>
                    <a:pt x="7266" y="22140"/>
                    <a:pt x="7324" y="22045"/>
                  </a:cubicBezTo>
                  <a:cubicBezTo>
                    <a:pt x="7443" y="21852"/>
                    <a:pt x="7493" y="21673"/>
                    <a:pt x="7520" y="21523"/>
                  </a:cubicBezTo>
                  <a:cubicBezTo>
                    <a:pt x="7526" y="21485"/>
                    <a:pt x="7533" y="21451"/>
                    <a:pt x="7537" y="21411"/>
                  </a:cubicBezTo>
                  <a:cubicBezTo>
                    <a:pt x="7541" y="21370"/>
                    <a:pt x="7544" y="21329"/>
                    <a:pt x="7547" y="21288"/>
                  </a:cubicBezTo>
                  <a:cubicBezTo>
                    <a:pt x="7549" y="21228"/>
                    <a:pt x="7549" y="21228"/>
                    <a:pt x="7549" y="21228"/>
                  </a:cubicBezTo>
                  <a:cubicBezTo>
                    <a:pt x="7550" y="21149"/>
                    <a:pt x="7550" y="21149"/>
                    <a:pt x="7550" y="21149"/>
                  </a:cubicBezTo>
                  <a:cubicBezTo>
                    <a:pt x="7550" y="20936"/>
                    <a:pt x="7550" y="20936"/>
                    <a:pt x="7550" y="20936"/>
                  </a:cubicBezTo>
                  <a:cubicBezTo>
                    <a:pt x="7550" y="20794"/>
                    <a:pt x="7550" y="20652"/>
                    <a:pt x="7550" y="20510"/>
                  </a:cubicBezTo>
                  <a:cubicBezTo>
                    <a:pt x="7550" y="19943"/>
                    <a:pt x="7550" y="19378"/>
                    <a:pt x="7550" y="18815"/>
                  </a:cubicBezTo>
                  <a:cubicBezTo>
                    <a:pt x="7550" y="17690"/>
                    <a:pt x="7550" y="16574"/>
                    <a:pt x="7550" y="15468"/>
                  </a:cubicBezTo>
                  <a:cubicBezTo>
                    <a:pt x="7550" y="15333"/>
                    <a:pt x="7550" y="15198"/>
                    <a:pt x="7550" y="15063"/>
                  </a:cubicBezTo>
                  <a:cubicBezTo>
                    <a:pt x="7551" y="14954"/>
                    <a:pt x="7557" y="14848"/>
                    <a:pt x="7569" y="14746"/>
                  </a:cubicBezTo>
                  <a:cubicBezTo>
                    <a:pt x="7592" y="14541"/>
                    <a:pt x="7639" y="14351"/>
                    <a:pt x="7706" y="14176"/>
                  </a:cubicBezTo>
                  <a:cubicBezTo>
                    <a:pt x="7740" y="14089"/>
                    <a:pt x="7781" y="14006"/>
                    <a:pt x="7824" y="13925"/>
                  </a:cubicBezTo>
                  <a:cubicBezTo>
                    <a:pt x="7872" y="13847"/>
                    <a:pt x="7920" y="13769"/>
                    <a:pt x="7978" y="13697"/>
                  </a:cubicBezTo>
                  <a:cubicBezTo>
                    <a:pt x="7993" y="13676"/>
                    <a:pt x="8004" y="13665"/>
                    <a:pt x="8015" y="13651"/>
                  </a:cubicBezTo>
                  <a:cubicBezTo>
                    <a:pt x="8032" y="13630"/>
                    <a:pt x="8032" y="13630"/>
                    <a:pt x="8032" y="13630"/>
                  </a:cubicBezTo>
                  <a:cubicBezTo>
                    <a:pt x="8037" y="13624"/>
                    <a:pt x="8044" y="13615"/>
                    <a:pt x="8057" y="13601"/>
                  </a:cubicBezTo>
                  <a:cubicBezTo>
                    <a:pt x="8127" y="13526"/>
                    <a:pt x="8127" y="13526"/>
                    <a:pt x="8127" y="13526"/>
                  </a:cubicBezTo>
                  <a:cubicBezTo>
                    <a:pt x="8143" y="13509"/>
                    <a:pt x="8120" y="13533"/>
                    <a:pt x="8141" y="13512"/>
                  </a:cubicBezTo>
                  <a:cubicBezTo>
                    <a:pt x="8167" y="13487"/>
                    <a:pt x="8167" y="13487"/>
                    <a:pt x="8167" y="13487"/>
                  </a:cubicBezTo>
                  <a:cubicBezTo>
                    <a:pt x="8234" y="13420"/>
                    <a:pt x="8305" y="13362"/>
                    <a:pt x="8378" y="13308"/>
                  </a:cubicBezTo>
                  <a:cubicBezTo>
                    <a:pt x="8524" y="13201"/>
                    <a:pt x="8681" y="13120"/>
                    <a:pt x="8853" y="13060"/>
                  </a:cubicBezTo>
                  <a:cubicBezTo>
                    <a:pt x="8940" y="13033"/>
                    <a:pt x="9027" y="13005"/>
                    <a:pt x="9121" y="12989"/>
                  </a:cubicBezTo>
                  <a:cubicBezTo>
                    <a:pt x="9167" y="12978"/>
                    <a:pt x="9216" y="12974"/>
                    <a:pt x="9263" y="12965"/>
                  </a:cubicBezTo>
                  <a:cubicBezTo>
                    <a:pt x="9336" y="12957"/>
                    <a:pt x="9336" y="12957"/>
                    <a:pt x="9336" y="12957"/>
                  </a:cubicBezTo>
                  <a:cubicBezTo>
                    <a:pt x="9361" y="12954"/>
                    <a:pt x="9385" y="12952"/>
                    <a:pt x="9405" y="12951"/>
                  </a:cubicBezTo>
                  <a:cubicBezTo>
                    <a:pt x="9467" y="12946"/>
                    <a:pt x="9467" y="12946"/>
                    <a:pt x="9467" y="12946"/>
                  </a:cubicBezTo>
                  <a:cubicBezTo>
                    <a:pt x="9475" y="12945"/>
                    <a:pt x="9497" y="12945"/>
                    <a:pt x="9512" y="12945"/>
                  </a:cubicBezTo>
                  <a:cubicBezTo>
                    <a:pt x="9562" y="12944"/>
                    <a:pt x="9562" y="12944"/>
                    <a:pt x="9562" y="12944"/>
                  </a:cubicBezTo>
                  <a:cubicBezTo>
                    <a:pt x="9613" y="12943"/>
                    <a:pt x="9613" y="12943"/>
                    <a:pt x="9613" y="12943"/>
                  </a:cubicBezTo>
                  <a:cubicBezTo>
                    <a:pt x="9647" y="12942"/>
                    <a:pt x="9622" y="12942"/>
                    <a:pt x="9638" y="12943"/>
                  </a:cubicBezTo>
                  <a:cubicBezTo>
                    <a:pt x="9718" y="12944"/>
                    <a:pt x="9718" y="12944"/>
                    <a:pt x="9718" y="12944"/>
                  </a:cubicBezTo>
                  <a:cubicBezTo>
                    <a:pt x="9824" y="12947"/>
                    <a:pt x="9930" y="12955"/>
                    <a:pt x="10035" y="12967"/>
                  </a:cubicBezTo>
                  <a:cubicBezTo>
                    <a:pt x="10244" y="12992"/>
                    <a:pt x="10452" y="13036"/>
                    <a:pt x="10655" y="13098"/>
                  </a:cubicBezTo>
                  <a:cubicBezTo>
                    <a:pt x="10757" y="13129"/>
                    <a:pt x="10859" y="13164"/>
                    <a:pt x="10959" y="13204"/>
                  </a:cubicBezTo>
                  <a:cubicBezTo>
                    <a:pt x="11007" y="13224"/>
                    <a:pt x="11040" y="13236"/>
                    <a:pt x="11108" y="13266"/>
                  </a:cubicBezTo>
                  <a:cubicBezTo>
                    <a:pt x="11185" y="13301"/>
                    <a:pt x="11185" y="13301"/>
                    <a:pt x="11185" y="13301"/>
                  </a:cubicBezTo>
                  <a:cubicBezTo>
                    <a:pt x="11265" y="13338"/>
                    <a:pt x="11265" y="13338"/>
                    <a:pt x="11265" y="13338"/>
                  </a:cubicBezTo>
                  <a:cubicBezTo>
                    <a:pt x="11478" y="13440"/>
                    <a:pt x="11687" y="13550"/>
                    <a:pt x="11891" y="13669"/>
                  </a:cubicBezTo>
                  <a:cubicBezTo>
                    <a:pt x="12094" y="13788"/>
                    <a:pt x="12292" y="13915"/>
                    <a:pt x="12486" y="14050"/>
                  </a:cubicBezTo>
                  <a:cubicBezTo>
                    <a:pt x="12627" y="14151"/>
                    <a:pt x="12627" y="14151"/>
                    <a:pt x="12627" y="14151"/>
                  </a:cubicBezTo>
                  <a:cubicBezTo>
                    <a:pt x="12775" y="14261"/>
                    <a:pt x="12775" y="14261"/>
                    <a:pt x="12775" y="14261"/>
                  </a:cubicBezTo>
                  <a:cubicBezTo>
                    <a:pt x="12916" y="14370"/>
                    <a:pt x="12916" y="14370"/>
                    <a:pt x="12916" y="14370"/>
                  </a:cubicBezTo>
                  <a:cubicBezTo>
                    <a:pt x="13060" y="14483"/>
                    <a:pt x="13060" y="14483"/>
                    <a:pt x="13060" y="14483"/>
                  </a:cubicBezTo>
                  <a:cubicBezTo>
                    <a:pt x="13443" y="14788"/>
                    <a:pt x="13810" y="15108"/>
                    <a:pt x="14161" y="15439"/>
                  </a:cubicBezTo>
                  <a:cubicBezTo>
                    <a:pt x="14343" y="15614"/>
                    <a:pt x="14525" y="15790"/>
                    <a:pt x="14706" y="15964"/>
                  </a:cubicBezTo>
                  <a:cubicBezTo>
                    <a:pt x="14892" y="16142"/>
                    <a:pt x="15080" y="16318"/>
                    <a:pt x="15269" y="16491"/>
                  </a:cubicBezTo>
                  <a:cubicBezTo>
                    <a:pt x="15363" y="16578"/>
                    <a:pt x="15458" y="16664"/>
                    <a:pt x="15553" y="16750"/>
                  </a:cubicBezTo>
                  <a:cubicBezTo>
                    <a:pt x="15645" y="16832"/>
                    <a:pt x="15737" y="16914"/>
                    <a:pt x="15828" y="16996"/>
                  </a:cubicBezTo>
                  <a:cubicBezTo>
                    <a:pt x="16012" y="17163"/>
                    <a:pt x="16195" y="17330"/>
                    <a:pt x="16378" y="17496"/>
                  </a:cubicBezTo>
                  <a:cubicBezTo>
                    <a:pt x="16742" y="17827"/>
                    <a:pt x="17103" y="18156"/>
                    <a:pt x="17461" y="18482"/>
                  </a:cubicBezTo>
                  <a:cubicBezTo>
                    <a:pt x="17832" y="18822"/>
                    <a:pt x="18211" y="19150"/>
                    <a:pt x="18599" y="19462"/>
                  </a:cubicBezTo>
                  <a:cubicBezTo>
                    <a:pt x="18697" y="19541"/>
                    <a:pt x="18792" y="19617"/>
                    <a:pt x="18893" y="19695"/>
                  </a:cubicBezTo>
                  <a:cubicBezTo>
                    <a:pt x="19038" y="19807"/>
                    <a:pt x="19038" y="19807"/>
                    <a:pt x="19038" y="19807"/>
                  </a:cubicBezTo>
                  <a:cubicBezTo>
                    <a:pt x="19194" y="19923"/>
                    <a:pt x="19194" y="19923"/>
                    <a:pt x="19194" y="19923"/>
                  </a:cubicBezTo>
                  <a:cubicBezTo>
                    <a:pt x="19403" y="20077"/>
                    <a:pt x="19619" y="20223"/>
                    <a:pt x="19842" y="20360"/>
                  </a:cubicBezTo>
                  <a:cubicBezTo>
                    <a:pt x="20064" y="20497"/>
                    <a:pt x="20294" y="20624"/>
                    <a:pt x="20530" y="20740"/>
                  </a:cubicBezTo>
                  <a:cubicBezTo>
                    <a:pt x="20624" y="20784"/>
                    <a:pt x="20624" y="20784"/>
                    <a:pt x="20624" y="20784"/>
                  </a:cubicBezTo>
                  <a:cubicBezTo>
                    <a:pt x="20709" y="20824"/>
                    <a:pt x="20709" y="20824"/>
                    <a:pt x="20709" y="20824"/>
                  </a:cubicBezTo>
                  <a:cubicBezTo>
                    <a:pt x="20800" y="20865"/>
                    <a:pt x="20800" y="20865"/>
                    <a:pt x="20800" y="20865"/>
                  </a:cubicBezTo>
                  <a:cubicBezTo>
                    <a:pt x="20898" y="20907"/>
                    <a:pt x="20898" y="20907"/>
                    <a:pt x="20898" y="20907"/>
                  </a:cubicBezTo>
                  <a:cubicBezTo>
                    <a:pt x="21028" y="20961"/>
                    <a:pt x="21162" y="21009"/>
                    <a:pt x="21297" y="21052"/>
                  </a:cubicBezTo>
                  <a:cubicBezTo>
                    <a:pt x="21566" y="21138"/>
                    <a:pt x="21844" y="21198"/>
                    <a:pt x="22121" y="21235"/>
                  </a:cubicBezTo>
                  <a:cubicBezTo>
                    <a:pt x="22260" y="21253"/>
                    <a:pt x="22397" y="21265"/>
                    <a:pt x="22538" y="21272"/>
                  </a:cubicBezTo>
                  <a:cubicBezTo>
                    <a:pt x="22651" y="21276"/>
                    <a:pt x="22651" y="21276"/>
                    <a:pt x="22651" y="21276"/>
                  </a:cubicBezTo>
                  <a:cubicBezTo>
                    <a:pt x="22737" y="21278"/>
                    <a:pt x="22737" y="21278"/>
                    <a:pt x="22737" y="21278"/>
                  </a:cubicBezTo>
                  <a:cubicBezTo>
                    <a:pt x="22794" y="21278"/>
                    <a:pt x="22794" y="21278"/>
                    <a:pt x="22794" y="21278"/>
                  </a:cubicBezTo>
                  <a:cubicBezTo>
                    <a:pt x="22846" y="21277"/>
                    <a:pt x="22846" y="21277"/>
                    <a:pt x="22846" y="21277"/>
                  </a:cubicBezTo>
                  <a:cubicBezTo>
                    <a:pt x="22880" y="21277"/>
                    <a:pt x="22914" y="21276"/>
                    <a:pt x="22949" y="21275"/>
                  </a:cubicBezTo>
                  <a:cubicBezTo>
                    <a:pt x="23498" y="21257"/>
                    <a:pt x="24047" y="21145"/>
                    <a:pt x="24552" y="20948"/>
                  </a:cubicBezTo>
                  <a:cubicBezTo>
                    <a:pt x="24655" y="20907"/>
                    <a:pt x="24655" y="20907"/>
                    <a:pt x="24655" y="20907"/>
                  </a:cubicBezTo>
                  <a:cubicBezTo>
                    <a:pt x="24736" y="20872"/>
                    <a:pt x="24736" y="20872"/>
                    <a:pt x="24736" y="20872"/>
                  </a:cubicBezTo>
                  <a:cubicBezTo>
                    <a:pt x="24784" y="20851"/>
                    <a:pt x="24784" y="20851"/>
                    <a:pt x="24784" y="20851"/>
                  </a:cubicBezTo>
                  <a:cubicBezTo>
                    <a:pt x="24827" y="20832"/>
                    <a:pt x="24827" y="20832"/>
                    <a:pt x="24827" y="20832"/>
                  </a:cubicBezTo>
                  <a:cubicBezTo>
                    <a:pt x="24912" y="20792"/>
                    <a:pt x="24912" y="20792"/>
                    <a:pt x="24912" y="20792"/>
                  </a:cubicBezTo>
                  <a:cubicBezTo>
                    <a:pt x="25025" y="20739"/>
                    <a:pt x="25135" y="20684"/>
                    <a:pt x="25244" y="20626"/>
                  </a:cubicBezTo>
                  <a:cubicBezTo>
                    <a:pt x="25461" y="20511"/>
                    <a:pt x="25670" y="20388"/>
                    <a:pt x="25871" y="20258"/>
                  </a:cubicBezTo>
                  <a:cubicBezTo>
                    <a:pt x="26072" y="20128"/>
                    <a:pt x="26266" y="19994"/>
                    <a:pt x="26453" y="19852"/>
                  </a:cubicBezTo>
                  <a:cubicBezTo>
                    <a:pt x="26635" y="19716"/>
                    <a:pt x="26806" y="19581"/>
                    <a:pt x="26978" y="19442"/>
                  </a:cubicBezTo>
                  <a:cubicBezTo>
                    <a:pt x="27320" y="19166"/>
                    <a:pt x="27647" y="18885"/>
                    <a:pt x="27964" y="18598"/>
                  </a:cubicBezTo>
                  <a:cubicBezTo>
                    <a:pt x="28568" y="18048"/>
                    <a:pt x="29156" y="17513"/>
                    <a:pt x="29728" y="16992"/>
                  </a:cubicBezTo>
                  <a:cubicBezTo>
                    <a:pt x="30028" y="16728"/>
                    <a:pt x="30317" y="16463"/>
                    <a:pt x="30598" y="16199"/>
                  </a:cubicBezTo>
                  <a:cubicBezTo>
                    <a:pt x="30737" y="16066"/>
                    <a:pt x="30876" y="15935"/>
                    <a:pt x="31013" y="15804"/>
                  </a:cubicBezTo>
                  <a:cubicBezTo>
                    <a:pt x="31144" y="15677"/>
                    <a:pt x="31275" y="15551"/>
                    <a:pt x="31405" y="15426"/>
                  </a:cubicBezTo>
                  <a:cubicBezTo>
                    <a:pt x="31657" y="15188"/>
                    <a:pt x="31912" y="14961"/>
                    <a:pt x="32170" y="14746"/>
                  </a:cubicBezTo>
                  <a:cubicBezTo>
                    <a:pt x="32299" y="14638"/>
                    <a:pt x="32428" y="14533"/>
                    <a:pt x="32558" y="14431"/>
                  </a:cubicBezTo>
                  <a:cubicBezTo>
                    <a:pt x="32623" y="14380"/>
                    <a:pt x="32689" y="14330"/>
                    <a:pt x="32754" y="14279"/>
                  </a:cubicBezTo>
                  <a:cubicBezTo>
                    <a:pt x="32814" y="14233"/>
                    <a:pt x="32878" y="14185"/>
                    <a:pt x="32941" y="14140"/>
                  </a:cubicBezTo>
                  <a:cubicBezTo>
                    <a:pt x="33192" y="13958"/>
                    <a:pt x="33447" y="13792"/>
                    <a:pt x="33704" y="13644"/>
                  </a:cubicBezTo>
                  <a:cubicBezTo>
                    <a:pt x="33833" y="13570"/>
                    <a:pt x="33962" y="13500"/>
                    <a:pt x="34091" y="13434"/>
                  </a:cubicBezTo>
                  <a:cubicBezTo>
                    <a:pt x="34188" y="13386"/>
                    <a:pt x="34188" y="13386"/>
                    <a:pt x="34188" y="13386"/>
                  </a:cubicBezTo>
                  <a:cubicBezTo>
                    <a:pt x="34279" y="13342"/>
                    <a:pt x="34279" y="13342"/>
                    <a:pt x="34279" y="13342"/>
                  </a:cubicBezTo>
                  <a:cubicBezTo>
                    <a:pt x="34388" y="13291"/>
                    <a:pt x="34388" y="13291"/>
                    <a:pt x="34388" y="13291"/>
                  </a:cubicBezTo>
                  <a:cubicBezTo>
                    <a:pt x="34474" y="13253"/>
                    <a:pt x="34474" y="13253"/>
                    <a:pt x="34474" y="13253"/>
                  </a:cubicBezTo>
                  <a:cubicBezTo>
                    <a:pt x="34952" y="13047"/>
                    <a:pt x="35427" y="12948"/>
                    <a:pt x="35891" y="12943"/>
                  </a:cubicBezTo>
                  <a:cubicBezTo>
                    <a:pt x="36343" y="12938"/>
                    <a:pt x="36717" y="13029"/>
                    <a:pt x="37014" y="13204"/>
                  </a:cubicBezTo>
                  <a:cubicBezTo>
                    <a:pt x="37089" y="13247"/>
                    <a:pt x="37161" y="13295"/>
                    <a:pt x="37228" y="13349"/>
                  </a:cubicBezTo>
                  <a:cubicBezTo>
                    <a:pt x="37278" y="13388"/>
                    <a:pt x="37278" y="13388"/>
                    <a:pt x="37278" y="13388"/>
                  </a:cubicBezTo>
                  <a:cubicBezTo>
                    <a:pt x="37316" y="13422"/>
                    <a:pt x="37316" y="13422"/>
                    <a:pt x="37316" y="13422"/>
                  </a:cubicBezTo>
                  <a:cubicBezTo>
                    <a:pt x="37335" y="13438"/>
                    <a:pt x="37335" y="13438"/>
                    <a:pt x="37335" y="13438"/>
                  </a:cubicBezTo>
                  <a:cubicBezTo>
                    <a:pt x="37369" y="13471"/>
                    <a:pt x="37369" y="13471"/>
                    <a:pt x="37369" y="13471"/>
                  </a:cubicBezTo>
                  <a:cubicBezTo>
                    <a:pt x="37429" y="13529"/>
                    <a:pt x="37429" y="13529"/>
                    <a:pt x="37429" y="13529"/>
                  </a:cubicBezTo>
                  <a:cubicBezTo>
                    <a:pt x="37426" y="13526"/>
                    <a:pt x="37425" y="13526"/>
                    <a:pt x="37433" y="13533"/>
                  </a:cubicBezTo>
                  <a:cubicBezTo>
                    <a:pt x="37443" y="13545"/>
                    <a:pt x="37443" y="13545"/>
                    <a:pt x="37443" y="13545"/>
                  </a:cubicBezTo>
                  <a:cubicBezTo>
                    <a:pt x="37465" y="13569"/>
                    <a:pt x="37465" y="13569"/>
                    <a:pt x="37465" y="13569"/>
                  </a:cubicBezTo>
                  <a:cubicBezTo>
                    <a:pt x="37480" y="13585"/>
                    <a:pt x="37495" y="13599"/>
                    <a:pt x="37508" y="13616"/>
                  </a:cubicBezTo>
                  <a:cubicBezTo>
                    <a:pt x="37535" y="13648"/>
                    <a:pt x="37563" y="13680"/>
                    <a:pt x="37586" y="13713"/>
                  </a:cubicBezTo>
                  <a:cubicBezTo>
                    <a:pt x="37638" y="13777"/>
                    <a:pt x="37679" y="13845"/>
                    <a:pt x="37720" y="13913"/>
                  </a:cubicBezTo>
                  <a:cubicBezTo>
                    <a:pt x="37877" y="14185"/>
                    <a:pt x="37957" y="14484"/>
                    <a:pt x="37988" y="14790"/>
                  </a:cubicBezTo>
                  <a:cubicBezTo>
                    <a:pt x="37993" y="14830"/>
                    <a:pt x="37994" y="14863"/>
                    <a:pt x="37996" y="14896"/>
                  </a:cubicBezTo>
                  <a:cubicBezTo>
                    <a:pt x="38000" y="14944"/>
                    <a:pt x="38000" y="14944"/>
                    <a:pt x="38000" y="14944"/>
                  </a:cubicBezTo>
                  <a:cubicBezTo>
                    <a:pt x="38000" y="14969"/>
                    <a:pt x="38001" y="14994"/>
                    <a:pt x="38001" y="15018"/>
                  </a:cubicBezTo>
                  <a:cubicBezTo>
                    <a:pt x="38002" y="15043"/>
                    <a:pt x="38002" y="15067"/>
                    <a:pt x="38003" y="15092"/>
                  </a:cubicBezTo>
                  <a:cubicBezTo>
                    <a:pt x="38003" y="15101"/>
                    <a:pt x="38003" y="15101"/>
                    <a:pt x="38003" y="15101"/>
                  </a:cubicBezTo>
                  <a:cubicBezTo>
                    <a:pt x="38003" y="15105"/>
                    <a:pt x="38003" y="15111"/>
                    <a:pt x="38003" y="15110"/>
                  </a:cubicBezTo>
                  <a:cubicBezTo>
                    <a:pt x="38003" y="15146"/>
                    <a:pt x="38003" y="15146"/>
                    <a:pt x="38003" y="15146"/>
                  </a:cubicBezTo>
                  <a:cubicBezTo>
                    <a:pt x="38003" y="15194"/>
                    <a:pt x="38003" y="15242"/>
                    <a:pt x="38003" y="15289"/>
                  </a:cubicBezTo>
                  <a:cubicBezTo>
                    <a:pt x="38003" y="15477"/>
                    <a:pt x="38003" y="15658"/>
                    <a:pt x="38003" y="15831"/>
                  </a:cubicBezTo>
                  <a:cubicBezTo>
                    <a:pt x="38003" y="16177"/>
                    <a:pt x="38003" y="16491"/>
                    <a:pt x="38003" y="16772"/>
                  </a:cubicBezTo>
                  <a:cubicBezTo>
                    <a:pt x="38003" y="17898"/>
                    <a:pt x="38003" y="18529"/>
                    <a:pt x="38003" y="18529"/>
                  </a:cubicBezTo>
                  <a:cubicBezTo>
                    <a:pt x="38003" y="18529"/>
                    <a:pt x="38003" y="18529"/>
                    <a:pt x="38003" y="18529"/>
                  </a:cubicBezTo>
                  <a:cubicBezTo>
                    <a:pt x="38003" y="18541"/>
                    <a:pt x="38004" y="18584"/>
                    <a:pt x="38005" y="18657"/>
                  </a:cubicBezTo>
                  <a:cubicBezTo>
                    <a:pt x="38006" y="18743"/>
                    <a:pt x="38011" y="18874"/>
                    <a:pt x="38027" y="19049"/>
                  </a:cubicBezTo>
                  <a:cubicBezTo>
                    <a:pt x="38042" y="19223"/>
                    <a:pt x="38071" y="19443"/>
                    <a:pt x="38132" y="19706"/>
                  </a:cubicBezTo>
                  <a:cubicBezTo>
                    <a:pt x="38194" y="19968"/>
                    <a:pt x="38287" y="20277"/>
                    <a:pt x="38456" y="20610"/>
                  </a:cubicBezTo>
                  <a:cubicBezTo>
                    <a:pt x="38538" y="20777"/>
                    <a:pt x="38644" y="20947"/>
                    <a:pt x="38766" y="21118"/>
                  </a:cubicBezTo>
                  <a:cubicBezTo>
                    <a:pt x="38798" y="21160"/>
                    <a:pt x="38831" y="21202"/>
                    <a:pt x="38863" y="21245"/>
                  </a:cubicBezTo>
                  <a:cubicBezTo>
                    <a:pt x="38903" y="21292"/>
                    <a:pt x="38942" y="21338"/>
                    <a:pt x="38983" y="21386"/>
                  </a:cubicBezTo>
                  <a:cubicBezTo>
                    <a:pt x="39012" y="21418"/>
                    <a:pt x="39012" y="21418"/>
                    <a:pt x="39012" y="21418"/>
                  </a:cubicBezTo>
                  <a:cubicBezTo>
                    <a:pt x="39033" y="21441"/>
                    <a:pt x="39033" y="21441"/>
                    <a:pt x="39033" y="21441"/>
                  </a:cubicBezTo>
                  <a:cubicBezTo>
                    <a:pt x="39076" y="21487"/>
                    <a:pt x="39076" y="21487"/>
                    <a:pt x="39076" y="21487"/>
                  </a:cubicBezTo>
                  <a:cubicBezTo>
                    <a:pt x="39098" y="21510"/>
                    <a:pt x="39098" y="21510"/>
                    <a:pt x="39098" y="21510"/>
                  </a:cubicBezTo>
                  <a:cubicBezTo>
                    <a:pt x="39109" y="21521"/>
                    <a:pt x="39109" y="21521"/>
                    <a:pt x="39109" y="21521"/>
                  </a:cubicBezTo>
                  <a:cubicBezTo>
                    <a:pt x="39148" y="21562"/>
                    <a:pt x="39129" y="21541"/>
                    <a:pt x="39141" y="21554"/>
                  </a:cubicBezTo>
                  <a:cubicBezTo>
                    <a:pt x="39162" y="21573"/>
                    <a:pt x="39183" y="21593"/>
                    <a:pt x="39204" y="21613"/>
                  </a:cubicBezTo>
                  <a:cubicBezTo>
                    <a:pt x="39537" y="21931"/>
                    <a:pt x="39977" y="22215"/>
                    <a:pt x="40475" y="22394"/>
                  </a:cubicBezTo>
                  <a:cubicBezTo>
                    <a:pt x="40971" y="22577"/>
                    <a:pt x="41522" y="22660"/>
                    <a:pt x="42062" y="22666"/>
                  </a:cubicBezTo>
                  <a:cubicBezTo>
                    <a:pt x="42535" y="22667"/>
                    <a:pt x="43037" y="22667"/>
                    <a:pt x="43568" y="22668"/>
                  </a:cubicBezTo>
                  <a:cubicBezTo>
                    <a:pt x="43700" y="22668"/>
                    <a:pt x="43833" y="22668"/>
                    <a:pt x="43968" y="22668"/>
                  </a:cubicBezTo>
                  <a:cubicBezTo>
                    <a:pt x="44069" y="22668"/>
                    <a:pt x="44069" y="22668"/>
                    <a:pt x="44069" y="22668"/>
                  </a:cubicBezTo>
                  <a:cubicBezTo>
                    <a:pt x="44120" y="22668"/>
                    <a:pt x="44120" y="22668"/>
                    <a:pt x="44120" y="22668"/>
                  </a:cubicBezTo>
                  <a:cubicBezTo>
                    <a:pt x="44145" y="22668"/>
                    <a:pt x="44145" y="22668"/>
                    <a:pt x="44145" y="22668"/>
                  </a:cubicBezTo>
                  <a:cubicBezTo>
                    <a:pt x="44199" y="22666"/>
                    <a:pt x="44199" y="22666"/>
                    <a:pt x="44199" y="22666"/>
                  </a:cubicBezTo>
                  <a:cubicBezTo>
                    <a:pt x="44346" y="22661"/>
                    <a:pt x="44524" y="22640"/>
                    <a:pt x="44726" y="22556"/>
                  </a:cubicBezTo>
                  <a:cubicBezTo>
                    <a:pt x="44826" y="22514"/>
                    <a:pt x="44929" y="22456"/>
                    <a:pt x="45024" y="22381"/>
                  </a:cubicBezTo>
                  <a:cubicBezTo>
                    <a:pt x="45072" y="22344"/>
                    <a:pt x="45117" y="22304"/>
                    <a:pt x="45159" y="22260"/>
                  </a:cubicBezTo>
                  <a:cubicBezTo>
                    <a:pt x="45202" y="22216"/>
                    <a:pt x="45238" y="22171"/>
                    <a:pt x="45272" y="22125"/>
                  </a:cubicBezTo>
                  <a:cubicBezTo>
                    <a:pt x="45409" y="21937"/>
                    <a:pt x="45473" y="21749"/>
                    <a:pt x="45508" y="21594"/>
                  </a:cubicBezTo>
                  <a:cubicBezTo>
                    <a:pt x="45526" y="21511"/>
                    <a:pt x="45536" y="21450"/>
                    <a:pt x="45543" y="21363"/>
                  </a:cubicBezTo>
                  <a:cubicBezTo>
                    <a:pt x="45548" y="21301"/>
                    <a:pt x="45548" y="21301"/>
                    <a:pt x="45548" y="21301"/>
                  </a:cubicBezTo>
                  <a:cubicBezTo>
                    <a:pt x="45550" y="21276"/>
                    <a:pt x="45550" y="21269"/>
                    <a:pt x="45550" y="21261"/>
                  </a:cubicBezTo>
                  <a:cubicBezTo>
                    <a:pt x="45552" y="21181"/>
                    <a:pt x="45552" y="21181"/>
                    <a:pt x="45552" y="21181"/>
                  </a:cubicBezTo>
                  <a:cubicBezTo>
                    <a:pt x="45552" y="21109"/>
                    <a:pt x="45552" y="21037"/>
                    <a:pt x="45552" y="20965"/>
                  </a:cubicBezTo>
                  <a:cubicBezTo>
                    <a:pt x="45552" y="20384"/>
                    <a:pt x="45552" y="19777"/>
                    <a:pt x="45552" y="19144"/>
                  </a:cubicBezTo>
                  <a:cubicBezTo>
                    <a:pt x="45552" y="17878"/>
                    <a:pt x="45552" y="16509"/>
                    <a:pt x="45552" y="15046"/>
                  </a:cubicBezTo>
                  <a:cubicBezTo>
                    <a:pt x="45552" y="12120"/>
                    <a:pt x="45552" y="8819"/>
                    <a:pt x="45552" y="5218"/>
                  </a:cubicBezTo>
                  <a:cubicBezTo>
                    <a:pt x="45552" y="4993"/>
                    <a:pt x="45552" y="4767"/>
                    <a:pt x="45552" y="4539"/>
                  </a:cubicBezTo>
                  <a:cubicBezTo>
                    <a:pt x="45552" y="4426"/>
                    <a:pt x="45552" y="4312"/>
                    <a:pt x="45552" y="4197"/>
                  </a:cubicBezTo>
                  <a:cubicBezTo>
                    <a:pt x="45552" y="4145"/>
                    <a:pt x="45551" y="4071"/>
                    <a:pt x="45549" y="4005"/>
                  </a:cubicBezTo>
                  <a:close/>
                  <a:moveTo>
                    <a:pt x="38429" y="1830"/>
                  </a:moveTo>
                  <a:cubicBezTo>
                    <a:pt x="38435" y="1827"/>
                    <a:pt x="38443" y="1824"/>
                    <a:pt x="38431" y="1830"/>
                  </a:cubicBezTo>
                  <a:cubicBezTo>
                    <a:pt x="38429" y="1830"/>
                    <a:pt x="38429" y="1830"/>
                    <a:pt x="38428" y="1831"/>
                  </a:cubicBezTo>
                  <a:lnTo>
                    <a:pt x="38429" y="1830"/>
                  </a:lnTo>
                  <a:close/>
                  <a:moveTo>
                    <a:pt x="1829" y="1447"/>
                  </a:moveTo>
                  <a:cubicBezTo>
                    <a:pt x="1830" y="1452"/>
                    <a:pt x="1828" y="1460"/>
                    <a:pt x="1828" y="1463"/>
                  </a:cubicBezTo>
                  <a:cubicBezTo>
                    <a:pt x="1828" y="1463"/>
                    <a:pt x="1828" y="1463"/>
                    <a:pt x="1828" y="1463"/>
                  </a:cubicBezTo>
                  <a:cubicBezTo>
                    <a:pt x="1828" y="1449"/>
                    <a:pt x="1828" y="1436"/>
                    <a:pt x="1829" y="1447"/>
                  </a:cubicBezTo>
                  <a:close/>
                  <a:moveTo>
                    <a:pt x="6135" y="20841"/>
                  </a:moveTo>
                  <a:cubicBezTo>
                    <a:pt x="6135" y="20841"/>
                    <a:pt x="6137" y="20841"/>
                    <a:pt x="6137" y="20841"/>
                  </a:cubicBezTo>
                  <a:cubicBezTo>
                    <a:pt x="6134" y="20841"/>
                    <a:pt x="6157" y="20842"/>
                    <a:pt x="6135" y="20841"/>
                  </a:cubicBezTo>
                  <a:close/>
                  <a:moveTo>
                    <a:pt x="42095" y="20840"/>
                  </a:moveTo>
                  <a:cubicBezTo>
                    <a:pt x="41700" y="20836"/>
                    <a:pt x="41373" y="20778"/>
                    <a:pt x="41102" y="20679"/>
                  </a:cubicBezTo>
                  <a:cubicBezTo>
                    <a:pt x="40831" y="20581"/>
                    <a:pt x="40625" y="20444"/>
                    <a:pt x="40458" y="20286"/>
                  </a:cubicBezTo>
                  <a:cubicBezTo>
                    <a:pt x="40426" y="20256"/>
                    <a:pt x="40426" y="20256"/>
                    <a:pt x="40426" y="20256"/>
                  </a:cubicBezTo>
                  <a:cubicBezTo>
                    <a:pt x="40428" y="20258"/>
                    <a:pt x="40426" y="20256"/>
                    <a:pt x="40424" y="20254"/>
                  </a:cubicBezTo>
                  <a:cubicBezTo>
                    <a:pt x="40403" y="20232"/>
                    <a:pt x="40403" y="20232"/>
                    <a:pt x="40403" y="20232"/>
                  </a:cubicBezTo>
                  <a:cubicBezTo>
                    <a:pt x="40359" y="20186"/>
                    <a:pt x="40359" y="20186"/>
                    <a:pt x="40359" y="20186"/>
                  </a:cubicBezTo>
                  <a:cubicBezTo>
                    <a:pt x="40338" y="20163"/>
                    <a:pt x="40338" y="20163"/>
                    <a:pt x="40338" y="20163"/>
                  </a:cubicBezTo>
                  <a:cubicBezTo>
                    <a:pt x="40330" y="20155"/>
                    <a:pt x="40330" y="20154"/>
                    <a:pt x="40326" y="20149"/>
                  </a:cubicBezTo>
                  <a:cubicBezTo>
                    <a:pt x="40314" y="20133"/>
                    <a:pt x="40301" y="20117"/>
                    <a:pt x="40288" y="20103"/>
                  </a:cubicBezTo>
                  <a:cubicBezTo>
                    <a:pt x="40272" y="20082"/>
                    <a:pt x="40256" y="20061"/>
                    <a:pt x="40241" y="20040"/>
                  </a:cubicBezTo>
                  <a:cubicBezTo>
                    <a:pt x="40181" y="19956"/>
                    <a:pt x="40127" y="19873"/>
                    <a:pt x="40086" y="19787"/>
                  </a:cubicBezTo>
                  <a:cubicBezTo>
                    <a:pt x="39999" y="19618"/>
                    <a:pt x="39947" y="19446"/>
                    <a:pt x="39910" y="19292"/>
                  </a:cubicBezTo>
                  <a:cubicBezTo>
                    <a:pt x="39875" y="19136"/>
                    <a:pt x="39854" y="18998"/>
                    <a:pt x="39845" y="18882"/>
                  </a:cubicBezTo>
                  <a:cubicBezTo>
                    <a:pt x="39835" y="18767"/>
                    <a:pt x="39831" y="18678"/>
                    <a:pt x="39831" y="18617"/>
                  </a:cubicBezTo>
                  <a:cubicBezTo>
                    <a:pt x="39830" y="18556"/>
                    <a:pt x="39829" y="18525"/>
                    <a:pt x="39829" y="18525"/>
                  </a:cubicBezTo>
                  <a:cubicBezTo>
                    <a:pt x="39829" y="18486"/>
                    <a:pt x="39829" y="17861"/>
                    <a:pt x="39829" y="16772"/>
                  </a:cubicBezTo>
                  <a:cubicBezTo>
                    <a:pt x="39829" y="16491"/>
                    <a:pt x="39829" y="16177"/>
                    <a:pt x="39829" y="15831"/>
                  </a:cubicBezTo>
                  <a:cubicBezTo>
                    <a:pt x="39829" y="15658"/>
                    <a:pt x="39829" y="15477"/>
                    <a:pt x="39829" y="15289"/>
                  </a:cubicBezTo>
                  <a:cubicBezTo>
                    <a:pt x="39829" y="15242"/>
                    <a:pt x="39829" y="15194"/>
                    <a:pt x="39829" y="15146"/>
                  </a:cubicBezTo>
                  <a:cubicBezTo>
                    <a:pt x="39829" y="15116"/>
                    <a:pt x="39829" y="15086"/>
                    <a:pt x="39828" y="15055"/>
                  </a:cubicBezTo>
                  <a:cubicBezTo>
                    <a:pt x="39828" y="15031"/>
                    <a:pt x="39827" y="15007"/>
                    <a:pt x="39827" y="14982"/>
                  </a:cubicBezTo>
                  <a:cubicBezTo>
                    <a:pt x="39826" y="14958"/>
                    <a:pt x="39826" y="14933"/>
                    <a:pt x="39826" y="14908"/>
                  </a:cubicBezTo>
                  <a:cubicBezTo>
                    <a:pt x="39824" y="14875"/>
                    <a:pt x="39822" y="14841"/>
                    <a:pt x="39820" y="14808"/>
                  </a:cubicBezTo>
                  <a:cubicBezTo>
                    <a:pt x="39817" y="14740"/>
                    <a:pt x="39812" y="14672"/>
                    <a:pt x="39805" y="14611"/>
                  </a:cubicBezTo>
                  <a:cubicBezTo>
                    <a:pt x="39756" y="14109"/>
                    <a:pt x="39613" y="13539"/>
                    <a:pt x="39301" y="12999"/>
                  </a:cubicBezTo>
                  <a:cubicBezTo>
                    <a:pt x="39222" y="12865"/>
                    <a:pt x="39137" y="12732"/>
                    <a:pt x="39039" y="12607"/>
                  </a:cubicBezTo>
                  <a:cubicBezTo>
                    <a:pt x="38992" y="12542"/>
                    <a:pt x="38940" y="12482"/>
                    <a:pt x="38888" y="12420"/>
                  </a:cubicBezTo>
                  <a:cubicBezTo>
                    <a:pt x="38863" y="12389"/>
                    <a:pt x="38835" y="12361"/>
                    <a:pt x="38808" y="12331"/>
                  </a:cubicBezTo>
                  <a:cubicBezTo>
                    <a:pt x="38767" y="12287"/>
                    <a:pt x="38767" y="12287"/>
                    <a:pt x="38767" y="12287"/>
                  </a:cubicBezTo>
                  <a:cubicBezTo>
                    <a:pt x="38746" y="12265"/>
                    <a:pt x="38746" y="12265"/>
                    <a:pt x="38746" y="12265"/>
                  </a:cubicBezTo>
                  <a:cubicBezTo>
                    <a:pt x="38754" y="12272"/>
                    <a:pt x="38712" y="12229"/>
                    <a:pt x="38711" y="12228"/>
                  </a:cubicBezTo>
                  <a:cubicBezTo>
                    <a:pt x="38644" y="12163"/>
                    <a:pt x="38644" y="12163"/>
                    <a:pt x="38644" y="12163"/>
                  </a:cubicBezTo>
                  <a:cubicBezTo>
                    <a:pt x="38610" y="12130"/>
                    <a:pt x="38610" y="12130"/>
                    <a:pt x="38610" y="12130"/>
                  </a:cubicBezTo>
                  <a:cubicBezTo>
                    <a:pt x="38559" y="12084"/>
                    <a:pt x="38559" y="12084"/>
                    <a:pt x="38559" y="12084"/>
                  </a:cubicBezTo>
                  <a:cubicBezTo>
                    <a:pt x="38524" y="12054"/>
                    <a:pt x="38490" y="12023"/>
                    <a:pt x="38455" y="11992"/>
                  </a:cubicBezTo>
                  <a:cubicBezTo>
                    <a:pt x="38422" y="11966"/>
                    <a:pt x="38389" y="11939"/>
                    <a:pt x="38355" y="11912"/>
                  </a:cubicBezTo>
                  <a:cubicBezTo>
                    <a:pt x="38223" y="11807"/>
                    <a:pt x="38079" y="11710"/>
                    <a:pt x="37927" y="11622"/>
                  </a:cubicBezTo>
                  <a:cubicBezTo>
                    <a:pt x="37775" y="11532"/>
                    <a:pt x="37613" y="11458"/>
                    <a:pt x="37447" y="11390"/>
                  </a:cubicBezTo>
                  <a:cubicBezTo>
                    <a:pt x="37280" y="11325"/>
                    <a:pt x="37107" y="11271"/>
                    <a:pt x="36932" y="11229"/>
                  </a:cubicBezTo>
                  <a:cubicBezTo>
                    <a:pt x="36581" y="11147"/>
                    <a:pt x="36220" y="11111"/>
                    <a:pt x="35866" y="11117"/>
                  </a:cubicBezTo>
                  <a:cubicBezTo>
                    <a:pt x="35169" y="11123"/>
                    <a:pt x="34433" y="11280"/>
                    <a:pt x="33749" y="11577"/>
                  </a:cubicBezTo>
                  <a:cubicBezTo>
                    <a:pt x="33618" y="11635"/>
                    <a:pt x="33618" y="11635"/>
                    <a:pt x="33618" y="11635"/>
                  </a:cubicBezTo>
                  <a:cubicBezTo>
                    <a:pt x="33509" y="11686"/>
                    <a:pt x="33509" y="11686"/>
                    <a:pt x="33509" y="11686"/>
                  </a:cubicBezTo>
                  <a:cubicBezTo>
                    <a:pt x="33384" y="11746"/>
                    <a:pt x="33384" y="11746"/>
                    <a:pt x="33384" y="11746"/>
                  </a:cubicBezTo>
                  <a:cubicBezTo>
                    <a:pt x="33265" y="11806"/>
                    <a:pt x="33265" y="11806"/>
                    <a:pt x="33265" y="11806"/>
                  </a:cubicBezTo>
                  <a:cubicBezTo>
                    <a:pt x="33106" y="11886"/>
                    <a:pt x="32949" y="11972"/>
                    <a:pt x="32792" y="12062"/>
                  </a:cubicBezTo>
                  <a:cubicBezTo>
                    <a:pt x="32479" y="12243"/>
                    <a:pt x="32170" y="12443"/>
                    <a:pt x="31868" y="12662"/>
                  </a:cubicBezTo>
                  <a:cubicBezTo>
                    <a:pt x="31792" y="12717"/>
                    <a:pt x="31719" y="12772"/>
                    <a:pt x="31642" y="12831"/>
                  </a:cubicBezTo>
                  <a:cubicBezTo>
                    <a:pt x="31571" y="12886"/>
                    <a:pt x="31500" y="12941"/>
                    <a:pt x="31428" y="12996"/>
                  </a:cubicBezTo>
                  <a:cubicBezTo>
                    <a:pt x="31284" y="13110"/>
                    <a:pt x="31141" y="13226"/>
                    <a:pt x="30998" y="13345"/>
                  </a:cubicBezTo>
                  <a:cubicBezTo>
                    <a:pt x="30713" y="13584"/>
                    <a:pt x="30430" y="13835"/>
                    <a:pt x="30151" y="14099"/>
                  </a:cubicBezTo>
                  <a:cubicBezTo>
                    <a:pt x="30082" y="14165"/>
                    <a:pt x="30012" y="14232"/>
                    <a:pt x="29943" y="14298"/>
                  </a:cubicBezTo>
                  <a:cubicBezTo>
                    <a:pt x="29878" y="14361"/>
                    <a:pt x="29812" y="14425"/>
                    <a:pt x="29746" y="14489"/>
                  </a:cubicBezTo>
                  <a:cubicBezTo>
                    <a:pt x="29614" y="14614"/>
                    <a:pt x="29481" y="14741"/>
                    <a:pt x="29347" y="14868"/>
                  </a:cubicBezTo>
                  <a:cubicBezTo>
                    <a:pt x="29078" y="15121"/>
                    <a:pt x="28802" y="15373"/>
                    <a:pt x="28519" y="15624"/>
                  </a:cubicBezTo>
                  <a:cubicBezTo>
                    <a:pt x="27942" y="16149"/>
                    <a:pt x="27348" y="16690"/>
                    <a:pt x="26738" y="17245"/>
                  </a:cubicBezTo>
                  <a:cubicBezTo>
                    <a:pt x="26446" y="17509"/>
                    <a:pt x="26143" y="17769"/>
                    <a:pt x="25830" y="18022"/>
                  </a:cubicBezTo>
                  <a:cubicBezTo>
                    <a:pt x="25675" y="18148"/>
                    <a:pt x="25513" y="18274"/>
                    <a:pt x="25355" y="18394"/>
                  </a:cubicBezTo>
                  <a:cubicBezTo>
                    <a:pt x="25202" y="18509"/>
                    <a:pt x="25044" y="18619"/>
                    <a:pt x="24883" y="18723"/>
                  </a:cubicBezTo>
                  <a:cubicBezTo>
                    <a:pt x="24722" y="18826"/>
                    <a:pt x="24557" y="18924"/>
                    <a:pt x="24389" y="19013"/>
                  </a:cubicBezTo>
                  <a:cubicBezTo>
                    <a:pt x="24305" y="19057"/>
                    <a:pt x="24221" y="19100"/>
                    <a:pt x="24135" y="19140"/>
                  </a:cubicBezTo>
                  <a:cubicBezTo>
                    <a:pt x="24071" y="19169"/>
                    <a:pt x="24071" y="19169"/>
                    <a:pt x="24071" y="19169"/>
                  </a:cubicBezTo>
                  <a:cubicBezTo>
                    <a:pt x="24039" y="19184"/>
                    <a:pt x="24039" y="19184"/>
                    <a:pt x="24039" y="19184"/>
                  </a:cubicBezTo>
                  <a:cubicBezTo>
                    <a:pt x="24047" y="19180"/>
                    <a:pt x="24019" y="19192"/>
                    <a:pt x="24011" y="19196"/>
                  </a:cubicBezTo>
                  <a:cubicBezTo>
                    <a:pt x="23973" y="19212"/>
                    <a:pt x="23973" y="19212"/>
                    <a:pt x="23973" y="19212"/>
                  </a:cubicBezTo>
                  <a:cubicBezTo>
                    <a:pt x="23960" y="19218"/>
                    <a:pt x="23948" y="19223"/>
                    <a:pt x="23941" y="19226"/>
                  </a:cubicBezTo>
                  <a:cubicBezTo>
                    <a:pt x="23890" y="19246"/>
                    <a:pt x="23890" y="19246"/>
                    <a:pt x="23890" y="19246"/>
                  </a:cubicBezTo>
                  <a:cubicBezTo>
                    <a:pt x="23574" y="19369"/>
                    <a:pt x="23238" y="19438"/>
                    <a:pt x="22887" y="19450"/>
                  </a:cubicBezTo>
                  <a:cubicBezTo>
                    <a:pt x="22865" y="19451"/>
                    <a:pt x="22843" y="19451"/>
                    <a:pt x="22821" y="19451"/>
                  </a:cubicBezTo>
                  <a:cubicBezTo>
                    <a:pt x="22788" y="19452"/>
                    <a:pt x="22788" y="19452"/>
                    <a:pt x="22788" y="19452"/>
                  </a:cubicBezTo>
                  <a:cubicBezTo>
                    <a:pt x="22776" y="19452"/>
                    <a:pt x="22785" y="19452"/>
                    <a:pt x="22760" y="19452"/>
                  </a:cubicBezTo>
                  <a:cubicBezTo>
                    <a:pt x="22677" y="19451"/>
                    <a:pt x="22677" y="19451"/>
                    <a:pt x="22677" y="19451"/>
                  </a:cubicBezTo>
                  <a:cubicBezTo>
                    <a:pt x="22620" y="19448"/>
                    <a:pt x="22620" y="19448"/>
                    <a:pt x="22620" y="19448"/>
                  </a:cubicBezTo>
                  <a:cubicBezTo>
                    <a:pt x="22536" y="19444"/>
                    <a:pt x="22446" y="19436"/>
                    <a:pt x="22360" y="19425"/>
                  </a:cubicBezTo>
                  <a:cubicBezTo>
                    <a:pt x="22186" y="19401"/>
                    <a:pt x="22015" y="19365"/>
                    <a:pt x="21847" y="19311"/>
                  </a:cubicBezTo>
                  <a:cubicBezTo>
                    <a:pt x="21763" y="19284"/>
                    <a:pt x="21680" y="19254"/>
                    <a:pt x="21597" y="19220"/>
                  </a:cubicBezTo>
                  <a:cubicBezTo>
                    <a:pt x="21535" y="19193"/>
                    <a:pt x="21535" y="19193"/>
                    <a:pt x="21535" y="19193"/>
                  </a:cubicBezTo>
                  <a:cubicBezTo>
                    <a:pt x="21468" y="19163"/>
                    <a:pt x="21468" y="19163"/>
                    <a:pt x="21468" y="19163"/>
                  </a:cubicBezTo>
                  <a:cubicBezTo>
                    <a:pt x="21396" y="19130"/>
                    <a:pt x="21396" y="19130"/>
                    <a:pt x="21396" y="19130"/>
                  </a:cubicBezTo>
                  <a:cubicBezTo>
                    <a:pt x="21333" y="19099"/>
                    <a:pt x="21333" y="19099"/>
                    <a:pt x="21333" y="19099"/>
                  </a:cubicBezTo>
                  <a:cubicBezTo>
                    <a:pt x="21153" y="19011"/>
                    <a:pt x="20974" y="18912"/>
                    <a:pt x="20798" y="18804"/>
                  </a:cubicBezTo>
                  <a:cubicBezTo>
                    <a:pt x="20621" y="18695"/>
                    <a:pt x="20447" y="18577"/>
                    <a:pt x="20275" y="18451"/>
                  </a:cubicBezTo>
                  <a:cubicBezTo>
                    <a:pt x="20147" y="18355"/>
                    <a:pt x="20147" y="18355"/>
                    <a:pt x="20147" y="18355"/>
                  </a:cubicBezTo>
                  <a:cubicBezTo>
                    <a:pt x="20010" y="18250"/>
                    <a:pt x="20010" y="18250"/>
                    <a:pt x="20010" y="18250"/>
                  </a:cubicBezTo>
                  <a:cubicBezTo>
                    <a:pt x="19923" y="18183"/>
                    <a:pt x="19832" y="18111"/>
                    <a:pt x="19744" y="18040"/>
                  </a:cubicBezTo>
                  <a:cubicBezTo>
                    <a:pt x="19389" y="17754"/>
                    <a:pt x="19039" y="17452"/>
                    <a:pt x="18695" y="17136"/>
                  </a:cubicBezTo>
                  <a:cubicBezTo>
                    <a:pt x="18335" y="16809"/>
                    <a:pt x="17973" y="16478"/>
                    <a:pt x="17607" y="16145"/>
                  </a:cubicBezTo>
                  <a:cubicBezTo>
                    <a:pt x="17425" y="15979"/>
                    <a:pt x="17241" y="15813"/>
                    <a:pt x="17058" y="15645"/>
                  </a:cubicBezTo>
                  <a:cubicBezTo>
                    <a:pt x="16964" y="15562"/>
                    <a:pt x="16870" y="15478"/>
                    <a:pt x="16775" y="15394"/>
                  </a:cubicBezTo>
                  <a:cubicBezTo>
                    <a:pt x="16685" y="15312"/>
                    <a:pt x="16595" y="15230"/>
                    <a:pt x="16505" y="15147"/>
                  </a:cubicBezTo>
                  <a:cubicBezTo>
                    <a:pt x="16325" y="14982"/>
                    <a:pt x="16145" y="14813"/>
                    <a:pt x="15967" y="14643"/>
                  </a:cubicBezTo>
                  <a:cubicBezTo>
                    <a:pt x="15784" y="14467"/>
                    <a:pt x="15601" y="14290"/>
                    <a:pt x="15417" y="14113"/>
                  </a:cubicBezTo>
                  <a:cubicBezTo>
                    <a:pt x="15028" y="13745"/>
                    <a:pt x="14622" y="13392"/>
                    <a:pt x="14197" y="13054"/>
                  </a:cubicBezTo>
                  <a:cubicBezTo>
                    <a:pt x="14037" y="12928"/>
                    <a:pt x="14037" y="12928"/>
                    <a:pt x="14037" y="12928"/>
                  </a:cubicBezTo>
                  <a:cubicBezTo>
                    <a:pt x="13871" y="12801"/>
                    <a:pt x="13871" y="12801"/>
                    <a:pt x="13871" y="12801"/>
                  </a:cubicBezTo>
                  <a:cubicBezTo>
                    <a:pt x="13707" y="12679"/>
                    <a:pt x="13707" y="12679"/>
                    <a:pt x="13707" y="12679"/>
                  </a:cubicBezTo>
                  <a:cubicBezTo>
                    <a:pt x="13532" y="12554"/>
                    <a:pt x="13532" y="12554"/>
                    <a:pt x="13532" y="12554"/>
                  </a:cubicBezTo>
                  <a:cubicBezTo>
                    <a:pt x="13300" y="12391"/>
                    <a:pt x="13060" y="12237"/>
                    <a:pt x="12812" y="12092"/>
                  </a:cubicBezTo>
                  <a:cubicBezTo>
                    <a:pt x="12564" y="11947"/>
                    <a:pt x="12309" y="11812"/>
                    <a:pt x="12047" y="11688"/>
                  </a:cubicBezTo>
                  <a:cubicBezTo>
                    <a:pt x="11949" y="11642"/>
                    <a:pt x="11949" y="11642"/>
                    <a:pt x="11949" y="11642"/>
                  </a:cubicBezTo>
                  <a:cubicBezTo>
                    <a:pt x="11846" y="11596"/>
                    <a:pt x="11846" y="11596"/>
                    <a:pt x="11846" y="11596"/>
                  </a:cubicBezTo>
                  <a:cubicBezTo>
                    <a:pt x="11793" y="11572"/>
                    <a:pt x="11703" y="11535"/>
                    <a:pt x="11630" y="11505"/>
                  </a:cubicBezTo>
                  <a:cubicBezTo>
                    <a:pt x="11485" y="11448"/>
                    <a:pt x="11336" y="11396"/>
                    <a:pt x="11185" y="11350"/>
                  </a:cubicBezTo>
                  <a:cubicBezTo>
                    <a:pt x="10883" y="11259"/>
                    <a:pt x="10569" y="11191"/>
                    <a:pt x="10250" y="11154"/>
                  </a:cubicBezTo>
                  <a:cubicBezTo>
                    <a:pt x="10090" y="11135"/>
                    <a:pt x="9930" y="11123"/>
                    <a:pt x="9769" y="11119"/>
                  </a:cubicBezTo>
                  <a:cubicBezTo>
                    <a:pt x="9649" y="11117"/>
                    <a:pt x="9649" y="11117"/>
                    <a:pt x="9649" y="11117"/>
                  </a:cubicBezTo>
                  <a:cubicBezTo>
                    <a:pt x="9631" y="11116"/>
                    <a:pt x="9573" y="11117"/>
                    <a:pt x="9574" y="11117"/>
                  </a:cubicBezTo>
                  <a:cubicBezTo>
                    <a:pt x="9524" y="11118"/>
                    <a:pt x="9524" y="11118"/>
                    <a:pt x="9524" y="11118"/>
                  </a:cubicBezTo>
                  <a:cubicBezTo>
                    <a:pt x="9474" y="11119"/>
                    <a:pt x="9474" y="11119"/>
                    <a:pt x="9474" y="11119"/>
                  </a:cubicBezTo>
                  <a:cubicBezTo>
                    <a:pt x="9456" y="11120"/>
                    <a:pt x="9445" y="11119"/>
                    <a:pt x="9419" y="11121"/>
                  </a:cubicBezTo>
                  <a:cubicBezTo>
                    <a:pt x="9281" y="11129"/>
                    <a:pt x="9281" y="11129"/>
                    <a:pt x="9281" y="11129"/>
                  </a:cubicBezTo>
                  <a:cubicBezTo>
                    <a:pt x="9234" y="11132"/>
                    <a:pt x="9191" y="11136"/>
                    <a:pt x="9150" y="11141"/>
                  </a:cubicBezTo>
                  <a:cubicBezTo>
                    <a:pt x="9023" y="11155"/>
                    <a:pt x="9023" y="11155"/>
                    <a:pt x="9023" y="11155"/>
                  </a:cubicBezTo>
                  <a:cubicBezTo>
                    <a:pt x="8938" y="11169"/>
                    <a:pt x="8853" y="11178"/>
                    <a:pt x="8768" y="11197"/>
                  </a:cubicBezTo>
                  <a:cubicBezTo>
                    <a:pt x="8598" y="11229"/>
                    <a:pt x="8427" y="11278"/>
                    <a:pt x="8258" y="11334"/>
                  </a:cubicBezTo>
                  <a:cubicBezTo>
                    <a:pt x="7921" y="11451"/>
                    <a:pt x="7593" y="11619"/>
                    <a:pt x="7302" y="11832"/>
                  </a:cubicBezTo>
                  <a:cubicBezTo>
                    <a:pt x="7157" y="11938"/>
                    <a:pt x="7019" y="12054"/>
                    <a:pt x="6893" y="12178"/>
                  </a:cubicBezTo>
                  <a:cubicBezTo>
                    <a:pt x="6846" y="12225"/>
                    <a:pt x="6846" y="12225"/>
                    <a:pt x="6846" y="12225"/>
                  </a:cubicBezTo>
                  <a:cubicBezTo>
                    <a:pt x="6842" y="12227"/>
                    <a:pt x="6796" y="12275"/>
                    <a:pt x="6789" y="12283"/>
                  </a:cubicBezTo>
                  <a:cubicBezTo>
                    <a:pt x="6720" y="12358"/>
                    <a:pt x="6720" y="12358"/>
                    <a:pt x="6720" y="12358"/>
                  </a:cubicBezTo>
                  <a:cubicBezTo>
                    <a:pt x="6710" y="12368"/>
                    <a:pt x="6695" y="12385"/>
                    <a:pt x="6677" y="12405"/>
                  </a:cubicBezTo>
                  <a:cubicBezTo>
                    <a:pt x="6629" y="12462"/>
                    <a:pt x="6629" y="12462"/>
                    <a:pt x="6629" y="12462"/>
                  </a:cubicBezTo>
                  <a:cubicBezTo>
                    <a:pt x="6597" y="12500"/>
                    <a:pt x="6563" y="12540"/>
                    <a:pt x="6537" y="12575"/>
                  </a:cubicBezTo>
                  <a:cubicBezTo>
                    <a:pt x="6426" y="12715"/>
                    <a:pt x="6327" y="12868"/>
                    <a:pt x="6236" y="13024"/>
                  </a:cubicBezTo>
                  <a:cubicBezTo>
                    <a:pt x="6148" y="13182"/>
                    <a:pt x="6069" y="13346"/>
                    <a:pt x="6004" y="13514"/>
                  </a:cubicBezTo>
                  <a:cubicBezTo>
                    <a:pt x="5874" y="13849"/>
                    <a:pt x="5793" y="14197"/>
                    <a:pt x="5755" y="14538"/>
                  </a:cubicBezTo>
                  <a:cubicBezTo>
                    <a:pt x="5735" y="14709"/>
                    <a:pt x="5726" y="14878"/>
                    <a:pt x="5724" y="15046"/>
                  </a:cubicBezTo>
                  <a:cubicBezTo>
                    <a:pt x="5724" y="15186"/>
                    <a:pt x="5724" y="15327"/>
                    <a:pt x="5724" y="15468"/>
                  </a:cubicBezTo>
                  <a:cubicBezTo>
                    <a:pt x="5724" y="16574"/>
                    <a:pt x="5724" y="17690"/>
                    <a:pt x="5724" y="18815"/>
                  </a:cubicBezTo>
                  <a:cubicBezTo>
                    <a:pt x="5724" y="19378"/>
                    <a:pt x="5724" y="19943"/>
                    <a:pt x="5724" y="20510"/>
                  </a:cubicBezTo>
                  <a:cubicBezTo>
                    <a:pt x="5723" y="20620"/>
                    <a:pt x="5723" y="20731"/>
                    <a:pt x="5723" y="20841"/>
                  </a:cubicBezTo>
                  <a:cubicBezTo>
                    <a:pt x="5234" y="20841"/>
                    <a:pt x="4744" y="20841"/>
                    <a:pt x="4251" y="20841"/>
                  </a:cubicBezTo>
                  <a:cubicBezTo>
                    <a:pt x="4143" y="20841"/>
                    <a:pt x="4143" y="20841"/>
                    <a:pt x="4143" y="20841"/>
                  </a:cubicBezTo>
                  <a:cubicBezTo>
                    <a:pt x="4052" y="20840"/>
                    <a:pt x="4052" y="20840"/>
                    <a:pt x="4052" y="20840"/>
                  </a:cubicBezTo>
                  <a:cubicBezTo>
                    <a:pt x="3998" y="20839"/>
                    <a:pt x="3998" y="20839"/>
                    <a:pt x="3998" y="20839"/>
                  </a:cubicBezTo>
                  <a:cubicBezTo>
                    <a:pt x="3978" y="20839"/>
                    <a:pt x="3964" y="20838"/>
                    <a:pt x="3952" y="20837"/>
                  </a:cubicBezTo>
                  <a:cubicBezTo>
                    <a:pt x="3875" y="20832"/>
                    <a:pt x="3875" y="20832"/>
                    <a:pt x="3875" y="20832"/>
                  </a:cubicBezTo>
                  <a:cubicBezTo>
                    <a:pt x="3825" y="20830"/>
                    <a:pt x="3764" y="20822"/>
                    <a:pt x="3708" y="20818"/>
                  </a:cubicBezTo>
                  <a:cubicBezTo>
                    <a:pt x="3653" y="20810"/>
                    <a:pt x="3596" y="20804"/>
                    <a:pt x="3543" y="20794"/>
                  </a:cubicBezTo>
                  <a:cubicBezTo>
                    <a:pt x="3325" y="20756"/>
                    <a:pt x="3123" y="20698"/>
                    <a:pt x="2944" y="20615"/>
                  </a:cubicBezTo>
                  <a:cubicBezTo>
                    <a:pt x="2854" y="20573"/>
                    <a:pt x="2769" y="20527"/>
                    <a:pt x="2690" y="20473"/>
                  </a:cubicBezTo>
                  <a:cubicBezTo>
                    <a:pt x="2609" y="20420"/>
                    <a:pt x="2535" y="20360"/>
                    <a:pt x="2465" y="20294"/>
                  </a:cubicBezTo>
                  <a:cubicBezTo>
                    <a:pt x="2438" y="20269"/>
                    <a:pt x="2438" y="20269"/>
                    <a:pt x="2438" y="20269"/>
                  </a:cubicBezTo>
                  <a:cubicBezTo>
                    <a:pt x="2437" y="20268"/>
                    <a:pt x="2426" y="20258"/>
                    <a:pt x="2421" y="20253"/>
                  </a:cubicBezTo>
                  <a:cubicBezTo>
                    <a:pt x="2352" y="20180"/>
                    <a:pt x="2352" y="20180"/>
                    <a:pt x="2352" y="20180"/>
                  </a:cubicBezTo>
                  <a:cubicBezTo>
                    <a:pt x="2337" y="20165"/>
                    <a:pt x="2327" y="20154"/>
                    <a:pt x="2324" y="20149"/>
                  </a:cubicBezTo>
                  <a:cubicBezTo>
                    <a:pt x="2307" y="20128"/>
                    <a:pt x="2307" y="20128"/>
                    <a:pt x="2307" y="20128"/>
                  </a:cubicBezTo>
                  <a:cubicBezTo>
                    <a:pt x="2296" y="20114"/>
                    <a:pt x="2285" y="20103"/>
                    <a:pt x="2269" y="20081"/>
                  </a:cubicBezTo>
                  <a:cubicBezTo>
                    <a:pt x="2209" y="20006"/>
                    <a:pt x="2159" y="19923"/>
                    <a:pt x="2111" y="19839"/>
                  </a:cubicBezTo>
                  <a:cubicBezTo>
                    <a:pt x="1922" y="19498"/>
                    <a:pt x="1833" y="19058"/>
                    <a:pt x="1828" y="18575"/>
                  </a:cubicBezTo>
                  <a:cubicBezTo>
                    <a:pt x="1827" y="17408"/>
                    <a:pt x="1827" y="16235"/>
                    <a:pt x="1827" y="15057"/>
                  </a:cubicBezTo>
                  <a:cubicBezTo>
                    <a:pt x="1827" y="12693"/>
                    <a:pt x="1827" y="10311"/>
                    <a:pt x="1827" y="7920"/>
                  </a:cubicBezTo>
                  <a:cubicBezTo>
                    <a:pt x="1827" y="6724"/>
                    <a:pt x="1827" y="5526"/>
                    <a:pt x="1827" y="4327"/>
                  </a:cubicBezTo>
                  <a:cubicBezTo>
                    <a:pt x="1827" y="3728"/>
                    <a:pt x="1827" y="3128"/>
                    <a:pt x="1827" y="2528"/>
                  </a:cubicBezTo>
                  <a:cubicBezTo>
                    <a:pt x="1827" y="1824"/>
                    <a:pt x="1827" y="1824"/>
                    <a:pt x="1827" y="1824"/>
                  </a:cubicBezTo>
                  <a:cubicBezTo>
                    <a:pt x="2852" y="1824"/>
                    <a:pt x="3877" y="1825"/>
                    <a:pt x="4901" y="1826"/>
                  </a:cubicBezTo>
                  <a:cubicBezTo>
                    <a:pt x="5350" y="1826"/>
                    <a:pt x="5350" y="1826"/>
                    <a:pt x="5350" y="1826"/>
                  </a:cubicBezTo>
                  <a:cubicBezTo>
                    <a:pt x="5557" y="1830"/>
                    <a:pt x="5557" y="1830"/>
                    <a:pt x="5557" y="1830"/>
                  </a:cubicBezTo>
                  <a:cubicBezTo>
                    <a:pt x="5638" y="1830"/>
                    <a:pt x="5693" y="1835"/>
                    <a:pt x="5753" y="1839"/>
                  </a:cubicBezTo>
                  <a:cubicBezTo>
                    <a:pt x="5869" y="1844"/>
                    <a:pt x="6003" y="1859"/>
                    <a:pt x="6128" y="1874"/>
                  </a:cubicBezTo>
                  <a:cubicBezTo>
                    <a:pt x="6315" y="1902"/>
                    <a:pt x="6315" y="1902"/>
                    <a:pt x="6315" y="1902"/>
                  </a:cubicBezTo>
                  <a:cubicBezTo>
                    <a:pt x="6499" y="1938"/>
                    <a:pt x="6499" y="1938"/>
                    <a:pt x="6499" y="1938"/>
                  </a:cubicBezTo>
                  <a:cubicBezTo>
                    <a:pt x="6985" y="2042"/>
                    <a:pt x="7432" y="2224"/>
                    <a:pt x="7820" y="2488"/>
                  </a:cubicBezTo>
                  <a:cubicBezTo>
                    <a:pt x="8015" y="2620"/>
                    <a:pt x="8194" y="2773"/>
                    <a:pt x="8359" y="2946"/>
                  </a:cubicBezTo>
                  <a:cubicBezTo>
                    <a:pt x="8434" y="3020"/>
                    <a:pt x="8434" y="3020"/>
                    <a:pt x="8434" y="3020"/>
                  </a:cubicBezTo>
                  <a:cubicBezTo>
                    <a:pt x="8475" y="3058"/>
                    <a:pt x="8475" y="3058"/>
                    <a:pt x="8475" y="3058"/>
                  </a:cubicBezTo>
                  <a:cubicBezTo>
                    <a:pt x="8557" y="3135"/>
                    <a:pt x="8557" y="3135"/>
                    <a:pt x="8557" y="3135"/>
                  </a:cubicBezTo>
                  <a:cubicBezTo>
                    <a:pt x="8721" y="3287"/>
                    <a:pt x="8721" y="3287"/>
                    <a:pt x="8721" y="3287"/>
                  </a:cubicBezTo>
                  <a:cubicBezTo>
                    <a:pt x="9048" y="3593"/>
                    <a:pt x="9048" y="3593"/>
                    <a:pt x="9048" y="3593"/>
                  </a:cubicBezTo>
                  <a:cubicBezTo>
                    <a:pt x="9484" y="4000"/>
                    <a:pt x="9920" y="4406"/>
                    <a:pt x="10355" y="4812"/>
                  </a:cubicBezTo>
                  <a:cubicBezTo>
                    <a:pt x="11225" y="5623"/>
                    <a:pt x="12093" y="6433"/>
                    <a:pt x="12957" y="7239"/>
                  </a:cubicBezTo>
                  <a:cubicBezTo>
                    <a:pt x="13280" y="7541"/>
                    <a:pt x="13280" y="7541"/>
                    <a:pt x="13280" y="7541"/>
                  </a:cubicBezTo>
                  <a:cubicBezTo>
                    <a:pt x="13404" y="7654"/>
                    <a:pt x="13495" y="7739"/>
                    <a:pt x="13622" y="7851"/>
                  </a:cubicBezTo>
                  <a:cubicBezTo>
                    <a:pt x="13743" y="7958"/>
                    <a:pt x="13861" y="8058"/>
                    <a:pt x="13980" y="8159"/>
                  </a:cubicBezTo>
                  <a:cubicBezTo>
                    <a:pt x="14100" y="8258"/>
                    <a:pt x="14219" y="8357"/>
                    <a:pt x="14342" y="8453"/>
                  </a:cubicBezTo>
                  <a:cubicBezTo>
                    <a:pt x="14829" y="8840"/>
                    <a:pt x="15339" y="9198"/>
                    <a:pt x="15867" y="9525"/>
                  </a:cubicBezTo>
                  <a:cubicBezTo>
                    <a:pt x="16131" y="9690"/>
                    <a:pt x="16401" y="9843"/>
                    <a:pt x="16673" y="9992"/>
                  </a:cubicBezTo>
                  <a:cubicBezTo>
                    <a:pt x="16809" y="10065"/>
                    <a:pt x="16947" y="10137"/>
                    <a:pt x="17085" y="10206"/>
                  </a:cubicBezTo>
                  <a:cubicBezTo>
                    <a:pt x="17154" y="10242"/>
                    <a:pt x="17224" y="10275"/>
                    <a:pt x="17294" y="10309"/>
                  </a:cubicBezTo>
                  <a:cubicBezTo>
                    <a:pt x="17398" y="10359"/>
                    <a:pt x="17398" y="10359"/>
                    <a:pt x="17398" y="10359"/>
                  </a:cubicBezTo>
                  <a:cubicBezTo>
                    <a:pt x="17463" y="10390"/>
                    <a:pt x="17463" y="10390"/>
                    <a:pt x="17463" y="10390"/>
                  </a:cubicBezTo>
                  <a:cubicBezTo>
                    <a:pt x="17512" y="10413"/>
                    <a:pt x="17512" y="10413"/>
                    <a:pt x="17512" y="10413"/>
                  </a:cubicBezTo>
                  <a:cubicBezTo>
                    <a:pt x="17711" y="10503"/>
                    <a:pt x="17711" y="10503"/>
                    <a:pt x="17711" y="10503"/>
                  </a:cubicBezTo>
                  <a:cubicBezTo>
                    <a:pt x="17940" y="10598"/>
                    <a:pt x="17940" y="10598"/>
                    <a:pt x="17940" y="10598"/>
                  </a:cubicBezTo>
                  <a:cubicBezTo>
                    <a:pt x="18018" y="10632"/>
                    <a:pt x="18093" y="10660"/>
                    <a:pt x="18167" y="10688"/>
                  </a:cubicBezTo>
                  <a:cubicBezTo>
                    <a:pt x="18241" y="10715"/>
                    <a:pt x="18315" y="10745"/>
                    <a:pt x="18390" y="10771"/>
                  </a:cubicBezTo>
                  <a:cubicBezTo>
                    <a:pt x="18689" y="10877"/>
                    <a:pt x="18992" y="10968"/>
                    <a:pt x="19296" y="11050"/>
                  </a:cubicBezTo>
                  <a:cubicBezTo>
                    <a:pt x="19904" y="11206"/>
                    <a:pt x="20519" y="11318"/>
                    <a:pt x="21131" y="11382"/>
                  </a:cubicBezTo>
                  <a:cubicBezTo>
                    <a:pt x="21744" y="11449"/>
                    <a:pt x="22352" y="11475"/>
                    <a:pt x="22957" y="11467"/>
                  </a:cubicBezTo>
                  <a:cubicBezTo>
                    <a:pt x="23030" y="11466"/>
                    <a:pt x="23097" y="11467"/>
                    <a:pt x="23175" y="11464"/>
                  </a:cubicBezTo>
                  <a:cubicBezTo>
                    <a:pt x="23408" y="11456"/>
                    <a:pt x="23408" y="11456"/>
                    <a:pt x="23408" y="11456"/>
                  </a:cubicBezTo>
                  <a:cubicBezTo>
                    <a:pt x="23565" y="11452"/>
                    <a:pt x="23712" y="11440"/>
                    <a:pt x="23865" y="11432"/>
                  </a:cubicBezTo>
                  <a:cubicBezTo>
                    <a:pt x="24167" y="11409"/>
                    <a:pt x="24470" y="11382"/>
                    <a:pt x="24772" y="11340"/>
                  </a:cubicBezTo>
                  <a:cubicBezTo>
                    <a:pt x="25375" y="11260"/>
                    <a:pt x="25974" y="11134"/>
                    <a:pt x="26563" y="10965"/>
                  </a:cubicBezTo>
                  <a:cubicBezTo>
                    <a:pt x="26856" y="10876"/>
                    <a:pt x="27148" y="10782"/>
                    <a:pt x="27433" y="10670"/>
                  </a:cubicBezTo>
                  <a:cubicBezTo>
                    <a:pt x="27577" y="10615"/>
                    <a:pt x="27718" y="10555"/>
                    <a:pt x="27859" y="10494"/>
                  </a:cubicBezTo>
                  <a:cubicBezTo>
                    <a:pt x="28069" y="10400"/>
                    <a:pt x="28069" y="10400"/>
                    <a:pt x="28069" y="10400"/>
                  </a:cubicBezTo>
                  <a:cubicBezTo>
                    <a:pt x="28128" y="10372"/>
                    <a:pt x="28128" y="10372"/>
                    <a:pt x="28128" y="10372"/>
                  </a:cubicBezTo>
                  <a:cubicBezTo>
                    <a:pt x="28175" y="10349"/>
                    <a:pt x="28175" y="10349"/>
                    <a:pt x="28175" y="10349"/>
                  </a:cubicBezTo>
                  <a:cubicBezTo>
                    <a:pt x="28269" y="10304"/>
                    <a:pt x="28269" y="10304"/>
                    <a:pt x="28269" y="10304"/>
                  </a:cubicBezTo>
                  <a:cubicBezTo>
                    <a:pt x="28805" y="10045"/>
                    <a:pt x="29319" y="9757"/>
                    <a:pt x="29815" y="9444"/>
                  </a:cubicBezTo>
                  <a:cubicBezTo>
                    <a:pt x="30310" y="9130"/>
                    <a:pt x="30785" y="8791"/>
                    <a:pt x="31238" y="8431"/>
                  </a:cubicBezTo>
                  <a:cubicBezTo>
                    <a:pt x="31465" y="8250"/>
                    <a:pt x="31687" y="8066"/>
                    <a:pt x="31902" y="7876"/>
                  </a:cubicBezTo>
                  <a:cubicBezTo>
                    <a:pt x="32010" y="7781"/>
                    <a:pt x="32115" y="7684"/>
                    <a:pt x="32221" y="7587"/>
                  </a:cubicBezTo>
                  <a:cubicBezTo>
                    <a:pt x="32321" y="7495"/>
                    <a:pt x="32421" y="7402"/>
                    <a:pt x="32521" y="7309"/>
                  </a:cubicBezTo>
                  <a:cubicBezTo>
                    <a:pt x="34107" y="5834"/>
                    <a:pt x="35659" y="4390"/>
                    <a:pt x="37170" y="2985"/>
                  </a:cubicBezTo>
                  <a:cubicBezTo>
                    <a:pt x="37359" y="2810"/>
                    <a:pt x="37547" y="2635"/>
                    <a:pt x="37734" y="2460"/>
                  </a:cubicBezTo>
                  <a:cubicBezTo>
                    <a:pt x="37828" y="2373"/>
                    <a:pt x="37922" y="2286"/>
                    <a:pt x="38015" y="2199"/>
                  </a:cubicBezTo>
                  <a:cubicBezTo>
                    <a:pt x="38085" y="2134"/>
                    <a:pt x="38085" y="2134"/>
                    <a:pt x="38085" y="2134"/>
                  </a:cubicBezTo>
                  <a:cubicBezTo>
                    <a:pt x="38141" y="2081"/>
                    <a:pt x="38141" y="2081"/>
                    <a:pt x="38141" y="2081"/>
                  </a:cubicBezTo>
                  <a:cubicBezTo>
                    <a:pt x="38173" y="2049"/>
                    <a:pt x="38173" y="2049"/>
                    <a:pt x="38173" y="2049"/>
                  </a:cubicBezTo>
                  <a:cubicBezTo>
                    <a:pt x="38205" y="2018"/>
                    <a:pt x="38246" y="1979"/>
                    <a:pt x="38280" y="1949"/>
                  </a:cubicBezTo>
                  <a:cubicBezTo>
                    <a:pt x="38315" y="1918"/>
                    <a:pt x="38348" y="1889"/>
                    <a:pt x="38376" y="1868"/>
                  </a:cubicBezTo>
                  <a:cubicBezTo>
                    <a:pt x="38401" y="1849"/>
                    <a:pt x="38422" y="1834"/>
                    <a:pt x="38428" y="1831"/>
                  </a:cubicBezTo>
                  <a:cubicBezTo>
                    <a:pt x="38428" y="1831"/>
                    <a:pt x="38429" y="1831"/>
                    <a:pt x="38428" y="1831"/>
                  </a:cubicBezTo>
                  <a:cubicBezTo>
                    <a:pt x="38430" y="1830"/>
                    <a:pt x="38430" y="1830"/>
                    <a:pt x="38430" y="1830"/>
                  </a:cubicBezTo>
                  <a:cubicBezTo>
                    <a:pt x="38433" y="1829"/>
                    <a:pt x="38437" y="1828"/>
                    <a:pt x="38445" y="1827"/>
                  </a:cubicBezTo>
                  <a:cubicBezTo>
                    <a:pt x="38449" y="1827"/>
                    <a:pt x="38453" y="1826"/>
                    <a:pt x="38459" y="1826"/>
                  </a:cubicBezTo>
                  <a:cubicBezTo>
                    <a:pt x="38522" y="1826"/>
                    <a:pt x="38522" y="1826"/>
                    <a:pt x="38522" y="1826"/>
                  </a:cubicBezTo>
                  <a:cubicBezTo>
                    <a:pt x="38711" y="1826"/>
                    <a:pt x="38711" y="1826"/>
                    <a:pt x="38711" y="1826"/>
                  </a:cubicBezTo>
                  <a:cubicBezTo>
                    <a:pt x="38836" y="1826"/>
                    <a:pt x="38962" y="1826"/>
                    <a:pt x="39087" y="1826"/>
                  </a:cubicBezTo>
                  <a:cubicBezTo>
                    <a:pt x="39588" y="1826"/>
                    <a:pt x="40086" y="1826"/>
                    <a:pt x="40579" y="1826"/>
                  </a:cubicBezTo>
                  <a:cubicBezTo>
                    <a:pt x="40826" y="1826"/>
                    <a:pt x="41071" y="1826"/>
                    <a:pt x="41316" y="1826"/>
                  </a:cubicBezTo>
                  <a:cubicBezTo>
                    <a:pt x="41408" y="1826"/>
                    <a:pt x="41408" y="1826"/>
                    <a:pt x="41408" y="1826"/>
                  </a:cubicBezTo>
                  <a:cubicBezTo>
                    <a:pt x="41483" y="1827"/>
                    <a:pt x="41483" y="1827"/>
                    <a:pt x="41483" y="1827"/>
                  </a:cubicBezTo>
                  <a:cubicBezTo>
                    <a:pt x="41574" y="1829"/>
                    <a:pt x="41574" y="1829"/>
                    <a:pt x="41574" y="1829"/>
                  </a:cubicBezTo>
                  <a:cubicBezTo>
                    <a:pt x="41641" y="1833"/>
                    <a:pt x="41641" y="1833"/>
                    <a:pt x="41641" y="1833"/>
                  </a:cubicBezTo>
                  <a:cubicBezTo>
                    <a:pt x="41706" y="1836"/>
                    <a:pt x="41706" y="1836"/>
                    <a:pt x="41706" y="1836"/>
                  </a:cubicBezTo>
                  <a:cubicBezTo>
                    <a:pt x="41778" y="1843"/>
                    <a:pt x="41778" y="1843"/>
                    <a:pt x="41778" y="1843"/>
                  </a:cubicBezTo>
                  <a:cubicBezTo>
                    <a:pt x="41826" y="1847"/>
                    <a:pt x="41873" y="1853"/>
                    <a:pt x="41919" y="1860"/>
                  </a:cubicBezTo>
                  <a:cubicBezTo>
                    <a:pt x="42106" y="1886"/>
                    <a:pt x="42281" y="1927"/>
                    <a:pt x="42441" y="1984"/>
                  </a:cubicBezTo>
                  <a:cubicBezTo>
                    <a:pt x="42601" y="2041"/>
                    <a:pt x="42745" y="2115"/>
                    <a:pt x="42875" y="2203"/>
                  </a:cubicBezTo>
                  <a:cubicBezTo>
                    <a:pt x="42941" y="2246"/>
                    <a:pt x="43002" y="2297"/>
                    <a:pt x="43062" y="2348"/>
                  </a:cubicBezTo>
                  <a:cubicBezTo>
                    <a:pt x="43135" y="2418"/>
                    <a:pt x="43135" y="2418"/>
                    <a:pt x="43135" y="2418"/>
                  </a:cubicBezTo>
                  <a:cubicBezTo>
                    <a:pt x="43196" y="2482"/>
                    <a:pt x="43196" y="2482"/>
                    <a:pt x="43196" y="2482"/>
                  </a:cubicBezTo>
                  <a:cubicBezTo>
                    <a:pt x="43205" y="2492"/>
                    <a:pt x="43220" y="2506"/>
                    <a:pt x="43223" y="2512"/>
                  </a:cubicBezTo>
                  <a:cubicBezTo>
                    <a:pt x="43237" y="2529"/>
                    <a:pt x="43237" y="2529"/>
                    <a:pt x="43237" y="2529"/>
                  </a:cubicBezTo>
                  <a:cubicBezTo>
                    <a:pt x="43246" y="2540"/>
                    <a:pt x="43255" y="2551"/>
                    <a:pt x="43265" y="2562"/>
                  </a:cubicBezTo>
                  <a:cubicBezTo>
                    <a:pt x="43275" y="2575"/>
                    <a:pt x="43288" y="2593"/>
                    <a:pt x="43299" y="2608"/>
                  </a:cubicBezTo>
                  <a:cubicBezTo>
                    <a:pt x="43324" y="2638"/>
                    <a:pt x="43345" y="2671"/>
                    <a:pt x="43366" y="2703"/>
                  </a:cubicBezTo>
                  <a:cubicBezTo>
                    <a:pt x="43410" y="2768"/>
                    <a:pt x="43447" y="2837"/>
                    <a:pt x="43483" y="2908"/>
                  </a:cubicBezTo>
                  <a:cubicBezTo>
                    <a:pt x="43621" y="3194"/>
                    <a:pt x="43697" y="3537"/>
                    <a:pt x="43718" y="3907"/>
                  </a:cubicBezTo>
                  <a:cubicBezTo>
                    <a:pt x="43721" y="3953"/>
                    <a:pt x="43724" y="3999"/>
                    <a:pt x="43724" y="4046"/>
                  </a:cubicBezTo>
                  <a:cubicBezTo>
                    <a:pt x="43724" y="4095"/>
                    <a:pt x="43726" y="4136"/>
                    <a:pt x="43726" y="4197"/>
                  </a:cubicBezTo>
                  <a:cubicBezTo>
                    <a:pt x="43726" y="4312"/>
                    <a:pt x="43726" y="4426"/>
                    <a:pt x="43726" y="4539"/>
                  </a:cubicBezTo>
                  <a:cubicBezTo>
                    <a:pt x="43726" y="4767"/>
                    <a:pt x="43726" y="4993"/>
                    <a:pt x="43726" y="5218"/>
                  </a:cubicBezTo>
                  <a:cubicBezTo>
                    <a:pt x="43726" y="8819"/>
                    <a:pt x="43726" y="12120"/>
                    <a:pt x="43726" y="15046"/>
                  </a:cubicBezTo>
                  <a:cubicBezTo>
                    <a:pt x="43726" y="16509"/>
                    <a:pt x="43726" y="17878"/>
                    <a:pt x="43726" y="19144"/>
                  </a:cubicBezTo>
                  <a:cubicBezTo>
                    <a:pt x="43726" y="19733"/>
                    <a:pt x="43726" y="20298"/>
                    <a:pt x="43726" y="20841"/>
                  </a:cubicBezTo>
                  <a:cubicBezTo>
                    <a:pt x="43673" y="20841"/>
                    <a:pt x="43620" y="20841"/>
                    <a:pt x="43568" y="20841"/>
                  </a:cubicBezTo>
                  <a:cubicBezTo>
                    <a:pt x="43049" y="20841"/>
                    <a:pt x="42558" y="20841"/>
                    <a:pt x="42095" y="20840"/>
                  </a:cubicBezTo>
                  <a:close/>
                  <a:moveTo>
                    <a:pt x="43724" y="21222"/>
                  </a:moveTo>
                  <a:cubicBezTo>
                    <a:pt x="43723" y="21219"/>
                    <a:pt x="43723" y="21216"/>
                    <a:pt x="43723" y="21213"/>
                  </a:cubicBezTo>
                  <a:cubicBezTo>
                    <a:pt x="43724" y="21206"/>
                    <a:pt x="43725" y="21204"/>
                    <a:pt x="43725" y="21203"/>
                  </a:cubicBezTo>
                  <a:cubicBezTo>
                    <a:pt x="43724" y="21209"/>
                    <a:pt x="43724" y="21209"/>
                    <a:pt x="43724" y="21209"/>
                  </a:cubicBezTo>
                  <a:cubicBezTo>
                    <a:pt x="43724" y="21218"/>
                    <a:pt x="43724" y="21229"/>
                    <a:pt x="43724" y="21222"/>
                  </a:cubicBezTo>
                  <a:close/>
                  <a:moveTo>
                    <a:pt x="44137" y="20841"/>
                  </a:moveTo>
                  <a:cubicBezTo>
                    <a:pt x="44139" y="20841"/>
                    <a:pt x="44142" y="20841"/>
                    <a:pt x="44143" y="20841"/>
                  </a:cubicBezTo>
                  <a:cubicBezTo>
                    <a:pt x="44143" y="20841"/>
                    <a:pt x="44148" y="20841"/>
                    <a:pt x="44145" y="20841"/>
                  </a:cubicBezTo>
                  <a:lnTo>
                    <a:pt x="44137" y="208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CC5516E9-2ACB-46E4-AF46-AD08919B5E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5851" y="6261100"/>
              <a:ext cx="3175" cy="3175"/>
            </a:xfrm>
            <a:custGeom>
              <a:avLst/>
              <a:gdLst>
                <a:gd name="T0" fmla="*/ 49 w 49"/>
                <a:gd name="T1" fmla="*/ 40 h 40"/>
                <a:gd name="T2" fmla="*/ 0 w 49"/>
                <a:gd name="T3" fmla="*/ 0 h 40"/>
                <a:gd name="T4" fmla="*/ 49 w 49"/>
                <a:gd name="T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40">
                  <a:moveTo>
                    <a:pt x="49" y="40"/>
                  </a:moveTo>
                  <a:cubicBezTo>
                    <a:pt x="33" y="27"/>
                    <a:pt x="17" y="13"/>
                    <a:pt x="0" y="0"/>
                  </a:cubicBezTo>
                  <a:cubicBezTo>
                    <a:pt x="17" y="13"/>
                    <a:pt x="33" y="26"/>
                    <a:pt x="49" y="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A3A1A8AE-C3F7-4E84-97A0-04DF55B6B7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9026" y="6264275"/>
              <a:ext cx="3175" cy="3175"/>
            </a:xfrm>
            <a:custGeom>
              <a:avLst/>
              <a:gdLst>
                <a:gd name="T0" fmla="*/ 68 w 68"/>
                <a:gd name="T1" fmla="*/ 55 h 55"/>
                <a:gd name="T2" fmla="*/ 0 w 68"/>
                <a:gd name="T3" fmla="*/ 0 h 55"/>
                <a:gd name="T4" fmla="*/ 68 w 68"/>
                <a:gd name="T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55">
                  <a:moveTo>
                    <a:pt x="68" y="55"/>
                  </a:moveTo>
                  <a:cubicBezTo>
                    <a:pt x="46" y="37"/>
                    <a:pt x="23" y="18"/>
                    <a:pt x="0" y="0"/>
                  </a:cubicBezTo>
                  <a:cubicBezTo>
                    <a:pt x="23" y="19"/>
                    <a:pt x="46" y="37"/>
                    <a:pt x="68" y="5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B9BB672F-69E3-47D7-A13E-CF96785B8E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7913" y="6256338"/>
              <a:ext cx="3175" cy="1588"/>
            </a:xfrm>
            <a:custGeom>
              <a:avLst/>
              <a:gdLst>
                <a:gd name="T0" fmla="*/ 35 w 35"/>
                <a:gd name="T1" fmla="*/ 29 h 29"/>
                <a:gd name="T2" fmla="*/ 0 w 35"/>
                <a:gd name="T3" fmla="*/ 0 h 29"/>
                <a:gd name="T4" fmla="*/ 35 w 35"/>
                <a:gd name="T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cubicBezTo>
                    <a:pt x="24" y="19"/>
                    <a:pt x="12" y="9"/>
                    <a:pt x="0" y="0"/>
                  </a:cubicBezTo>
                  <a:cubicBezTo>
                    <a:pt x="12" y="9"/>
                    <a:pt x="24" y="19"/>
                    <a:pt x="35" y="2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1A400DCA-56C2-435F-BB57-B5EA2F816A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6163" y="6226175"/>
              <a:ext cx="3175" cy="4763"/>
            </a:xfrm>
            <a:custGeom>
              <a:avLst/>
              <a:gdLst>
                <a:gd name="T0" fmla="*/ 12 w 84"/>
                <a:gd name="T1" fmla="*/ 11 h 75"/>
                <a:gd name="T2" fmla="*/ 84 w 84"/>
                <a:gd name="T3" fmla="*/ 75 h 75"/>
                <a:gd name="T4" fmla="*/ 0 w 84"/>
                <a:gd name="T5" fmla="*/ 0 h 75"/>
                <a:gd name="T6" fmla="*/ 12 w 84"/>
                <a:gd name="T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75">
                  <a:moveTo>
                    <a:pt x="12" y="11"/>
                  </a:moveTo>
                  <a:cubicBezTo>
                    <a:pt x="36" y="33"/>
                    <a:pt x="60" y="54"/>
                    <a:pt x="84" y="75"/>
                  </a:cubicBezTo>
                  <a:cubicBezTo>
                    <a:pt x="56" y="50"/>
                    <a:pt x="28" y="25"/>
                    <a:pt x="0" y="0"/>
                  </a:cubicBezTo>
                  <a:cubicBezTo>
                    <a:pt x="4" y="4"/>
                    <a:pt x="8" y="8"/>
                    <a:pt x="12" y="1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0CB63CB2-3217-42D7-BEA8-ECBE028B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1088" y="6257925"/>
              <a:ext cx="4763" cy="3175"/>
            </a:xfrm>
            <a:custGeom>
              <a:avLst/>
              <a:gdLst>
                <a:gd name="T0" fmla="*/ 99 w 99"/>
                <a:gd name="T1" fmla="*/ 82 h 82"/>
                <a:gd name="T2" fmla="*/ 0 w 99"/>
                <a:gd name="T3" fmla="*/ 0 h 82"/>
                <a:gd name="T4" fmla="*/ 99 w 99"/>
                <a:gd name="T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" h="82">
                  <a:moveTo>
                    <a:pt x="99" y="82"/>
                  </a:moveTo>
                  <a:cubicBezTo>
                    <a:pt x="67" y="55"/>
                    <a:pt x="34" y="28"/>
                    <a:pt x="0" y="0"/>
                  </a:cubicBezTo>
                  <a:cubicBezTo>
                    <a:pt x="34" y="28"/>
                    <a:pt x="67" y="55"/>
                    <a:pt x="99" y="8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FD697644-9F3B-4F8E-8597-4AAAB3227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8076" y="6280150"/>
              <a:ext cx="0" cy="0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3F4A4041-C3D7-4153-B29B-9496CC1632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6963" y="6270625"/>
              <a:ext cx="0" cy="0"/>
            </a:xfrm>
            <a:custGeom>
              <a:avLst/>
              <a:gdLst>
                <a:gd name="T0" fmla="*/ 6 w 13"/>
                <a:gd name="T1" fmla="*/ 5 h 10"/>
                <a:gd name="T2" fmla="*/ 13 w 13"/>
                <a:gd name="T3" fmla="*/ 10 h 10"/>
                <a:gd name="T4" fmla="*/ 0 w 13"/>
                <a:gd name="T5" fmla="*/ 0 h 10"/>
                <a:gd name="T6" fmla="*/ 6 w 13"/>
                <a:gd name="T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6" y="5"/>
                  </a:moveTo>
                  <a:cubicBezTo>
                    <a:pt x="9" y="7"/>
                    <a:pt x="11" y="8"/>
                    <a:pt x="13" y="10"/>
                  </a:cubicBezTo>
                  <a:cubicBezTo>
                    <a:pt x="9" y="7"/>
                    <a:pt x="5" y="3"/>
                    <a:pt x="0" y="0"/>
                  </a:cubicBezTo>
                  <a:cubicBezTo>
                    <a:pt x="2" y="1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23ABDE2B-A48B-4A71-A4D8-533E693C2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6963" y="6270625"/>
              <a:ext cx="11113" cy="9525"/>
            </a:xfrm>
            <a:custGeom>
              <a:avLst/>
              <a:gdLst>
                <a:gd name="T0" fmla="*/ 208 w 208"/>
                <a:gd name="T1" fmla="*/ 164 h 164"/>
                <a:gd name="T2" fmla="*/ 0 w 208"/>
                <a:gd name="T3" fmla="*/ 0 h 164"/>
                <a:gd name="T4" fmla="*/ 208 w 208"/>
                <a:gd name="T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8" h="164">
                  <a:moveTo>
                    <a:pt x="208" y="164"/>
                  </a:moveTo>
                  <a:cubicBezTo>
                    <a:pt x="144" y="113"/>
                    <a:pt x="74" y="59"/>
                    <a:pt x="0" y="0"/>
                  </a:cubicBezTo>
                  <a:cubicBezTo>
                    <a:pt x="73" y="58"/>
                    <a:pt x="143" y="114"/>
                    <a:pt x="208" y="16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7C454FA1-6DDB-4700-8B4B-EAD415A7F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2201" y="6267450"/>
              <a:ext cx="4763" cy="3175"/>
            </a:xfrm>
            <a:custGeom>
              <a:avLst/>
              <a:gdLst>
                <a:gd name="T0" fmla="*/ 73 w 73"/>
                <a:gd name="T1" fmla="*/ 59 h 59"/>
                <a:gd name="T2" fmla="*/ 0 w 73"/>
                <a:gd name="T3" fmla="*/ 0 h 59"/>
                <a:gd name="T4" fmla="*/ 73 w 73"/>
                <a:gd name="T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59">
                  <a:moveTo>
                    <a:pt x="73" y="59"/>
                  </a:moveTo>
                  <a:cubicBezTo>
                    <a:pt x="50" y="40"/>
                    <a:pt x="25" y="20"/>
                    <a:pt x="0" y="0"/>
                  </a:cubicBezTo>
                  <a:cubicBezTo>
                    <a:pt x="25" y="20"/>
                    <a:pt x="49" y="40"/>
                    <a:pt x="73" y="5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2939C76C-CC27-447F-87FB-BCAA2310DC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8863" y="6238875"/>
              <a:ext cx="3175" cy="1588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8"/>
                    <a:pt x="15" y="14"/>
                    <a:pt x="0" y="0"/>
                  </a:cubicBezTo>
                  <a:cubicBezTo>
                    <a:pt x="15" y="14"/>
                    <a:pt x="31" y="28"/>
                    <a:pt x="46" y="4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E7ECCCB6-9800-463B-9547-F03808D9CA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2513" y="6234113"/>
              <a:ext cx="6350" cy="4763"/>
            </a:xfrm>
            <a:custGeom>
              <a:avLst/>
              <a:gdLst>
                <a:gd name="T0" fmla="*/ 104 w 104"/>
                <a:gd name="T1" fmla="*/ 91 h 91"/>
                <a:gd name="T2" fmla="*/ 0 w 104"/>
                <a:gd name="T3" fmla="*/ 0 h 91"/>
                <a:gd name="T4" fmla="*/ 104 w 104"/>
                <a:gd name="T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91">
                  <a:moveTo>
                    <a:pt x="104" y="91"/>
                  </a:moveTo>
                  <a:cubicBezTo>
                    <a:pt x="69" y="61"/>
                    <a:pt x="35" y="31"/>
                    <a:pt x="0" y="0"/>
                  </a:cubicBezTo>
                  <a:cubicBezTo>
                    <a:pt x="34" y="31"/>
                    <a:pt x="69" y="61"/>
                    <a:pt x="104" y="9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A6D2687A-EEF8-4806-AE03-51B0768C3E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9338" y="6230938"/>
              <a:ext cx="3175" cy="3175"/>
            </a:xfrm>
            <a:custGeom>
              <a:avLst/>
              <a:gdLst>
                <a:gd name="T0" fmla="*/ 53 w 53"/>
                <a:gd name="T1" fmla="*/ 47 h 47"/>
                <a:gd name="T2" fmla="*/ 0 w 53"/>
                <a:gd name="T3" fmla="*/ 0 h 47"/>
                <a:gd name="T4" fmla="*/ 53 w 53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47">
                  <a:moveTo>
                    <a:pt x="53" y="47"/>
                  </a:moveTo>
                  <a:cubicBezTo>
                    <a:pt x="35" y="32"/>
                    <a:pt x="17" y="16"/>
                    <a:pt x="0" y="0"/>
                  </a:cubicBezTo>
                  <a:cubicBezTo>
                    <a:pt x="17" y="16"/>
                    <a:pt x="35" y="32"/>
                    <a:pt x="53" y="4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8D1A679C-0BDC-47D8-8058-B3342D207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5213" y="6245225"/>
              <a:ext cx="4763" cy="3175"/>
            </a:xfrm>
            <a:custGeom>
              <a:avLst/>
              <a:gdLst>
                <a:gd name="T0" fmla="*/ 46 w 75"/>
                <a:gd name="T1" fmla="*/ 39 h 64"/>
                <a:gd name="T2" fmla="*/ 75 w 75"/>
                <a:gd name="T3" fmla="*/ 64 h 64"/>
                <a:gd name="T4" fmla="*/ 0 w 75"/>
                <a:gd name="T5" fmla="*/ 0 h 64"/>
                <a:gd name="T6" fmla="*/ 46 w 75"/>
                <a:gd name="T7" fmla="*/ 3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4">
                  <a:moveTo>
                    <a:pt x="46" y="39"/>
                  </a:moveTo>
                  <a:cubicBezTo>
                    <a:pt x="56" y="48"/>
                    <a:pt x="65" y="56"/>
                    <a:pt x="75" y="64"/>
                  </a:cubicBezTo>
                  <a:cubicBezTo>
                    <a:pt x="50" y="43"/>
                    <a:pt x="25" y="21"/>
                    <a:pt x="0" y="0"/>
                  </a:cubicBezTo>
                  <a:cubicBezTo>
                    <a:pt x="15" y="13"/>
                    <a:pt x="31" y="26"/>
                    <a:pt x="46" y="3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10E79CA3-983B-432E-9DC2-A9938E6A5A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2038" y="6240463"/>
              <a:ext cx="3175" cy="4763"/>
            </a:xfrm>
            <a:custGeom>
              <a:avLst/>
              <a:gdLst>
                <a:gd name="T0" fmla="*/ 82 w 82"/>
                <a:gd name="T1" fmla="*/ 71 h 71"/>
                <a:gd name="T2" fmla="*/ 0 w 82"/>
                <a:gd name="T3" fmla="*/ 0 h 71"/>
                <a:gd name="T4" fmla="*/ 82 w 82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71">
                  <a:moveTo>
                    <a:pt x="82" y="71"/>
                  </a:moveTo>
                  <a:cubicBezTo>
                    <a:pt x="55" y="47"/>
                    <a:pt x="28" y="24"/>
                    <a:pt x="0" y="0"/>
                  </a:cubicBezTo>
                  <a:cubicBezTo>
                    <a:pt x="28" y="24"/>
                    <a:pt x="55" y="47"/>
                    <a:pt x="82" y="7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6CEE4CCB-B0A4-4ABC-B90E-0B23FBA1A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9976" y="6248400"/>
              <a:ext cx="3175" cy="1588"/>
            </a:xfrm>
            <a:custGeom>
              <a:avLst/>
              <a:gdLst>
                <a:gd name="T0" fmla="*/ 51 w 51"/>
                <a:gd name="T1" fmla="*/ 43 h 43"/>
                <a:gd name="T2" fmla="*/ 0 w 51"/>
                <a:gd name="T3" fmla="*/ 0 h 43"/>
                <a:gd name="T4" fmla="*/ 51 w 51"/>
                <a:gd name="T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43">
                  <a:moveTo>
                    <a:pt x="51" y="43"/>
                  </a:moveTo>
                  <a:cubicBezTo>
                    <a:pt x="34" y="29"/>
                    <a:pt x="17" y="15"/>
                    <a:pt x="0" y="0"/>
                  </a:cubicBezTo>
                  <a:cubicBezTo>
                    <a:pt x="17" y="15"/>
                    <a:pt x="34" y="29"/>
                    <a:pt x="51" y="4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6D4421DC-F7EB-49C6-A355-666567654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3151" y="6249988"/>
              <a:ext cx="4763" cy="6350"/>
            </a:xfrm>
            <a:custGeom>
              <a:avLst/>
              <a:gdLst>
                <a:gd name="T0" fmla="*/ 102 w 102"/>
                <a:gd name="T1" fmla="*/ 87 h 87"/>
                <a:gd name="T2" fmla="*/ 0 w 102"/>
                <a:gd name="T3" fmla="*/ 0 h 87"/>
                <a:gd name="T4" fmla="*/ 102 w 102"/>
                <a:gd name="T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2" h="87">
                  <a:moveTo>
                    <a:pt x="102" y="87"/>
                  </a:moveTo>
                  <a:cubicBezTo>
                    <a:pt x="68" y="58"/>
                    <a:pt x="34" y="29"/>
                    <a:pt x="0" y="0"/>
                  </a:cubicBezTo>
                  <a:cubicBezTo>
                    <a:pt x="34" y="29"/>
                    <a:pt x="69" y="58"/>
                    <a:pt x="102" y="8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549A5ACF-65B8-4B9E-A423-55E28F315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19426" y="5575300"/>
              <a:ext cx="11113" cy="9525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7FBBDF13-4D4A-4F5E-8B5E-76FF5F331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981700"/>
              <a:ext cx="0" cy="9525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0617EF13-C2DC-413E-BE00-3FC09B0AA7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4226" y="5657850"/>
              <a:ext cx="895350" cy="171450"/>
            </a:xfrm>
            <a:custGeom>
              <a:avLst/>
              <a:gdLst>
                <a:gd name="T0" fmla="*/ 722 w 16187"/>
                <a:gd name="T1" fmla="*/ 1273 h 3122"/>
                <a:gd name="T2" fmla="*/ 1635 w 16187"/>
                <a:gd name="T3" fmla="*/ 1742 h 3122"/>
                <a:gd name="T4" fmla="*/ 2553 w 16187"/>
                <a:gd name="T5" fmla="*/ 2175 h 3122"/>
                <a:gd name="T6" fmla="*/ 6038 w 16187"/>
                <a:gd name="T7" fmla="*/ 3082 h 3122"/>
                <a:gd name="T8" fmla="*/ 7869 w 16187"/>
                <a:gd name="T9" fmla="*/ 3090 h 3122"/>
                <a:gd name="T10" fmla="*/ 8155 w 16187"/>
                <a:gd name="T11" fmla="*/ 3068 h 3122"/>
                <a:gd name="T12" fmla="*/ 8997 w 16187"/>
                <a:gd name="T13" fmla="*/ 2989 h 3122"/>
                <a:gd name="T14" fmla="*/ 11921 w 16187"/>
                <a:gd name="T15" fmla="*/ 2457 h 3122"/>
                <a:gd name="T16" fmla="*/ 13139 w 16187"/>
                <a:gd name="T17" fmla="*/ 2035 h 3122"/>
                <a:gd name="T18" fmla="*/ 13282 w 16187"/>
                <a:gd name="T19" fmla="*/ 1976 h 3122"/>
                <a:gd name="T20" fmla="*/ 13293 w 16187"/>
                <a:gd name="T21" fmla="*/ 1971 h 3122"/>
                <a:gd name="T22" fmla="*/ 13289 w 16187"/>
                <a:gd name="T23" fmla="*/ 1973 h 3122"/>
                <a:gd name="T24" fmla="*/ 13306 w 16187"/>
                <a:gd name="T25" fmla="*/ 1966 h 3122"/>
                <a:gd name="T26" fmla="*/ 13603 w 16187"/>
                <a:gd name="T27" fmla="*/ 1834 h 3122"/>
                <a:gd name="T28" fmla="*/ 15410 w 16187"/>
                <a:gd name="T29" fmla="*/ 943 h 3122"/>
                <a:gd name="T30" fmla="*/ 15782 w 16187"/>
                <a:gd name="T31" fmla="*/ 740 h 3122"/>
                <a:gd name="T32" fmla="*/ 16151 w 16187"/>
                <a:gd name="T33" fmla="*/ 45 h 3122"/>
                <a:gd name="T34" fmla="*/ 15002 w 16187"/>
                <a:gd name="T35" fmla="*/ 753 h 3122"/>
                <a:gd name="T36" fmla="*/ 13460 w 16187"/>
                <a:gd name="T37" fmla="*/ 1606 h 3122"/>
                <a:gd name="T38" fmla="*/ 13213 w 16187"/>
                <a:gd name="T39" fmla="*/ 1726 h 3122"/>
                <a:gd name="T40" fmla="*/ 13055 w 16187"/>
                <a:gd name="T41" fmla="*/ 1798 h 3122"/>
                <a:gd name="T42" fmla="*/ 11247 w 16187"/>
                <a:gd name="T43" fmla="*/ 2388 h 3122"/>
                <a:gd name="T44" fmla="*/ 9321 w 16187"/>
                <a:gd name="T45" fmla="*/ 2636 h 3122"/>
                <a:gd name="T46" fmla="*/ 8938 w 16187"/>
                <a:gd name="T47" fmla="*/ 2650 h 3122"/>
                <a:gd name="T48" fmla="*/ 8667 w 16187"/>
                <a:gd name="T49" fmla="*/ 2749 h 3122"/>
                <a:gd name="T50" fmla="*/ 8623 w 16187"/>
                <a:gd name="T51" fmla="*/ 2764 h 3122"/>
                <a:gd name="T52" fmla="*/ 8621 w 16187"/>
                <a:gd name="T53" fmla="*/ 2764 h 3122"/>
                <a:gd name="T54" fmla="*/ 8630 w 16187"/>
                <a:gd name="T55" fmla="*/ 2764 h 3122"/>
                <a:gd name="T56" fmla="*/ 8623 w 16187"/>
                <a:gd name="T57" fmla="*/ 2766 h 3122"/>
                <a:gd name="T58" fmla="*/ 8529 w 16187"/>
                <a:gd name="T59" fmla="*/ 2794 h 3122"/>
                <a:gd name="T60" fmla="*/ 7372 w 16187"/>
                <a:gd name="T61" fmla="*/ 2944 h 3122"/>
                <a:gd name="T62" fmla="*/ 7088 w 16187"/>
                <a:gd name="T63" fmla="*/ 2950 h 3122"/>
                <a:gd name="T64" fmla="*/ 5279 w 16187"/>
                <a:gd name="T65" fmla="*/ 2820 h 3122"/>
                <a:gd name="T66" fmla="*/ 1886 w 16187"/>
                <a:gd name="T67" fmla="*/ 1679 h 3122"/>
                <a:gd name="T68" fmla="*/ 930 w 16187"/>
                <a:gd name="T69" fmla="*/ 1161 h 3122"/>
                <a:gd name="T70" fmla="*/ 110 w 16187"/>
                <a:gd name="T71" fmla="*/ 654 h 3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87" h="3122">
                  <a:moveTo>
                    <a:pt x="355" y="910"/>
                  </a:moveTo>
                  <a:cubicBezTo>
                    <a:pt x="535" y="1094"/>
                    <a:pt x="722" y="1273"/>
                    <a:pt x="722" y="1273"/>
                  </a:cubicBezTo>
                  <a:cubicBezTo>
                    <a:pt x="954" y="1388"/>
                    <a:pt x="1236" y="1534"/>
                    <a:pt x="1565" y="1706"/>
                  </a:cubicBezTo>
                  <a:cubicBezTo>
                    <a:pt x="1565" y="1706"/>
                    <a:pt x="1590" y="1719"/>
                    <a:pt x="1635" y="1742"/>
                  </a:cubicBezTo>
                  <a:cubicBezTo>
                    <a:pt x="1681" y="1766"/>
                    <a:pt x="1748" y="1801"/>
                    <a:pt x="1834" y="1843"/>
                  </a:cubicBezTo>
                  <a:cubicBezTo>
                    <a:pt x="2006" y="1928"/>
                    <a:pt x="2253" y="2045"/>
                    <a:pt x="2553" y="2175"/>
                  </a:cubicBezTo>
                  <a:cubicBezTo>
                    <a:pt x="3152" y="2430"/>
                    <a:pt x="3968" y="2742"/>
                    <a:pt x="4806" y="2908"/>
                  </a:cubicBezTo>
                  <a:cubicBezTo>
                    <a:pt x="5223" y="2994"/>
                    <a:pt x="5644" y="3050"/>
                    <a:pt x="6038" y="3082"/>
                  </a:cubicBezTo>
                  <a:cubicBezTo>
                    <a:pt x="6432" y="3115"/>
                    <a:pt x="6799" y="3122"/>
                    <a:pt x="7113" y="3119"/>
                  </a:cubicBezTo>
                  <a:cubicBezTo>
                    <a:pt x="7427" y="3117"/>
                    <a:pt x="7688" y="3101"/>
                    <a:pt x="7869" y="3090"/>
                  </a:cubicBezTo>
                  <a:cubicBezTo>
                    <a:pt x="7960" y="3085"/>
                    <a:pt x="8032" y="3078"/>
                    <a:pt x="8081" y="3074"/>
                  </a:cubicBezTo>
                  <a:cubicBezTo>
                    <a:pt x="8129" y="3070"/>
                    <a:pt x="8155" y="3068"/>
                    <a:pt x="8155" y="3068"/>
                  </a:cubicBezTo>
                  <a:cubicBezTo>
                    <a:pt x="8290" y="3056"/>
                    <a:pt x="8425" y="3044"/>
                    <a:pt x="8560" y="3032"/>
                  </a:cubicBezTo>
                  <a:cubicBezTo>
                    <a:pt x="8705" y="3017"/>
                    <a:pt x="8851" y="3003"/>
                    <a:pt x="8997" y="2989"/>
                  </a:cubicBezTo>
                  <a:cubicBezTo>
                    <a:pt x="9284" y="2957"/>
                    <a:pt x="9597" y="2921"/>
                    <a:pt x="9918" y="2876"/>
                  </a:cubicBezTo>
                  <a:cubicBezTo>
                    <a:pt x="10558" y="2781"/>
                    <a:pt x="11241" y="2654"/>
                    <a:pt x="11921" y="2457"/>
                  </a:cubicBezTo>
                  <a:cubicBezTo>
                    <a:pt x="12261" y="2359"/>
                    <a:pt x="12590" y="2249"/>
                    <a:pt x="12905" y="2128"/>
                  </a:cubicBezTo>
                  <a:cubicBezTo>
                    <a:pt x="12984" y="2098"/>
                    <a:pt x="13062" y="2068"/>
                    <a:pt x="13139" y="2035"/>
                  </a:cubicBezTo>
                  <a:cubicBezTo>
                    <a:pt x="13254" y="1987"/>
                    <a:pt x="13254" y="1987"/>
                    <a:pt x="13254" y="1987"/>
                  </a:cubicBezTo>
                  <a:cubicBezTo>
                    <a:pt x="13282" y="1976"/>
                    <a:pt x="13282" y="1976"/>
                    <a:pt x="13282" y="1976"/>
                  </a:cubicBezTo>
                  <a:cubicBezTo>
                    <a:pt x="13289" y="1973"/>
                    <a:pt x="13289" y="1973"/>
                    <a:pt x="13289" y="1973"/>
                  </a:cubicBezTo>
                  <a:cubicBezTo>
                    <a:pt x="13293" y="1971"/>
                    <a:pt x="13293" y="1971"/>
                    <a:pt x="13293" y="1971"/>
                  </a:cubicBezTo>
                  <a:cubicBezTo>
                    <a:pt x="13294" y="1971"/>
                    <a:pt x="13294" y="1971"/>
                    <a:pt x="13294" y="1971"/>
                  </a:cubicBezTo>
                  <a:cubicBezTo>
                    <a:pt x="13283" y="1976"/>
                    <a:pt x="13291" y="1972"/>
                    <a:pt x="13289" y="1973"/>
                  </a:cubicBezTo>
                  <a:cubicBezTo>
                    <a:pt x="13291" y="1972"/>
                    <a:pt x="13291" y="1972"/>
                    <a:pt x="13291" y="1972"/>
                  </a:cubicBezTo>
                  <a:cubicBezTo>
                    <a:pt x="13306" y="1966"/>
                    <a:pt x="13306" y="1966"/>
                    <a:pt x="13306" y="1966"/>
                  </a:cubicBezTo>
                  <a:cubicBezTo>
                    <a:pt x="13367" y="1939"/>
                    <a:pt x="13367" y="1939"/>
                    <a:pt x="13367" y="1939"/>
                  </a:cubicBezTo>
                  <a:cubicBezTo>
                    <a:pt x="13446" y="1904"/>
                    <a:pt x="13525" y="1869"/>
                    <a:pt x="13603" y="1834"/>
                  </a:cubicBezTo>
                  <a:cubicBezTo>
                    <a:pt x="13677" y="1801"/>
                    <a:pt x="13750" y="1768"/>
                    <a:pt x="13823" y="1735"/>
                  </a:cubicBezTo>
                  <a:cubicBezTo>
                    <a:pt x="14414" y="1462"/>
                    <a:pt x="14949" y="1187"/>
                    <a:pt x="15410" y="943"/>
                  </a:cubicBezTo>
                  <a:cubicBezTo>
                    <a:pt x="15410" y="943"/>
                    <a:pt x="15503" y="893"/>
                    <a:pt x="15597" y="843"/>
                  </a:cubicBezTo>
                  <a:cubicBezTo>
                    <a:pt x="15689" y="791"/>
                    <a:pt x="15782" y="740"/>
                    <a:pt x="15782" y="740"/>
                  </a:cubicBezTo>
                  <a:cubicBezTo>
                    <a:pt x="15943" y="561"/>
                    <a:pt x="16053" y="409"/>
                    <a:pt x="16114" y="291"/>
                  </a:cubicBezTo>
                  <a:cubicBezTo>
                    <a:pt x="16176" y="174"/>
                    <a:pt x="16187" y="90"/>
                    <a:pt x="16151" y="45"/>
                  </a:cubicBezTo>
                  <a:cubicBezTo>
                    <a:pt x="16123" y="11"/>
                    <a:pt x="16070" y="0"/>
                    <a:pt x="15990" y="9"/>
                  </a:cubicBezTo>
                  <a:cubicBezTo>
                    <a:pt x="15684" y="268"/>
                    <a:pt x="15353" y="519"/>
                    <a:pt x="15002" y="753"/>
                  </a:cubicBezTo>
                  <a:cubicBezTo>
                    <a:pt x="14746" y="923"/>
                    <a:pt x="14488" y="1082"/>
                    <a:pt x="14227" y="1224"/>
                  </a:cubicBezTo>
                  <a:cubicBezTo>
                    <a:pt x="13969" y="1366"/>
                    <a:pt x="13704" y="1498"/>
                    <a:pt x="13460" y="1606"/>
                  </a:cubicBezTo>
                  <a:cubicBezTo>
                    <a:pt x="13460" y="1606"/>
                    <a:pt x="13388" y="1641"/>
                    <a:pt x="13263" y="1701"/>
                  </a:cubicBezTo>
                  <a:cubicBezTo>
                    <a:pt x="13247" y="1709"/>
                    <a:pt x="13231" y="1717"/>
                    <a:pt x="13213" y="1726"/>
                  </a:cubicBezTo>
                  <a:cubicBezTo>
                    <a:pt x="13199" y="1732"/>
                    <a:pt x="13184" y="1740"/>
                    <a:pt x="13168" y="1747"/>
                  </a:cubicBezTo>
                  <a:cubicBezTo>
                    <a:pt x="13133" y="1763"/>
                    <a:pt x="13095" y="1780"/>
                    <a:pt x="13055" y="1798"/>
                  </a:cubicBezTo>
                  <a:cubicBezTo>
                    <a:pt x="12975" y="1835"/>
                    <a:pt x="12883" y="1874"/>
                    <a:pt x="12783" y="1915"/>
                  </a:cubicBezTo>
                  <a:cubicBezTo>
                    <a:pt x="12381" y="2082"/>
                    <a:pt x="11824" y="2265"/>
                    <a:pt x="11247" y="2388"/>
                  </a:cubicBezTo>
                  <a:cubicBezTo>
                    <a:pt x="10671" y="2517"/>
                    <a:pt x="10076" y="2585"/>
                    <a:pt x="9628" y="2618"/>
                  </a:cubicBezTo>
                  <a:cubicBezTo>
                    <a:pt x="9515" y="2625"/>
                    <a:pt x="9412" y="2631"/>
                    <a:pt x="9321" y="2636"/>
                  </a:cubicBezTo>
                  <a:cubicBezTo>
                    <a:pt x="9230" y="2641"/>
                    <a:pt x="9154" y="2642"/>
                    <a:pt x="9089" y="2645"/>
                  </a:cubicBezTo>
                  <a:cubicBezTo>
                    <a:pt x="9024" y="2647"/>
                    <a:pt x="8978" y="2650"/>
                    <a:pt x="8938" y="2650"/>
                  </a:cubicBezTo>
                  <a:cubicBezTo>
                    <a:pt x="8901" y="2650"/>
                    <a:pt x="8881" y="2650"/>
                    <a:pt x="8881" y="2650"/>
                  </a:cubicBezTo>
                  <a:cubicBezTo>
                    <a:pt x="8830" y="2684"/>
                    <a:pt x="8759" y="2716"/>
                    <a:pt x="8667" y="2749"/>
                  </a:cubicBezTo>
                  <a:cubicBezTo>
                    <a:pt x="8632" y="2761"/>
                    <a:pt x="8632" y="2761"/>
                    <a:pt x="8632" y="2761"/>
                  </a:cubicBezTo>
                  <a:cubicBezTo>
                    <a:pt x="8623" y="2764"/>
                    <a:pt x="8623" y="2764"/>
                    <a:pt x="8623" y="2764"/>
                  </a:cubicBezTo>
                  <a:cubicBezTo>
                    <a:pt x="8622" y="2764"/>
                    <a:pt x="8622" y="2764"/>
                    <a:pt x="8622" y="2764"/>
                  </a:cubicBezTo>
                  <a:cubicBezTo>
                    <a:pt x="8621" y="2764"/>
                    <a:pt x="8621" y="2764"/>
                    <a:pt x="8621" y="2764"/>
                  </a:cubicBezTo>
                  <a:cubicBezTo>
                    <a:pt x="8639" y="2764"/>
                    <a:pt x="8626" y="2764"/>
                    <a:pt x="8630" y="2764"/>
                  </a:cubicBezTo>
                  <a:cubicBezTo>
                    <a:pt x="8630" y="2764"/>
                    <a:pt x="8630" y="2764"/>
                    <a:pt x="8630" y="2764"/>
                  </a:cubicBezTo>
                  <a:cubicBezTo>
                    <a:pt x="8627" y="2765"/>
                    <a:pt x="8627" y="2765"/>
                    <a:pt x="8627" y="2765"/>
                  </a:cubicBezTo>
                  <a:cubicBezTo>
                    <a:pt x="8623" y="2766"/>
                    <a:pt x="8623" y="2766"/>
                    <a:pt x="8623" y="2766"/>
                  </a:cubicBezTo>
                  <a:cubicBezTo>
                    <a:pt x="8605" y="2772"/>
                    <a:pt x="8605" y="2772"/>
                    <a:pt x="8605" y="2772"/>
                  </a:cubicBezTo>
                  <a:cubicBezTo>
                    <a:pt x="8529" y="2794"/>
                    <a:pt x="8529" y="2794"/>
                    <a:pt x="8529" y="2794"/>
                  </a:cubicBezTo>
                  <a:cubicBezTo>
                    <a:pt x="8475" y="2808"/>
                    <a:pt x="8417" y="2823"/>
                    <a:pt x="8354" y="2837"/>
                  </a:cubicBezTo>
                  <a:cubicBezTo>
                    <a:pt x="8101" y="2889"/>
                    <a:pt x="7771" y="2934"/>
                    <a:pt x="7372" y="2944"/>
                  </a:cubicBezTo>
                  <a:cubicBezTo>
                    <a:pt x="7372" y="2944"/>
                    <a:pt x="7346" y="2945"/>
                    <a:pt x="7298" y="2947"/>
                  </a:cubicBezTo>
                  <a:cubicBezTo>
                    <a:pt x="7250" y="2947"/>
                    <a:pt x="7179" y="2948"/>
                    <a:pt x="7088" y="2950"/>
                  </a:cubicBezTo>
                  <a:cubicBezTo>
                    <a:pt x="6908" y="2952"/>
                    <a:pt x="6649" y="2948"/>
                    <a:pt x="6339" y="2932"/>
                  </a:cubicBezTo>
                  <a:cubicBezTo>
                    <a:pt x="6028" y="2915"/>
                    <a:pt x="5666" y="2881"/>
                    <a:pt x="5279" y="2820"/>
                  </a:cubicBezTo>
                  <a:cubicBezTo>
                    <a:pt x="4894" y="2760"/>
                    <a:pt x="4480" y="2670"/>
                    <a:pt x="4078" y="2553"/>
                  </a:cubicBezTo>
                  <a:cubicBezTo>
                    <a:pt x="3262" y="2309"/>
                    <a:pt x="2468" y="1969"/>
                    <a:pt x="1886" y="1679"/>
                  </a:cubicBezTo>
                  <a:cubicBezTo>
                    <a:pt x="1595" y="1533"/>
                    <a:pt x="1356" y="1405"/>
                    <a:pt x="1190" y="1310"/>
                  </a:cubicBezTo>
                  <a:cubicBezTo>
                    <a:pt x="1023" y="1217"/>
                    <a:pt x="930" y="1161"/>
                    <a:pt x="930" y="1161"/>
                  </a:cubicBezTo>
                  <a:cubicBezTo>
                    <a:pt x="636" y="988"/>
                    <a:pt x="322" y="780"/>
                    <a:pt x="0" y="537"/>
                  </a:cubicBezTo>
                  <a:cubicBezTo>
                    <a:pt x="0" y="537"/>
                    <a:pt x="44" y="584"/>
                    <a:pt x="110" y="654"/>
                  </a:cubicBezTo>
                  <a:cubicBezTo>
                    <a:pt x="175" y="725"/>
                    <a:pt x="264" y="818"/>
                    <a:pt x="355" y="9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094417E2-FD63-4BD0-B65E-C98953D15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4763" y="5789613"/>
              <a:ext cx="98425" cy="657225"/>
            </a:xfrm>
            <a:custGeom>
              <a:avLst/>
              <a:gdLst>
                <a:gd name="T0" fmla="*/ 1571 w 1766"/>
                <a:gd name="T1" fmla="*/ 1462 h 11882"/>
                <a:gd name="T2" fmla="*/ 988 w 1766"/>
                <a:gd name="T3" fmla="*/ 6503 h 11882"/>
                <a:gd name="T4" fmla="*/ 639 w 1766"/>
                <a:gd name="T5" fmla="*/ 7755 h 11882"/>
                <a:gd name="T6" fmla="*/ 289 w 1766"/>
                <a:gd name="T7" fmla="*/ 6503 h 11882"/>
                <a:gd name="T8" fmla="*/ 23 w 1766"/>
                <a:gd name="T9" fmla="*/ 4204 h 11882"/>
                <a:gd name="T10" fmla="*/ 0 w 1766"/>
                <a:gd name="T11" fmla="*/ 4878 h 11882"/>
                <a:gd name="T12" fmla="*/ 137 w 1766"/>
                <a:gd name="T13" fmla="*/ 6066 h 11882"/>
                <a:gd name="T14" fmla="*/ 280 w 1766"/>
                <a:gd name="T15" fmla="*/ 7905 h 11882"/>
                <a:gd name="T16" fmla="*/ 317 w 1766"/>
                <a:gd name="T17" fmla="*/ 8962 h 11882"/>
                <a:gd name="T18" fmla="*/ 342 w 1766"/>
                <a:gd name="T19" fmla="*/ 9553 h 11882"/>
                <a:gd name="T20" fmla="*/ 437 w 1766"/>
                <a:gd name="T21" fmla="*/ 10183 h 11882"/>
                <a:gd name="T22" fmla="*/ 490 w 1766"/>
                <a:gd name="T23" fmla="*/ 10399 h 11882"/>
                <a:gd name="T24" fmla="*/ 556 w 1766"/>
                <a:gd name="T25" fmla="*/ 10614 h 11882"/>
                <a:gd name="T26" fmla="*/ 585 w 1766"/>
                <a:gd name="T27" fmla="*/ 10678 h 11882"/>
                <a:gd name="T28" fmla="*/ 672 w 1766"/>
                <a:gd name="T29" fmla="*/ 10846 h 11882"/>
                <a:gd name="T30" fmla="*/ 989 w 1766"/>
                <a:gd name="T31" fmla="*/ 11320 h 11882"/>
                <a:gd name="T32" fmla="*/ 1189 w 1766"/>
                <a:gd name="T33" fmla="*/ 11546 h 11882"/>
                <a:gd name="T34" fmla="*/ 1295 w 1766"/>
                <a:gd name="T35" fmla="*/ 11649 h 11882"/>
                <a:gd name="T36" fmla="*/ 1319 w 1766"/>
                <a:gd name="T37" fmla="*/ 11673 h 11882"/>
                <a:gd name="T38" fmla="*/ 1340 w 1766"/>
                <a:gd name="T39" fmla="*/ 11691 h 11882"/>
                <a:gd name="T40" fmla="*/ 1380 w 1766"/>
                <a:gd name="T41" fmla="*/ 11724 h 11882"/>
                <a:gd name="T42" fmla="*/ 1460 w 1766"/>
                <a:gd name="T43" fmla="*/ 11791 h 11882"/>
                <a:gd name="T44" fmla="*/ 1523 w 1766"/>
                <a:gd name="T45" fmla="*/ 11840 h 11882"/>
                <a:gd name="T46" fmla="*/ 1578 w 1766"/>
                <a:gd name="T47" fmla="*/ 11882 h 11882"/>
                <a:gd name="T48" fmla="*/ 1540 w 1766"/>
                <a:gd name="T49" fmla="*/ 11839 h 11882"/>
                <a:gd name="T50" fmla="*/ 1496 w 1766"/>
                <a:gd name="T51" fmla="*/ 11787 h 11882"/>
                <a:gd name="T52" fmla="*/ 1482 w 1766"/>
                <a:gd name="T53" fmla="*/ 11771 h 11882"/>
                <a:gd name="T54" fmla="*/ 1475 w 1766"/>
                <a:gd name="T55" fmla="*/ 11762 h 11882"/>
                <a:gd name="T56" fmla="*/ 1471 w 1766"/>
                <a:gd name="T57" fmla="*/ 11758 h 11882"/>
                <a:gd name="T58" fmla="*/ 1469 w 1766"/>
                <a:gd name="T59" fmla="*/ 11756 h 11882"/>
                <a:gd name="T60" fmla="*/ 1468 w 1766"/>
                <a:gd name="T61" fmla="*/ 11755 h 11882"/>
                <a:gd name="T62" fmla="*/ 1461 w 1766"/>
                <a:gd name="T63" fmla="*/ 11747 h 11882"/>
                <a:gd name="T64" fmla="*/ 1461 w 1766"/>
                <a:gd name="T65" fmla="*/ 11747 h 11882"/>
                <a:gd name="T66" fmla="*/ 1435 w 1766"/>
                <a:gd name="T67" fmla="*/ 11712 h 11882"/>
                <a:gd name="T68" fmla="*/ 1373 w 1766"/>
                <a:gd name="T69" fmla="*/ 11630 h 11882"/>
                <a:gd name="T70" fmla="*/ 1293 w 1766"/>
                <a:gd name="T71" fmla="*/ 11515 h 11882"/>
                <a:gd name="T72" fmla="*/ 1130 w 1766"/>
                <a:gd name="T73" fmla="*/ 11237 h 11882"/>
                <a:gd name="T74" fmla="*/ 864 w 1766"/>
                <a:gd name="T75" fmla="*/ 10504 h 11882"/>
                <a:gd name="T76" fmla="*/ 777 w 1766"/>
                <a:gd name="T77" fmla="*/ 9649 h 11882"/>
                <a:gd name="T78" fmla="*/ 846 w 1766"/>
                <a:gd name="T79" fmla="*/ 8817 h 11882"/>
                <a:gd name="T80" fmla="*/ 928 w 1766"/>
                <a:gd name="T81" fmla="*/ 8099 h 11882"/>
                <a:gd name="T82" fmla="*/ 1009 w 1766"/>
                <a:gd name="T83" fmla="*/ 7400 h 11882"/>
                <a:gd name="T84" fmla="*/ 1473 w 1766"/>
                <a:gd name="T85" fmla="*/ 5738 h 11882"/>
                <a:gd name="T86" fmla="*/ 1766 w 1766"/>
                <a:gd name="T87" fmla="*/ 6331 h 11882"/>
                <a:gd name="T88" fmla="*/ 1766 w 1766"/>
                <a:gd name="T89" fmla="*/ 723 h 11882"/>
                <a:gd name="T90" fmla="*/ 1682 w 1766"/>
                <a:gd name="T91" fmla="*/ 0 h 11882"/>
                <a:gd name="T92" fmla="*/ 1571 w 1766"/>
                <a:gd name="T93" fmla="*/ 1462 h 11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66" h="11882">
                  <a:moveTo>
                    <a:pt x="1571" y="1462"/>
                  </a:moveTo>
                  <a:cubicBezTo>
                    <a:pt x="988" y="6503"/>
                    <a:pt x="988" y="6503"/>
                    <a:pt x="988" y="6503"/>
                  </a:cubicBezTo>
                  <a:cubicBezTo>
                    <a:pt x="895" y="7311"/>
                    <a:pt x="771" y="7755"/>
                    <a:pt x="639" y="7755"/>
                  </a:cubicBezTo>
                  <a:cubicBezTo>
                    <a:pt x="507" y="7755"/>
                    <a:pt x="383" y="7311"/>
                    <a:pt x="289" y="6503"/>
                  </a:cubicBezTo>
                  <a:cubicBezTo>
                    <a:pt x="23" y="4204"/>
                    <a:pt x="23" y="4204"/>
                    <a:pt x="23" y="4204"/>
                  </a:cubicBezTo>
                  <a:cubicBezTo>
                    <a:pt x="13" y="4422"/>
                    <a:pt x="6" y="4647"/>
                    <a:pt x="0" y="4878"/>
                  </a:cubicBezTo>
                  <a:cubicBezTo>
                    <a:pt x="137" y="6066"/>
                    <a:pt x="137" y="6066"/>
                    <a:pt x="137" y="6066"/>
                  </a:cubicBezTo>
                  <a:cubicBezTo>
                    <a:pt x="199" y="6602"/>
                    <a:pt x="247" y="7226"/>
                    <a:pt x="280" y="7905"/>
                  </a:cubicBezTo>
                  <a:cubicBezTo>
                    <a:pt x="296" y="8245"/>
                    <a:pt x="309" y="8598"/>
                    <a:pt x="317" y="8962"/>
                  </a:cubicBezTo>
                  <a:cubicBezTo>
                    <a:pt x="320" y="9135"/>
                    <a:pt x="325" y="9349"/>
                    <a:pt x="342" y="9553"/>
                  </a:cubicBezTo>
                  <a:cubicBezTo>
                    <a:pt x="360" y="9760"/>
                    <a:pt x="391" y="9971"/>
                    <a:pt x="437" y="10183"/>
                  </a:cubicBezTo>
                  <a:cubicBezTo>
                    <a:pt x="453" y="10255"/>
                    <a:pt x="469" y="10327"/>
                    <a:pt x="490" y="10399"/>
                  </a:cubicBezTo>
                  <a:cubicBezTo>
                    <a:pt x="509" y="10471"/>
                    <a:pt x="532" y="10543"/>
                    <a:pt x="556" y="10614"/>
                  </a:cubicBezTo>
                  <a:cubicBezTo>
                    <a:pt x="556" y="10614"/>
                    <a:pt x="566" y="10637"/>
                    <a:pt x="585" y="10678"/>
                  </a:cubicBezTo>
                  <a:cubicBezTo>
                    <a:pt x="606" y="10719"/>
                    <a:pt x="635" y="10777"/>
                    <a:pt x="672" y="10846"/>
                  </a:cubicBezTo>
                  <a:cubicBezTo>
                    <a:pt x="747" y="10982"/>
                    <a:pt x="859" y="11158"/>
                    <a:pt x="989" y="11320"/>
                  </a:cubicBezTo>
                  <a:cubicBezTo>
                    <a:pt x="1053" y="11401"/>
                    <a:pt x="1123" y="11476"/>
                    <a:pt x="1189" y="11546"/>
                  </a:cubicBezTo>
                  <a:cubicBezTo>
                    <a:pt x="1226" y="11582"/>
                    <a:pt x="1261" y="11616"/>
                    <a:pt x="1295" y="11649"/>
                  </a:cubicBezTo>
                  <a:cubicBezTo>
                    <a:pt x="1303" y="11657"/>
                    <a:pt x="1311" y="11665"/>
                    <a:pt x="1319" y="11673"/>
                  </a:cubicBezTo>
                  <a:cubicBezTo>
                    <a:pt x="1326" y="11679"/>
                    <a:pt x="1333" y="11685"/>
                    <a:pt x="1340" y="11691"/>
                  </a:cubicBezTo>
                  <a:cubicBezTo>
                    <a:pt x="1354" y="11702"/>
                    <a:pt x="1367" y="11713"/>
                    <a:pt x="1380" y="11724"/>
                  </a:cubicBezTo>
                  <a:cubicBezTo>
                    <a:pt x="1409" y="11749"/>
                    <a:pt x="1436" y="11771"/>
                    <a:pt x="1460" y="11791"/>
                  </a:cubicBezTo>
                  <a:cubicBezTo>
                    <a:pt x="1484" y="11810"/>
                    <a:pt x="1505" y="11826"/>
                    <a:pt x="1523" y="11840"/>
                  </a:cubicBezTo>
                  <a:cubicBezTo>
                    <a:pt x="1558" y="11867"/>
                    <a:pt x="1578" y="11882"/>
                    <a:pt x="1578" y="11882"/>
                  </a:cubicBezTo>
                  <a:cubicBezTo>
                    <a:pt x="1578" y="11882"/>
                    <a:pt x="1565" y="11867"/>
                    <a:pt x="1540" y="11839"/>
                  </a:cubicBezTo>
                  <a:cubicBezTo>
                    <a:pt x="1528" y="11824"/>
                    <a:pt x="1513" y="11807"/>
                    <a:pt x="1496" y="11787"/>
                  </a:cubicBezTo>
                  <a:cubicBezTo>
                    <a:pt x="1491" y="11782"/>
                    <a:pt x="1487" y="11776"/>
                    <a:pt x="1482" y="11771"/>
                  </a:cubicBezTo>
                  <a:cubicBezTo>
                    <a:pt x="1475" y="11762"/>
                    <a:pt x="1475" y="11762"/>
                    <a:pt x="1475" y="11762"/>
                  </a:cubicBezTo>
                  <a:cubicBezTo>
                    <a:pt x="1471" y="11758"/>
                    <a:pt x="1471" y="11758"/>
                    <a:pt x="1471" y="11758"/>
                  </a:cubicBezTo>
                  <a:cubicBezTo>
                    <a:pt x="1469" y="11756"/>
                    <a:pt x="1469" y="11756"/>
                    <a:pt x="1469" y="11756"/>
                  </a:cubicBezTo>
                  <a:cubicBezTo>
                    <a:pt x="1468" y="11755"/>
                    <a:pt x="1468" y="11755"/>
                    <a:pt x="1468" y="11755"/>
                  </a:cubicBezTo>
                  <a:cubicBezTo>
                    <a:pt x="1461" y="11747"/>
                    <a:pt x="1461" y="11747"/>
                    <a:pt x="1461" y="11747"/>
                  </a:cubicBezTo>
                  <a:cubicBezTo>
                    <a:pt x="1461" y="11747"/>
                    <a:pt x="1461" y="11747"/>
                    <a:pt x="1461" y="11747"/>
                  </a:cubicBezTo>
                  <a:cubicBezTo>
                    <a:pt x="1453" y="11736"/>
                    <a:pt x="1444" y="11724"/>
                    <a:pt x="1435" y="11712"/>
                  </a:cubicBezTo>
                  <a:cubicBezTo>
                    <a:pt x="1416" y="11687"/>
                    <a:pt x="1396" y="11660"/>
                    <a:pt x="1373" y="11630"/>
                  </a:cubicBezTo>
                  <a:cubicBezTo>
                    <a:pt x="1349" y="11595"/>
                    <a:pt x="1322" y="11556"/>
                    <a:pt x="1293" y="11515"/>
                  </a:cubicBezTo>
                  <a:cubicBezTo>
                    <a:pt x="1238" y="11432"/>
                    <a:pt x="1183" y="11342"/>
                    <a:pt x="1130" y="11237"/>
                  </a:cubicBezTo>
                  <a:cubicBezTo>
                    <a:pt x="1022" y="11031"/>
                    <a:pt x="924" y="10779"/>
                    <a:pt x="864" y="10504"/>
                  </a:cubicBezTo>
                  <a:cubicBezTo>
                    <a:pt x="803" y="10230"/>
                    <a:pt x="773" y="9937"/>
                    <a:pt x="777" y="9649"/>
                  </a:cubicBezTo>
                  <a:cubicBezTo>
                    <a:pt x="778" y="9359"/>
                    <a:pt x="816" y="9078"/>
                    <a:pt x="846" y="8817"/>
                  </a:cubicBezTo>
                  <a:cubicBezTo>
                    <a:pt x="876" y="8554"/>
                    <a:pt x="904" y="8309"/>
                    <a:pt x="928" y="8099"/>
                  </a:cubicBezTo>
                  <a:cubicBezTo>
                    <a:pt x="977" y="7679"/>
                    <a:pt x="1009" y="7400"/>
                    <a:pt x="1009" y="7400"/>
                  </a:cubicBezTo>
                  <a:cubicBezTo>
                    <a:pt x="1133" y="6328"/>
                    <a:pt x="1298" y="5738"/>
                    <a:pt x="1473" y="5738"/>
                  </a:cubicBezTo>
                  <a:cubicBezTo>
                    <a:pt x="1576" y="5738"/>
                    <a:pt x="1676" y="5943"/>
                    <a:pt x="1766" y="6331"/>
                  </a:cubicBezTo>
                  <a:cubicBezTo>
                    <a:pt x="1766" y="723"/>
                    <a:pt x="1766" y="723"/>
                    <a:pt x="1766" y="723"/>
                  </a:cubicBezTo>
                  <a:cubicBezTo>
                    <a:pt x="1682" y="0"/>
                    <a:pt x="1682" y="0"/>
                    <a:pt x="1682" y="0"/>
                  </a:cubicBezTo>
                  <a:cubicBezTo>
                    <a:pt x="1658" y="541"/>
                    <a:pt x="1620" y="1038"/>
                    <a:pt x="1571" y="146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2B968CA8-B15D-46B8-B294-C178C1D817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270500"/>
              <a:ext cx="206375" cy="153988"/>
            </a:xfrm>
            <a:custGeom>
              <a:avLst/>
              <a:gdLst>
                <a:gd name="T0" fmla="*/ 142 w 3725"/>
                <a:gd name="T1" fmla="*/ 1548 h 2777"/>
                <a:gd name="T2" fmla="*/ 146 w 3725"/>
                <a:gd name="T3" fmla="*/ 1513 h 2777"/>
                <a:gd name="T4" fmla="*/ 148 w 3725"/>
                <a:gd name="T5" fmla="*/ 1495 h 2777"/>
                <a:gd name="T6" fmla="*/ 149 w 3725"/>
                <a:gd name="T7" fmla="*/ 1486 h 2777"/>
                <a:gd name="T8" fmla="*/ 149 w 3725"/>
                <a:gd name="T9" fmla="*/ 1482 h 2777"/>
                <a:gd name="T10" fmla="*/ 149 w 3725"/>
                <a:gd name="T11" fmla="*/ 1481 h 2777"/>
                <a:gd name="T12" fmla="*/ 150 w 3725"/>
                <a:gd name="T13" fmla="*/ 1458 h 2777"/>
                <a:gd name="T14" fmla="*/ 150 w 3725"/>
                <a:gd name="T15" fmla="*/ 1456 h 2777"/>
                <a:gd name="T16" fmla="*/ 161 w 3725"/>
                <a:gd name="T17" fmla="*/ 1381 h 2777"/>
                <a:gd name="T18" fmla="*/ 182 w 3725"/>
                <a:gd name="T19" fmla="*/ 1237 h 2777"/>
                <a:gd name="T20" fmla="*/ 215 w 3725"/>
                <a:gd name="T21" fmla="*/ 1104 h 2777"/>
                <a:gd name="T22" fmla="*/ 236 w 3725"/>
                <a:gd name="T23" fmla="*/ 1034 h 2777"/>
                <a:gd name="T24" fmla="*/ 264 w 3725"/>
                <a:gd name="T25" fmla="*/ 959 h 2777"/>
                <a:gd name="T26" fmla="*/ 337 w 3725"/>
                <a:gd name="T27" fmla="*/ 806 h 2777"/>
                <a:gd name="T28" fmla="*/ 583 w 3725"/>
                <a:gd name="T29" fmla="*/ 506 h 2777"/>
                <a:gd name="T30" fmla="*/ 916 w 3725"/>
                <a:gd name="T31" fmla="*/ 310 h 2777"/>
                <a:gd name="T32" fmla="*/ 1223 w 3725"/>
                <a:gd name="T33" fmla="*/ 246 h 2777"/>
                <a:gd name="T34" fmla="*/ 1291 w 3725"/>
                <a:gd name="T35" fmla="*/ 242 h 2777"/>
                <a:gd name="T36" fmla="*/ 1353 w 3725"/>
                <a:gd name="T37" fmla="*/ 243 h 2777"/>
                <a:gd name="T38" fmla="*/ 1383 w 3725"/>
                <a:gd name="T39" fmla="*/ 244 h 2777"/>
                <a:gd name="T40" fmla="*/ 1409 w 3725"/>
                <a:gd name="T41" fmla="*/ 245 h 2777"/>
                <a:gd name="T42" fmla="*/ 1441 w 3725"/>
                <a:gd name="T43" fmla="*/ 249 h 2777"/>
                <a:gd name="T44" fmla="*/ 1566 w 3725"/>
                <a:gd name="T45" fmla="*/ 263 h 2777"/>
                <a:gd name="T46" fmla="*/ 1795 w 3725"/>
                <a:gd name="T47" fmla="*/ 289 h 2777"/>
                <a:gd name="T48" fmla="*/ 2267 w 3725"/>
                <a:gd name="T49" fmla="*/ 344 h 2777"/>
                <a:gd name="T50" fmla="*/ 3174 w 3725"/>
                <a:gd name="T51" fmla="*/ 499 h 2777"/>
                <a:gd name="T52" fmla="*/ 3725 w 3725"/>
                <a:gd name="T53" fmla="*/ 435 h 2777"/>
                <a:gd name="T54" fmla="*/ 2916 w 3725"/>
                <a:gd name="T55" fmla="*/ 341 h 2777"/>
                <a:gd name="T56" fmla="*/ 1896 w 3725"/>
                <a:gd name="T57" fmla="*/ 181 h 2777"/>
                <a:gd name="T58" fmla="*/ 1560 w 3725"/>
                <a:gd name="T59" fmla="*/ 90 h 2777"/>
                <a:gd name="T60" fmla="*/ 1437 w 3725"/>
                <a:gd name="T61" fmla="*/ 43 h 2777"/>
                <a:gd name="T62" fmla="*/ 1411 w 3725"/>
                <a:gd name="T63" fmla="*/ 31 h 2777"/>
                <a:gd name="T64" fmla="*/ 1405 w 3725"/>
                <a:gd name="T65" fmla="*/ 28 h 2777"/>
                <a:gd name="T66" fmla="*/ 1393 w 3725"/>
                <a:gd name="T67" fmla="*/ 25 h 2777"/>
                <a:gd name="T68" fmla="*/ 1367 w 3725"/>
                <a:gd name="T69" fmla="*/ 20 h 2777"/>
                <a:gd name="T70" fmla="*/ 1275 w 3725"/>
                <a:gd name="T71" fmla="*/ 0 h 2777"/>
                <a:gd name="T72" fmla="*/ 1218 w 3725"/>
                <a:gd name="T73" fmla="*/ 6 h 2777"/>
                <a:gd name="T74" fmla="*/ 1150 w 3725"/>
                <a:gd name="T75" fmla="*/ 14 h 2777"/>
                <a:gd name="T76" fmla="*/ 1050 w 3725"/>
                <a:gd name="T77" fmla="*/ 34 h 2777"/>
                <a:gd name="T78" fmla="*/ 920 w 3725"/>
                <a:gd name="T79" fmla="*/ 71 h 2777"/>
                <a:gd name="T80" fmla="*/ 759 w 3725"/>
                <a:gd name="T81" fmla="*/ 137 h 2777"/>
                <a:gd name="T82" fmla="*/ 575 w 3725"/>
                <a:gd name="T83" fmla="*/ 245 h 2777"/>
                <a:gd name="T84" fmla="*/ 391 w 3725"/>
                <a:gd name="T85" fmla="*/ 405 h 2777"/>
                <a:gd name="T86" fmla="*/ 121 w 3725"/>
                <a:gd name="T87" fmla="*/ 821 h 2777"/>
                <a:gd name="T88" fmla="*/ 16 w 3725"/>
                <a:gd name="T89" fmla="*/ 1225 h 2777"/>
                <a:gd name="T90" fmla="*/ 5 w 3725"/>
                <a:gd name="T91" fmla="*/ 1330 h 2777"/>
                <a:gd name="T92" fmla="*/ 2 w 3725"/>
                <a:gd name="T93" fmla="*/ 1385 h 2777"/>
                <a:gd name="T94" fmla="*/ 1 w 3725"/>
                <a:gd name="T95" fmla="*/ 1409 h 2777"/>
                <a:gd name="T96" fmla="*/ 0 w 3725"/>
                <a:gd name="T97" fmla="*/ 1483 h 2777"/>
                <a:gd name="T98" fmla="*/ 0 w 3725"/>
                <a:gd name="T99" fmla="*/ 1531 h 2777"/>
                <a:gd name="T100" fmla="*/ 0 w 3725"/>
                <a:gd name="T101" fmla="*/ 1727 h 2777"/>
                <a:gd name="T102" fmla="*/ 0 w 3725"/>
                <a:gd name="T103" fmla="*/ 2777 h 2777"/>
                <a:gd name="T104" fmla="*/ 54 w 3725"/>
                <a:gd name="T105" fmla="*/ 2304 h 2777"/>
                <a:gd name="T106" fmla="*/ 110 w 3725"/>
                <a:gd name="T107" fmla="*/ 1821 h 2777"/>
                <a:gd name="T108" fmla="*/ 142 w 3725"/>
                <a:gd name="T109" fmla="*/ 1548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25" h="2777">
                  <a:moveTo>
                    <a:pt x="142" y="1548"/>
                  </a:moveTo>
                  <a:cubicBezTo>
                    <a:pt x="146" y="1513"/>
                    <a:pt x="146" y="1513"/>
                    <a:pt x="146" y="1513"/>
                  </a:cubicBezTo>
                  <a:cubicBezTo>
                    <a:pt x="148" y="1495"/>
                    <a:pt x="148" y="1495"/>
                    <a:pt x="148" y="1495"/>
                  </a:cubicBezTo>
                  <a:cubicBezTo>
                    <a:pt x="149" y="1486"/>
                    <a:pt x="149" y="1486"/>
                    <a:pt x="149" y="1486"/>
                  </a:cubicBezTo>
                  <a:cubicBezTo>
                    <a:pt x="149" y="1482"/>
                    <a:pt x="149" y="1482"/>
                    <a:pt x="149" y="1482"/>
                  </a:cubicBezTo>
                  <a:cubicBezTo>
                    <a:pt x="149" y="1481"/>
                    <a:pt x="149" y="1481"/>
                    <a:pt x="149" y="1481"/>
                  </a:cubicBezTo>
                  <a:cubicBezTo>
                    <a:pt x="150" y="1437"/>
                    <a:pt x="150" y="1468"/>
                    <a:pt x="150" y="1458"/>
                  </a:cubicBezTo>
                  <a:cubicBezTo>
                    <a:pt x="150" y="1456"/>
                    <a:pt x="150" y="1456"/>
                    <a:pt x="150" y="1456"/>
                  </a:cubicBezTo>
                  <a:cubicBezTo>
                    <a:pt x="161" y="1381"/>
                    <a:pt x="161" y="1381"/>
                    <a:pt x="161" y="1381"/>
                  </a:cubicBezTo>
                  <a:cubicBezTo>
                    <a:pt x="167" y="1333"/>
                    <a:pt x="173" y="1282"/>
                    <a:pt x="182" y="1237"/>
                  </a:cubicBezTo>
                  <a:cubicBezTo>
                    <a:pt x="192" y="1192"/>
                    <a:pt x="200" y="1152"/>
                    <a:pt x="215" y="1104"/>
                  </a:cubicBezTo>
                  <a:cubicBezTo>
                    <a:pt x="236" y="1034"/>
                    <a:pt x="236" y="1034"/>
                    <a:pt x="236" y="1034"/>
                  </a:cubicBezTo>
                  <a:cubicBezTo>
                    <a:pt x="245" y="1009"/>
                    <a:pt x="255" y="984"/>
                    <a:pt x="264" y="959"/>
                  </a:cubicBezTo>
                  <a:cubicBezTo>
                    <a:pt x="282" y="911"/>
                    <a:pt x="311" y="856"/>
                    <a:pt x="337" y="806"/>
                  </a:cubicBezTo>
                  <a:cubicBezTo>
                    <a:pt x="399" y="701"/>
                    <a:pt x="479" y="595"/>
                    <a:pt x="583" y="506"/>
                  </a:cubicBezTo>
                  <a:cubicBezTo>
                    <a:pt x="685" y="418"/>
                    <a:pt x="804" y="350"/>
                    <a:pt x="916" y="310"/>
                  </a:cubicBezTo>
                  <a:cubicBezTo>
                    <a:pt x="1027" y="271"/>
                    <a:pt x="1133" y="251"/>
                    <a:pt x="1223" y="246"/>
                  </a:cubicBezTo>
                  <a:cubicBezTo>
                    <a:pt x="1291" y="242"/>
                    <a:pt x="1291" y="242"/>
                    <a:pt x="1291" y="242"/>
                  </a:cubicBezTo>
                  <a:cubicBezTo>
                    <a:pt x="1353" y="243"/>
                    <a:pt x="1353" y="243"/>
                    <a:pt x="1353" y="243"/>
                  </a:cubicBezTo>
                  <a:cubicBezTo>
                    <a:pt x="1383" y="244"/>
                    <a:pt x="1383" y="244"/>
                    <a:pt x="1383" y="244"/>
                  </a:cubicBezTo>
                  <a:cubicBezTo>
                    <a:pt x="1392" y="244"/>
                    <a:pt x="1406" y="244"/>
                    <a:pt x="1409" y="245"/>
                  </a:cubicBezTo>
                  <a:cubicBezTo>
                    <a:pt x="1441" y="249"/>
                    <a:pt x="1441" y="249"/>
                    <a:pt x="1441" y="249"/>
                  </a:cubicBezTo>
                  <a:cubicBezTo>
                    <a:pt x="1484" y="254"/>
                    <a:pt x="1525" y="258"/>
                    <a:pt x="1566" y="263"/>
                  </a:cubicBezTo>
                  <a:cubicBezTo>
                    <a:pt x="1647" y="272"/>
                    <a:pt x="1724" y="281"/>
                    <a:pt x="1795" y="289"/>
                  </a:cubicBezTo>
                  <a:cubicBezTo>
                    <a:pt x="2078" y="322"/>
                    <a:pt x="2267" y="344"/>
                    <a:pt x="2267" y="344"/>
                  </a:cubicBezTo>
                  <a:cubicBezTo>
                    <a:pt x="2657" y="389"/>
                    <a:pt x="2962" y="442"/>
                    <a:pt x="3174" y="499"/>
                  </a:cubicBezTo>
                  <a:cubicBezTo>
                    <a:pt x="3725" y="435"/>
                    <a:pt x="3725" y="435"/>
                    <a:pt x="3725" y="435"/>
                  </a:cubicBezTo>
                  <a:cubicBezTo>
                    <a:pt x="2916" y="341"/>
                    <a:pt x="2916" y="341"/>
                    <a:pt x="2916" y="341"/>
                  </a:cubicBezTo>
                  <a:cubicBezTo>
                    <a:pt x="2502" y="293"/>
                    <a:pt x="2160" y="239"/>
                    <a:pt x="1896" y="181"/>
                  </a:cubicBezTo>
                  <a:cubicBezTo>
                    <a:pt x="1764" y="152"/>
                    <a:pt x="1652" y="122"/>
                    <a:pt x="1560" y="90"/>
                  </a:cubicBezTo>
                  <a:cubicBezTo>
                    <a:pt x="1513" y="75"/>
                    <a:pt x="1473" y="59"/>
                    <a:pt x="1437" y="43"/>
                  </a:cubicBezTo>
                  <a:cubicBezTo>
                    <a:pt x="1411" y="31"/>
                    <a:pt x="1411" y="31"/>
                    <a:pt x="1411" y="31"/>
                  </a:cubicBezTo>
                  <a:cubicBezTo>
                    <a:pt x="1405" y="28"/>
                    <a:pt x="1405" y="28"/>
                    <a:pt x="1405" y="28"/>
                  </a:cubicBezTo>
                  <a:cubicBezTo>
                    <a:pt x="1402" y="27"/>
                    <a:pt x="1397" y="26"/>
                    <a:pt x="1393" y="25"/>
                  </a:cubicBezTo>
                  <a:cubicBezTo>
                    <a:pt x="1367" y="20"/>
                    <a:pt x="1367" y="20"/>
                    <a:pt x="1367" y="20"/>
                  </a:cubicBezTo>
                  <a:cubicBezTo>
                    <a:pt x="1275" y="0"/>
                    <a:pt x="1275" y="0"/>
                    <a:pt x="1275" y="0"/>
                  </a:cubicBezTo>
                  <a:cubicBezTo>
                    <a:pt x="1275" y="0"/>
                    <a:pt x="1255" y="2"/>
                    <a:pt x="1218" y="6"/>
                  </a:cubicBezTo>
                  <a:cubicBezTo>
                    <a:pt x="1200" y="8"/>
                    <a:pt x="1177" y="11"/>
                    <a:pt x="1150" y="14"/>
                  </a:cubicBezTo>
                  <a:cubicBezTo>
                    <a:pt x="1123" y="19"/>
                    <a:pt x="1087" y="26"/>
                    <a:pt x="1050" y="34"/>
                  </a:cubicBezTo>
                  <a:cubicBezTo>
                    <a:pt x="1014" y="42"/>
                    <a:pt x="969" y="54"/>
                    <a:pt x="920" y="71"/>
                  </a:cubicBezTo>
                  <a:cubicBezTo>
                    <a:pt x="872" y="86"/>
                    <a:pt x="817" y="109"/>
                    <a:pt x="759" y="137"/>
                  </a:cubicBezTo>
                  <a:cubicBezTo>
                    <a:pt x="702" y="163"/>
                    <a:pt x="637" y="203"/>
                    <a:pt x="575" y="245"/>
                  </a:cubicBezTo>
                  <a:cubicBezTo>
                    <a:pt x="512" y="291"/>
                    <a:pt x="448" y="343"/>
                    <a:pt x="391" y="405"/>
                  </a:cubicBezTo>
                  <a:cubicBezTo>
                    <a:pt x="274" y="526"/>
                    <a:pt x="177" y="680"/>
                    <a:pt x="121" y="821"/>
                  </a:cubicBezTo>
                  <a:cubicBezTo>
                    <a:pt x="63" y="964"/>
                    <a:pt x="32" y="1101"/>
                    <a:pt x="16" y="1225"/>
                  </a:cubicBezTo>
                  <a:cubicBezTo>
                    <a:pt x="11" y="1257"/>
                    <a:pt x="8" y="1295"/>
                    <a:pt x="5" y="1330"/>
                  </a:cubicBezTo>
                  <a:cubicBezTo>
                    <a:pt x="2" y="1385"/>
                    <a:pt x="2" y="1385"/>
                    <a:pt x="2" y="1385"/>
                  </a:cubicBezTo>
                  <a:cubicBezTo>
                    <a:pt x="1" y="1409"/>
                    <a:pt x="1" y="1409"/>
                    <a:pt x="1" y="1409"/>
                  </a:cubicBezTo>
                  <a:cubicBezTo>
                    <a:pt x="1" y="1433"/>
                    <a:pt x="0" y="1458"/>
                    <a:pt x="0" y="1483"/>
                  </a:cubicBezTo>
                  <a:cubicBezTo>
                    <a:pt x="0" y="1531"/>
                    <a:pt x="0" y="1531"/>
                    <a:pt x="0" y="1531"/>
                  </a:cubicBezTo>
                  <a:cubicBezTo>
                    <a:pt x="0" y="1595"/>
                    <a:pt x="0" y="1661"/>
                    <a:pt x="0" y="1727"/>
                  </a:cubicBezTo>
                  <a:cubicBezTo>
                    <a:pt x="0" y="2252"/>
                    <a:pt x="0" y="2777"/>
                    <a:pt x="0" y="2777"/>
                  </a:cubicBezTo>
                  <a:cubicBezTo>
                    <a:pt x="0" y="2777"/>
                    <a:pt x="21" y="2588"/>
                    <a:pt x="54" y="2304"/>
                  </a:cubicBezTo>
                  <a:cubicBezTo>
                    <a:pt x="71" y="2163"/>
                    <a:pt x="90" y="1998"/>
                    <a:pt x="110" y="1821"/>
                  </a:cubicBezTo>
                  <a:cubicBezTo>
                    <a:pt x="120" y="1732"/>
                    <a:pt x="131" y="1641"/>
                    <a:pt x="142" y="154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AA17C7D9-B4B6-481A-AF5C-669362E7FF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7726" y="5353050"/>
              <a:ext cx="1588" cy="0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5B96BA86-0219-408E-B9CF-4C82ECB5B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7726" y="5353050"/>
              <a:ext cx="0" cy="0"/>
            </a:xfrm>
            <a:custGeom>
              <a:avLst/>
              <a:gdLst>
                <a:gd name="T0" fmla="*/ 14 w 14"/>
                <a:gd name="T1" fmla="*/ 0 h 7"/>
                <a:gd name="T2" fmla="*/ 14 w 14"/>
                <a:gd name="T3" fmla="*/ 0 h 7"/>
                <a:gd name="T4" fmla="*/ 7 w 14"/>
                <a:gd name="T5" fmla="*/ 3 h 7"/>
                <a:gd name="T6" fmla="*/ 11 w 14"/>
                <a:gd name="T7" fmla="*/ 1 h 7"/>
                <a:gd name="T8" fmla="*/ 13 w 14"/>
                <a:gd name="T9" fmla="*/ 0 h 7"/>
                <a:gd name="T10" fmla="*/ 14 w 1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7"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0" y="7"/>
                    <a:pt x="7" y="3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4F944AEC-FA60-465C-A0A6-C432AC806B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52751" y="5346700"/>
              <a:ext cx="550863" cy="336550"/>
            </a:xfrm>
            <a:custGeom>
              <a:avLst/>
              <a:gdLst>
                <a:gd name="T0" fmla="*/ 211 w 9960"/>
                <a:gd name="T1" fmla="*/ 5948 h 6079"/>
                <a:gd name="T2" fmla="*/ 759 w 9960"/>
                <a:gd name="T3" fmla="*/ 5584 h 6079"/>
                <a:gd name="T4" fmla="*/ 1118 w 9960"/>
                <a:gd name="T5" fmla="*/ 5328 h 6079"/>
                <a:gd name="T6" fmla="*/ 1521 w 9960"/>
                <a:gd name="T7" fmla="*/ 5032 h 6079"/>
                <a:gd name="T8" fmla="*/ 2396 w 9960"/>
                <a:gd name="T9" fmla="*/ 4389 h 6079"/>
                <a:gd name="T10" fmla="*/ 4778 w 9960"/>
                <a:gd name="T11" fmla="*/ 2637 h 6079"/>
                <a:gd name="T12" fmla="*/ 6310 w 9960"/>
                <a:gd name="T13" fmla="*/ 1845 h 6079"/>
                <a:gd name="T14" fmla="*/ 6306 w 9960"/>
                <a:gd name="T15" fmla="*/ 2052 h 6079"/>
                <a:gd name="T16" fmla="*/ 7062 w 9960"/>
                <a:gd name="T17" fmla="*/ 1348 h 6079"/>
                <a:gd name="T18" fmla="*/ 7582 w 9960"/>
                <a:gd name="T19" fmla="*/ 864 h 6079"/>
                <a:gd name="T20" fmla="*/ 7679 w 9960"/>
                <a:gd name="T21" fmla="*/ 774 h 6079"/>
                <a:gd name="T22" fmla="*/ 7719 w 9960"/>
                <a:gd name="T23" fmla="*/ 737 h 6079"/>
                <a:gd name="T24" fmla="*/ 7774 w 9960"/>
                <a:gd name="T25" fmla="*/ 684 h 6079"/>
                <a:gd name="T26" fmla="*/ 7825 w 9960"/>
                <a:gd name="T27" fmla="*/ 634 h 6079"/>
                <a:gd name="T28" fmla="*/ 7887 w 9960"/>
                <a:gd name="T29" fmla="*/ 557 h 6079"/>
                <a:gd name="T30" fmla="*/ 7952 w 9960"/>
                <a:gd name="T31" fmla="*/ 480 h 6079"/>
                <a:gd name="T32" fmla="*/ 8014 w 9960"/>
                <a:gd name="T33" fmla="*/ 406 h 6079"/>
                <a:gd name="T34" fmla="*/ 8018 w 9960"/>
                <a:gd name="T35" fmla="*/ 389 h 6079"/>
                <a:gd name="T36" fmla="*/ 8018 w 9960"/>
                <a:gd name="T37" fmla="*/ 389 h 6079"/>
                <a:gd name="T38" fmla="*/ 8018 w 9960"/>
                <a:gd name="T39" fmla="*/ 388 h 6079"/>
                <a:gd name="T40" fmla="*/ 8005 w 9960"/>
                <a:gd name="T41" fmla="*/ 395 h 6079"/>
                <a:gd name="T42" fmla="*/ 8006 w 9960"/>
                <a:gd name="T43" fmla="*/ 394 h 6079"/>
                <a:gd name="T44" fmla="*/ 8012 w 9960"/>
                <a:gd name="T45" fmla="*/ 390 h 6079"/>
                <a:gd name="T46" fmla="*/ 8024 w 9960"/>
                <a:gd name="T47" fmla="*/ 383 h 6079"/>
                <a:gd name="T48" fmla="*/ 8029 w 9960"/>
                <a:gd name="T49" fmla="*/ 380 h 6079"/>
                <a:gd name="T50" fmla="*/ 8026 w 9960"/>
                <a:gd name="T51" fmla="*/ 380 h 6079"/>
                <a:gd name="T52" fmla="*/ 8022 w 9960"/>
                <a:gd name="T53" fmla="*/ 380 h 6079"/>
                <a:gd name="T54" fmla="*/ 8023 w 9960"/>
                <a:gd name="T55" fmla="*/ 373 h 6079"/>
                <a:gd name="T56" fmla="*/ 8058 w 9960"/>
                <a:gd name="T57" fmla="*/ 336 h 6079"/>
                <a:gd name="T58" fmla="*/ 8074 w 9960"/>
                <a:gd name="T59" fmla="*/ 328 h 6079"/>
                <a:gd name="T60" fmla="*/ 8083 w 9960"/>
                <a:gd name="T61" fmla="*/ 324 h 6079"/>
                <a:gd name="T62" fmla="*/ 8089 w 9960"/>
                <a:gd name="T63" fmla="*/ 322 h 6079"/>
                <a:gd name="T64" fmla="*/ 8105 w 9960"/>
                <a:gd name="T65" fmla="*/ 320 h 6079"/>
                <a:gd name="T66" fmla="*/ 8237 w 9960"/>
                <a:gd name="T67" fmla="*/ 305 h 6079"/>
                <a:gd name="T68" fmla="*/ 8507 w 9960"/>
                <a:gd name="T69" fmla="*/ 273 h 6079"/>
                <a:gd name="T70" fmla="*/ 9953 w 9960"/>
                <a:gd name="T71" fmla="*/ 106 h 6079"/>
                <a:gd name="T72" fmla="*/ 9960 w 9960"/>
                <a:gd name="T73" fmla="*/ 80 h 6079"/>
                <a:gd name="T74" fmla="*/ 9903 w 9960"/>
                <a:gd name="T75" fmla="*/ 0 h 6079"/>
                <a:gd name="T76" fmla="*/ 8970 w 9960"/>
                <a:gd name="T77" fmla="*/ 39 h 6079"/>
                <a:gd name="T78" fmla="*/ 8477 w 9960"/>
                <a:gd name="T79" fmla="*/ 49 h 6079"/>
                <a:gd name="T80" fmla="*/ 8224 w 9960"/>
                <a:gd name="T81" fmla="*/ 52 h 6079"/>
                <a:gd name="T82" fmla="*/ 8097 w 9960"/>
                <a:gd name="T83" fmla="*/ 53 h 6079"/>
                <a:gd name="T84" fmla="*/ 8026 w 9960"/>
                <a:gd name="T85" fmla="*/ 56 h 6079"/>
                <a:gd name="T86" fmla="*/ 7928 w 9960"/>
                <a:gd name="T87" fmla="*/ 77 h 6079"/>
                <a:gd name="T88" fmla="*/ 7889 w 9960"/>
                <a:gd name="T89" fmla="*/ 91 h 6079"/>
                <a:gd name="T90" fmla="*/ 7869 w 9960"/>
                <a:gd name="T91" fmla="*/ 100 h 6079"/>
                <a:gd name="T92" fmla="*/ 7869 w 9960"/>
                <a:gd name="T93" fmla="*/ 100 h 6079"/>
                <a:gd name="T94" fmla="*/ 7865 w 9960"/>
                <a:gd name="T95" fmla="*/ 102 h 6079"/>
                <a:gd name="T96" fmla="*/ 7844 w 9960"/>
                <a:gd name="T97" fmla="*/ 114 h 6079"/>
                <a:gd name="T98" fmla="*/ 7595 w 9960"/>
                <a:gd name="T99" fmla="*/ 305 h 6079"/>
                <a:gd name="T100" fmla="*/ 6996 w 9960"/>
                <a:gd name="T101" fmla="*/ 829 h 6079"/>
                <a:gd name="T102" fmla="*/ 5908 w 9960"/>
                <a:gd name="T103" fmla="*/ 1694 h 6079"/>
                <a:gd name="T104" fmla="*/ 1819 w 9960"/>
                <a:gd name="T105" fmla="*/ 4700 h 6079"/>
                <a:gd name="T106" fmla="*/ 765 w 9960"/>
                <a:gd name="T107" fmla="*/ 5311 h 6079"/>
                <a:gd name="T108" fmla="*/ 14 w 9960"/>
                <a:gd name="T109" fmla="*/ 6065 h 6079"/>
                <a:gd name="T110" fmla="*/ 0 w 9960"/>
                <a:gd name="T111" fmla="*/ 6079 h 6079"/>
                <a:gd name="T112" fmla="*/ 56 w 9960"/>
                <a:gd name="T113" fmla="*/ 6045 h 6079"/>
                <a:gd name="T114" fmla="*/ 211 w 9960"/>
                <a:gd name="T115" fmla="*/ 5948 h 6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960" h="6079">
                  <a:moveTo>
                    <a:pt x="211" y="5948"/>
                  </a:moveTo>
                  <a:cubicBezTo>
                    <a:pt x="345" y="5863"/>
                    <a:pt x="535" y="5740"/>
                    <a:pt x="759" y="5584"/>
                  </a:cubicBezTo>
                  <a:cubicBezTo>
                    <a:pt x="872" y="5507"/>
                    <a:pt x="990" y="5420"/>
                    <a:pt x="1118" y="5328"/>
                  </a:cubicBezTo>
                  <a:cubicBezTo>
                    <a:pt x="1246" y="5234"/>
                    <a:pt x="1381" y="5135"/>
                    <a:pt x="1521" y="5032"/>
                  </a:cubicBezTo>
                  <a:cubicBezTo>
                    <a:pt x="1800" y="4827"/>
                    <a:pt x="2098" y="4608"/>
                    <a:pt x="2396" y="4389"/>
                  </a:cubicBezTo>
                  <a:cubicBezTo>
                    <a:pt x="3587" y="3513"/>
                    <a:pt x="4778" y="2637"/>
                    <a:pt x="4778" y="2637"/>
                  </a:cubicBezTo>
                  <a:cubicBezTo>
                    <a:pt x="5647" y="1998"/>
                    <a:pt x="6191" y="1717"/>
                    <a:pt x="6310" y="1845"/>
                  </a:cubicBezTo>
                  <a:cubicBezTo>
                    <a:pt x="6345" y="1882"/>
                    <a:pt x="6343" y="1952"/>
                    <a:pt x="6306" y="2052"/>
                  </a:cubicBezTo>
                  <a:cubicBezTo>
                    <a:pt x="6306" y="2052"/>
                    <a:pt x="6684" y="1700"/>
                    <a:pt x="7062" y="1348"/>
                  </a:cubicBezTo>
                  <a:cubicBezTo>
                    <a:pt x="7251" y="1172"/>
                    <a:pt x="7440" y="996"/>
                    <a:pt x="7582" y="864"/>
                  </a:cubicBezTo>
                  <a:cubicBezTo>
                    <a:pt x="7618" y="831"/>
                    <a:pt x="7650" y="801"/>
                    <a:pt x="7679" y="774"/>
                  </a:cubicBezTo>
                  <a:cubicBezTo>
                    <a:pt x="7693" y="761"/>
                    <a:pt x="7707" y="748"/>
                    <a:pt x="7719" y="737"/>
                  </a:cubicBezTo>
                  <a:cubicBezTo>
                    <a:pt x="7739" y="717"/>
                    <a:pt x="7757" y="700"/>
                    <a:pt x="7774" y="684"/>
                  </a:cubicBezTo>
                  <a:cubicBezTo>
                    <a:pt x="7807" y="652"/>
                    <a:pt x="7825" y="634"/>
                    <a:pt x="7825" y="634"/>
                  </a:cubicBezTo>
                  <a:cubicBezTo>
                    <a:pt x="7825" y="634"/>
                    <a:pt x="7848" y="606"/>
                    <a:pt x="7887" y="557"/>
                  </a:cubicBezTo>
                  <a:cubicBezTo>
                    <a:pt x="7905" y="536"/>
                    <a:pt x="7926" y="510"/>
                    <a:pt x="7952" y="480"/>
                  </a:cubicBezTo>
                  <a:cubicBezTo>
                    <a:pt x="7974" y="453"/>
                    <a:pt x="8000" y="424"/>
                    <a:pt x="8014" y="406"/>
                  </a:cubicBezTo>
                  <a:cubicBezTo>
                    <a:pt x="8021" y="397"/>
                    <a:pt x="8025" y="390"/>
                    <a:pt x="8018" y="389"/>
                  </a:cubicBezTo>
                  <a:cubicBezTo>
                    <a:pt x="8018" y="389"/>
                    <a:pt x="8018" y="389"/>
                    <a:pt x="8018" y="389"/>
                  </a:cubicBezTo>
                  <a:cubicBezTo>
                    <a:pt x="8018" y="388"/>
                    <a:pt x="8018" y="388"/>
                    <a:pt x="8018" y="388"/>
                  </a:cubicBezTo>
                  <a:cubicBezTo>
                    <a:pt x="8012" y="391"/>
                    <a:pt x="8031" y="382"/>
                    <a:pt x="8005" y="395"/>
                  </a:cubicBezTo>
                  <a:cubicBezTo>
                    <a:pt x="8006" y="394"/>
                    <a:pt x="8006" y="394"/>
                    <a:pt x="8006" y="394"/>
                  </a:cubicBezTo>
                  <a:cubicBezTo>
                    <a:pt x="8012" y="390"/>
                    <a:pt x="8012" y="390"/>
                    <a:pt x="8012" y="390"/>
                  </a:cubicBezTo>
                  <a:cubicBezTo>
                    <a:pt x="8024" y="383"/>
                    <a:pt x="8024" y="383"/>
                    <a:pt x="8024" y="383"/>
                  </a:cubicBezTo>
                  <a:cubicBezTo>
                    <a:pt x="8025" y="382"/>
                    <a:pt x="8029" y="379"/>
                    <a:pt x="8029" y="380"/>
                  </a:cubicBezTo>
                  <a:cubicBezTo>
                    <a:pt x="8026" y="380"/>
                    <a:pt x="8026" y="380"/>
                    <a:pt x="8026" y="380"/>
                  </a:cubicBezTo>
                  <a:cubicBezTo>
                    <a:pt x="8022" y="380"/>
                    <a:pt x="8022" y="380"/>
                    <a:pt x="8022" y="380"/>
                  </a:cubicBezTo>
                  <a:cubicBezTo>
                    <a:pt x="8018" y="380"/>
                    <a:pt x="8023" y="375"/>
                    <a:pt x="8023" y="373"/>
                  </a:cubicBezTo>
                  <a:cubicBezTo>
                    <a:pt x="8030" y="361"/>
                    <a:pt x="8039" y="348"/>
                    <a:pt x="8058" y="336"/>
                  </a:cubicBezTo>
                  <a:cubicBezTo>
                    <a:pt x="8063" y="334"/>
                    <a:pt x="8068" y="331"/>
                    <a:pt x="8074" y="328"/>
                  </a:cubicBezTo>
                  <a:cubicBezTo>
                    <a:pt x="8077" y="326"/>
                    <a:pt x="8080" y="325"/>
                    <a:pt x="8083" y="324"/>
                  </a:cubicBezTo>
                  <a:cubicBezTo>
                    <a:pt x="8089" y="322"/>
                    <a:pt x="8089" y="322"/>
                    <a:pt x="8089" y="322"/>
                  </a:cubicBezTo>
                  <a:cubicBezTo>
                    <a:pt x="8105" y="320"/>
                    <a:pt x="8105" y="320"/>
                    <a:pt x="8105" y="320"/>
                  </a:cubicBezTo>
                  <a:cubicBezTo>
                    <a:pt x="8149" y="315"/>
                    <a:pt x="8193" y="310"/>
                    <a:pt x="8237" y="305"/>
                  </a:cubicBezTo>
                  <a:cubicBezTo>
                    <a:pt x="8326" y="294"/>
                    <a:pt x="8417" y="284"/>
                    <a:pt x="8507" y="273"/>
                  </a:cubicBezTo>
                  <a:cubicBezTo>
                    <a:pt x="9230" y="190"/>
                    <a:pt x="9953" y="106"/>
                    <a:pt x="9953" y="106"/>
                  </a:cubicBezTo>
                  <a:cubicBezTo>
                    <a:pt x="9957" y="97"/>
                    <a:pt x="9960" y="89"/>
                    <a:pt x="9960" y="80"/>
                  </a:cubicBezTo>
                  <a:cubicBezTo>
                    <a:pt x="9960" y="53"/>
                    <a:pt x="9940" y="26"/>
                    <a:pt x="9903" y="0"/>
                  </a:cubicBezTo>
                  <a:cubicBezTo>
                    <a:pt x="9607" y="17"/>
                    <a:pt x="9294" y="30"/>
                    <a:pt x="8970" y="39"/>
                  </a:cubicBezTo>
                  <a:cubicBezTo>
                    <a:pt x="8807" y="43"/>
                    <a:pt x="8642" y="46"/>
                    <a:pt x="8477" y="49"/>
                  </a:cubicBezTo>
                  <a:cubicBezTo>
                    <a:pt x="8393" y="50"/>
                    <a:pt x="8309" y="51"/>
                    <a:pt x="8224" y="52"/>
                  </a:cubicBezTo>
                  <a:cubicBezTo>
                    <a:pt x="8097" y="53"/>
                    <a:pt x="8097" y="53"/>
                    <a:pt x="8097" y="53"/>
                  </a:cubicBezTo>
                  <a:cubicBezTo>
                    <a:pt x="8066" y="53"/>
                    <a:pt x="8049" y="54"/>
                    <a:pt x="8026" y="56"/>
                  </a:cubicBezTo>
                  <a:cubicBezTo>
                    <a:pt x="7991" y="60"/>
                    <a:pt x="7958" y="67"/>
                    <a:pt x="7928" y="77"/>
                  </a:cubicBezTo>
                  <a:cubicBezTo>
                    <a:pt x="7914" y="81"/>
                    <a:pt x="7893" y="89"/>
                    <a:pt x="7889" y="91"/>
                  </a:cubicBezTo>
                  <a:cubicBezTo>
                    <a:pt x="7869" y="100"/>
                    <a:pt x="7869" y="100"/>
                    <a:pt x="7869" y="100"/>
                  </a:cubicBezTo>
                  <a:cubicBezTo>
                    <a:pt x="7869" y="100"/>
                    <a:pt x="7869" y="100"/>
                    <a:pt x="7869" y="100"/>
                  </a:cubicBezTo>
                  <a:cubicBezTo>
                    <a:pt x="7865" y="102"/>
                    <a:pt x="7865" y="102"/>
                    <a:pt x="7865" y="102"/>
                  </a:cubicBezTo>
                  <a:cubicBezTo>
                    <a:pt x="7844" y="114"/>
                    <a:pt x="7844" y="114"/>
                    <a:pt x="7844" y="114"/>
                  </a:cubicBezTo>
                  <a:cubicBezTo>
                    <a:pt x="7778" y="152"/>
                    <a:pt x="7683" y="227"/>
                    <a:pt x="7595" y="305"/>
                  </a:cubicBezTo>
                  <a:cubicBezTo>
                    <a:pt x="7397" y="490"/>
                    <a:pt x="7190" y="663"/>
                    <a:pt x="6996" y="829"/>
                  </a:cubicBezTo>
                  <a:cubicBezTo>
                    <a:pt x="6605" y="1159"/>
                    <a:pt x="6236" y="1453"/>
                    <a:pt x="5908" y="1694"/>
                  </a:cubicBezTo>
                  <a:cubicBezTo>
                    <a:pt x="1819" y="4700"/>
                    <a:pt x="1819" y="4700"/>
                    <a:pt x="1819" y="4700"/>
                  </a:cubicBezTo>
                  <a:cubicBezTo>
                    <a:pt x="1300" y="5082"/>
                    <a:pt x="933" y="5296"/>
                    <a:pt x="765" y="5311"/>
                  </a:cubicBezTo>
                  <a:cubicBezTo>
                    <a:pt x="494" y="5587"/>
                    <a:pt x="239" y="5840"/>
                    <a:pt x="14" y="6065"/>
                  </a:cubicBezTo>
                  <a:cubicBezTo>
                    <a:pt x="0" y="6079"/>
                    <a:pt x="0" y="6079"/>
                    <a:pt x="0" y="6079"/>
                  </a:cubicBezTo>
                  <a:cubicBezTo>
                    <a:pt x="0" y="6079"/>
                    <a:pt x="20" y="6067"/>
                    <a:pt x="56" y="6045"/>
                  </a:cubicBezTo>
                  <a:cubicBezTo>
                    <a:pt x="92" y="6023"/>
                    <a:pt x="145" y="5990"/>
                    <a:pt x="211" y="594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1C043228-EE96-42EC-91E6-D62C6CC50E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9188" y="6288088"/>
              <a:ext cx="3175" cy="3175"/>
            </a:xfrm>
            <a:custGeom>
              <a:avLst/>
              <a:gdLst>
                <a:gd name="T0" fmla="*/ 20 w 57"/>
                <a:gd name="T1" fmla="*/ 16 h 42"/>
                <a:gd name="T2" fmla="*/ 57 w 57"/>
                <a:gd name="T3" fmla="*/ 42 h 42"/>
                <a:gd name="T4" fmla="*/ 0 w 57"/>
                <a:gd name="T5" fmla="*/ 0 h 42"/>
                <a:gd name="T6" fmla="*/ 20 w 57"/>
                <a:gd name="T7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42">
                  <a:moveTo>
                    <a:pt x="20" y="16"/>
                  </a:moveTo>
                  <a:cubicBezTo>
                    <a:pt x="33" y="25"/>
                    <a:pt x="45" y="33"/>
                    <a:pt x="57" y="42"/>
                  </a:cubicBezTo>
                  <a:cubicBezTo>
                    <a:pt x="39" y="29"/>
                    <a:pt x="20" y="15"/>
                    <a:pt x="0" y="0"/>
                  </a:cubicBezTo>
                  <a:cubicBezTo>
                    <a:pt x="7" y="5"/>
                    <a:pt x="14" y="11"/>
                    <a:pt x="20" y="1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EF6E94B6-F948-498A-9387-34F8446534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9851" y="5300663"/>
              <a:ext cx="730250" cy="425450"/>
            </a:xfrm>
            <a:custGeom>
              <a:avLst/>
              <a:gdLst>
                <a:gd name="T0" fmla="*/ 124 w 13188"/>
                <a:gd name="T1" fmla="*/ 1129 h 7711"/>
                <a:gd name="T2" fmla="*/ 106 w 13188"/>
                <a:gd name="T3" fmla="*/ 973 h 7711"/>
                <a:gd name="T4" fmla="*/ 104 w 13188"/>
                <a:gd name="T5" fmla="*/ 954 h 7711"/>
                <a:gd name="T6" fmla="*/ 104 w 13188"/>
                <a:gd name="T7" fmla="*/ 963 h 7711"/>
                <a:gd name="T8" fmla="*/ 101 w 13188"/>
                <a:gd name="T9" fmla="*/ 935 h 7711"/>
                <a:gd name="T10" fmla="*/ 94 w 13188"/>
                <a:gd name="T11" fmla="*/ 871 h 7711"/>
                <a:gd name="T12" fmla="*/ 88 w 13188"/>
                <a:gd name="T13" fmla="*/ 773 h 7711"/>
                <a:gd name="T14" fmla="*/ 93 w 13188"/>
                <a:gd name="T15" fmla="*/ 733 h 7711"/>
                <a:gd name="T16" fmla="*/ 174 w 13188"/>
                <a:gd name="T17" fmla="*/ 705 h 7711"/>
                <a:gd name="T18" fmla="*/ 290 w 13188"/>
                <a:gd name="T19" fmla="*/ 692 h 7711"/>
                <a:gd name="T20" fmla="*/ 2187 w 13188"/>
                <a:gd name="T21" fmla="*/ 543 h 7711"/>
                <a:gd name="T22" fmla="*/ 3796 w 13188"/>
                <a:gd name="T23" fmla="*/ 496 h 7711"/>
                <a:gd name="T24" fmla="*/ 4357 w 13188"/>
                <a:gd name="T25" fmla="*/ 498 h 7711"/>
                <a:gd name="T26" fmla="*/ 7162 w 13188"/>
                <a:gd name="T27" fmla="*/ 1523 h 7711"/>
                <a:gd name="T28" fmla="*/ 7458 w 13188"/>
                <a:gd name="T29" fmla="*/ 1827 h 7711"/>
                <a:gd name="T30" fmla="*/ 7729 w 13188"/>
                <a:gd name="T31" fmla="*/ 2152 h 7711"/>
                <a:gd name="T32" fmla="*/ 11970 w 13188"/>
                <a:gd name="T33" fmla="*/ 6938 h 7711"/>
                <a:gd name="T34" fmla="*/ 12566 w 13188"/>
                <a:gd name="T35" fmla="*/ 7475 h 7711"/>
                <a:gd name="T36" fmla="*/ 12847 w 13188"/>
                <a:gd name="T37" fmla="*/ 7711 h 7711"/>
                <a:gd name="T38" fmla="*/ 13188 w 13188"/>
                <a:gd name="T39" fmla="*/ 7532 h 7711"/>
                <a:gd name="T40" fmla="*/ 12635 w 13188"/>
                <a:gd name="T41" fmla="*/ 6945 h 7711"/>
                <a:gd name="T42" fmla="*/ 12280 w 13188"/>
                <a:gd name="T43" fmla="*/ 6535 h 7711"/>
                <a:gd name="T44" fmla="*/ 10700 w 13188"/>
                <a:gd name="T45" fmla="*/ 5075 h 7711"/>
                <a:gd name="T46" fmla="*/ 7752 w 13188"/>
                <a:gd name="T47" fmla="*/ 2027 h 7711"/>
                <a:gd name="T48" fmla="*/ 7584 w 13188"/>
                <a:gd name="T49" fmla="*/ 1822 h 7711"/>
                <a:gd name="T50" fmla="*/ 6754 w 13188"/>
                <a:gd name="T51" fmla="*/ 1029 h 7711"/>
                <a:gd name="T52" fmla="*/ 4974 w 13188"/>
                <a:gd name="T53" fmla="*/ 241 h 7711"/>
                <a:gd name="T54" fmla="*/ 4521 w 13188"/>
                <a:gd name="T55" fmla="*/ 152 h 7711"/>
                <a:gd name="T56" fmla="*/ 4312 w 13188"/>
                <a:gd name="T57" fmla="*/ 120 h 7711"/>
                <a:gd name="T58" fmla="*/ 4168 w 13188"/>
                <a:gd name="T59" fmla="*/ 101 h 7711"/>
                <a:gd name="T60" fmla="*/ 4139 w 13188"/>
                <a:gd name="T61" fmla="*/ 97 h 7711"/>
                <a:gd name="T62" fmla="*/ 4130 w 13188"/>
                <a:gd name="T63" fmla="*/ 97 h 7711"/>
                <a:gd name="T64" fmla="*/ 4116 w 13188"/>
                <a:gd name="T65" fmla="*/ 95 h 7711"/>
                <a:gd name="T66" fmla="*/ 2191 w 13188"/>
                <a:gd name="T67" fmla="*/ 63 h 7711"/>
                <a:gd name="T68" fmla="*/ 1032 w 13188"/>
                <a:gd name="T69" fmla="*/ 515 h 7711"/>
                <a:gd name="T70" fmla="*/ 200 w 13188"/>
                <a:gd name="T71" fmla="*/ 612 h 7711"/>
                <a:gd name="T72" fmla="*/ 127 w 13188"/>
                <a:gd name="T73" fmla="*/ 624 h 7711"/>
                <a:gd name="T74" fmla="*/ 27 w 13188"/>
                <a:gd name="T75" fmla="*/ 681 h 7711"/>
                <a:gd name="T76" fmla="*/ 3 w 13188"/>
                <a:gd name="T77" fmla="*/ 859 h 7711"/>
                <a:gd name="T78" fmla="*/ 396 w 13188"/>
                <a:gd name="T79" fmla="*/ 4268 h 7711"/>
                <a:gd name="T80" fmla="*/ 541 w 13188"/>
                <a:gd name="T81" fmla="*/ 7380 h 7711"/>
                <a:gd name="T82" fmla="*/ 591 w 13188"/>
                <a:gd name="T83" fmla="*/ 5163 h 7711"/>
                <a:gd name="T84" fmla="*/ 176 w 13188"/>
                <a:gd name="T85" fmla="*/ 1572 h 7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88" h="7711">
                  <a:moveTo>
                    <a:pt x="176" y="1572"/>
                  </a:moveTo>
                  <a:cubicBezTo>
                    <a:pt x="158" y="1418"/>
                    <a:pt x="140" y="1270"/>
                    <a:pt x="124" y="1129"/>
                  </a:cubicBezTo>
                  <a:cubicBezTo>
                    <a:pt x="120" y="1093"/>
                    <a:pt x="116" y="1059"/>
                    <a:pt x="112" y="1024"/>
                  </a:cubicBezTo>
                  <a:cubicBezTo>
                    <a:pt x="110" y="1007"/>
                    <a:pt x="108" y="990"/>
                    <a:pt x="106" y="973"/>
                  </a:cubicBezTo>
                  <a:cubicBezTo>
                    <a:pt x="105" y="961"/>
                    <a:pt x="105" y="961"/>
                    <a:pt x="105" y="961"/>
                  </a:cubicBezTo>
                  <a:cubicBezTo>
                    <a:pt x="104" y="954"/>
                    <a:pt x="104" y="954"/>
                    <a:pt x="104" y="954"/>
                  </a:cubicBezTo>
                  <a:cubicBezTo>
                    <a:pt x="104" y="953"/>
                    <a:pt x="104" y="953"/>
                    <a:pt x="104" y="953"/>
                  </a:cubicBezTo>
                  <a:cubicBezTo>
                    <a:pt x="103" y="977"/>
                    <a:pt x="104" y="958"/>
                    <a:pt x="104" y="963"/>
                  </a:cubicBezTo>
                  <a:cubicBezTo>
                    <a:pt x="103" y="960"/>
                    <a:pt x="103" y="960"/>
                    <a:pt x="103" y="960"/>
                  </a:cubicBezTo>
                  <a:cubicBezTo>
                    <a:pt x="101" y="935"/>
                    <a:pt x="101" y="935"/>
                    <a:pt x="101" y="935"/>
                  </a:cubicBezTo>
                  <a:cubicBezTo>
                    <a:pt x="100" y="920"/>
                    <a:pt x="98" y="906"/>
                    <a:pt x="97" y="891"/>
                  </a:cubicBezTo>
                  <a:cubicBezTo>
                    <a:pt x="96" y="885"/>
                    <a:pt x="95" y="878"/>
                    <a:pt x="94" y="871"/>
                  </a:cubicBezTo>
                  <a:cubicBezTo>
                    <a:pt x="92" y="857"/>
                    <a:pt x="90" y="837"/>
                    <a:pt x="91" y="825"/>
                  </a:cubicBezTo>
                  <a:cubicBezTo>
                    <a:pt x="90" y="798"/>
                    <a:pt x="90" y="780"/>
                    <a:pt x="88" y="773"/>
                  </a:cubicBezTo>
                  <a:cubicBezTo>
                    <a:pt x="85" y="766"/>
                    <a:pt x="80" y="763"/>
                    <a:pt x="78" y="757"/>
                  </a:cubicBezTo>
                  <a:cubicBezTo>
                    <a:pt x="75" y="750"/>
                    <a:pt x="83" y="743"/>
                    <a:pt x="93" y="733"/>
                  </a:cubicBezTo>
                  <a:cubicBezTo>
                    <a:pt x="106" y="725"/>
                    <a:pt x="123" y="718"/>
                    <a:pt x="143" y="713"/>
                  </a:cubicBezTo>
                  <a:cubicBezTo>
                    <a:pt x="154" y="710"/>
                    <a:pt x="161" y="708"/>
                    <a:pt x="174" y="705"/>
                  </a:cubicBezTo>
                  <a:cubicBezTo>
                    <a:pt x="190" y="704"/>
                    <a:pt x="205" y="702"/>
                    <a:pt x="219" y="700"/>
                  </a:cubicBezTo>
                  <a:cubicBezTo>
                    <a:pt x="247" y="697"/>
                    <a:pt x="270" y="694"/>
                    <a:pt x="290" y="692"/>
                  </a:cubicBezTo>
                  <a:cubicBezTo>
                    <a:pt x="328" y="688"/>
                    <a:pt x="349" y="685"/>
                    <a:pt x="349" y="685"/>
                  </a:cubicBezTo>
                  <a:cubicBezTo>
                    <a:pt x="884" y="623"/>
                    <a:pt x="1508" y="575"/>
                    <a:pt x="2187" y="543"/>
                  </a:cubicBezTo>
                  <a:cubicBezTo>
                    <a:pt x="2527" y="527"/>
                    <a:pt x="2881" y="514"/>
                    <a:pt x="3244" y="506"/>
                  </a:cubicBezTo>
                  <a:cubicBezTo>
                    <a:pt x="3427" y="503"/>
                    <a:pt x="3610" y="499"/>
                    <a:pt x="3796" y="496"/>
                  </a:cubicBezTo>
                  <a:cubicBezTo>
                    <a:pt x="3889" y="496"/>
                    <a:pt x="3982" y="495"/>
                    <a:pt x="4076" y="494"/>
                  </a:cubicBezTo>
                  <a:cubicBezTo>
                    <a:pt x="4165" y="493"/>
                    <a:pt x="4263" y="496"/>
                    <a:pt x="4357" y="498"/>
                  </a:cubicBezTo>
                  <a:cubicBezTo>
                    <a:pt x="5098" y="519"/>
                    <a:pt x="5819" y="684"/>
                    <a:pt x="6399" y="992"/>
                  </a:cubicBezTo>
                  <a:cubicBezTo>
                    <a:pt x="6689" y="1144"/>
                    <a:pt x="6945" y="1326"/>
                    <a:pt x="7162" y="1523"/>
                  </a:cubicBezTo>
                  <a:cubicBezTo>
                    <a:pt x="7215" y="1574"/>
                    <a:pt x="7268" y="1622"/>
                    <a:pt x="7317" y="1673"/>
                  </a:cubicBezTo>
                  <a:cubicBezTo>
                    <a:pt x="7458" y="1827"/>
                    <a:pt x="7458" y="1827"/>
                    <a:pt x="7458" y="1827"/>
                  </a:cubicBezTo>
                  <a:cubicBezTo>
                    <a:pt x="7584" y="1983"/>
                    <a:pt x="7584" y="1983"/>
                    <a:pt x="7584" y="1983"/>
                  </a:cubicBezTo>
                  <a:cubicBezTo>
                    <a:pt x="7729" y="2152"/>
                    <a:pt x="7729" y="2152"/>
                    <a:pt x="7729" y="2152"/>
                  </a:cubicBezTo>
                  <a:cubicBezTo>
                    <a:pt x="11156" y="6179"/>
                    <a:pt x="11156" y="6179"/>
                    <a:pt x="11156" y="6179"/>
                  </a:cubicBezTo>
                  <a:cubicBezTo>
                    <a:pt x="11156" y="6179"/>
                    <a:pt x="11563" y="6559"/>
                    <a:pt x="11970" y="6938"/>
                  </a:cubicBezTo>
                  <a:cubicBezTo>
                    <a:pt x="12075" y="7035"/>
                    <a:pt x="12179" y="7131"/>
                    <a:pt x="12277" y="7221"/>
                  </a:cubicBezTo>
                  <a:cubicBezTo>
                    <a:pt x="12382" y="7313"/>
                    <a:pt x="12482" y="7403"/>
                    <a:pt x="12566" y="7475"/>
                  </a:cubicBezTo>
                  <a:cubicBezTo>
                    <a:pt x="12650" y="7546"/>
                    <a:pt x="12720" y="7606"/>
                    <a:pt x="12769" y="7647"/>
                  </a:cubicBezTo>
                  <a:cubicBezTo>
                    <a:pt x="12819" y="7688"/>
                    <a:pt x="12847" y="7711"/>
                    <a:pt x="12847" y="7711"/>
                  </a:cubicBezTo>
                  <a:cubicBezTo>
                    <a:pt x="12800" y="7611"/>
                    <a:pt x="12793" y="7539"/>
                    <a:pt x="12825" y="7501"/>
                  </a:cubicBezTo>
                  <a:cubicBezTo>
                    <a:pt x="12871" y="7447"/>
                    <a:pt x="12996" y="7460"/>
                    <a:pt x="13188" y="7532"/>
                  </a:cubicBezTo>
                  <a:cubicBezTo>
                    <a:pt x="13188" y="7532"/>
                    <a:pt x="13118" y="7460"/>
                    <a:pt x="13013" y="7352"/>
                  </a:cubicBezTo>
                  <a:cubicBezTo>
                    <a:pt x="12909" y="7243"/>
                    <a:pt x="12771" y="7097"/>
                    <a:pt x="12635" y="6945"/>
                  </a:cubicBezTo>
                  <a:cubicBezTo>
                    <a:pt x="12566" y="6869"/>
                    <a:pt x="12506" y="6797"/>
                    <a:pt x="12445" y="6728"/>
                  </a:cubicBezTo>
                  <a:cubicBezTo>
                    <a:pt x="12385" y="6657"/>
                    <a:pt x="12328" y="6592"/>
                    <a:pt x="12280" y="6535"/>
                  </a:cubicBezTo>
                  <a:cubicBezTo>
                    <a:pt x="12185" y="6424"/>
                    <a:pt x="12122" y="6350"/>
                    <a:pt x="12122" y="6350"/>
                  </a:cubicBezTo>
                  <a:cubicBezTo>
                    <a:pt x="11663" y="5956"/>
                    <a:pt x="11183" y="5526"/>
                    <a:pt x="10700" y="5075"/>
                  </a:cubicBezTo>
                  <a:cubicBezTo>
                    <a:pt x="9592" y="4042"/>
                    <a:pt x="8597" y="3020"/>
                    <a:pt x="7898" y="2199"/>
                  </a:cubicBezTo>
                  <a:cubicBezTo>
                    <a:pt x="7898" y="2199"/>
                    <a:pt x="7845" y="2137"/>
                    <a:pt x="7752" y="2027"/>
                  </a:cubicBezTo>
                  <a:cubicBezTo>
                    <a:pt x="7726" y="1997"/>
                    <a:pt x="7698" y="1964"/>
                    <a:pt x="7667" y="1928"/>
                  </a:cubicBezTo>
                  <a:cubicBezTo>
                    <a:pt x="7641" y="1895"/>
                    <a:pt x="7613" y="1860"/>
                    <a:pt x="7584" y="1822"/>
                  </a:cubicBezTo>
                  <a:cubicBezTo>
                    <a:pt x="7526" y="1744"/>
                    <a:pt x="7452" y="1665"/>
                    <a:pt x="7373" y="1574"/>
                  </a:cubicBezTo>
                  <a:cubicBezTo>
                    <a:pt x="7209" y="1400"/>
                    <a:pt x="7002" y="1207"/>
                    <a:pt x="6754" y="1029"/>
                  </a:cubicBezTo>
                  <a:cubicBezTo>
                    <a:pt x="6506" y="849"/>
                    <a:pt x="6218" y="685"/>
                    <a:pt x="5911" y="551"/>
                  </a:cubicBezTo>
                  <a:cubicBezTo>
                    <a:pt x="5605" y="418"/>
                    <a:pt x="5283" y="315"/>
                    <a:pt x="4974" y="241"/>
                  </a:cubicBezTo>
                  <a:cubicBezTo>
                    <a:pt x="4896" y="224"/>
                    <a:pt x="4820" y="208"/>
                    <a:pt x="4745" y="191"/>
                  </a:cubicBezTo>
                  <a:cubicBezTo>
                    <a:pt x="4670" y="176"/>
                    <a:pt x="4594" y="165"/>
                    <a:pt x="4521" y="152"/>
                  </a:cubicBezTo>
                  <a:cubicBezTo>
                    <a:pt x="4484" y="146"/>
                    <a:pt x="4448" y="140"/>
                    <a:pt x="4413" y="134"/>
                  </a:cubicBezTo>
                  <a:cubicBezTo>
                    <a:pt x="4379" y="129"/>
                    <a:pt x="4345" y="125"/>
                    <a:pt x="4312" y="120"/>
                  </a:cubicBezTo>
                  <a:cubicBezTo>
                    <a:pt x="4279" y="116"/>
                    <a:pt x="4247" y="112"/>
                    <a:pt x="4215" y="107"/>
                  </a:cubicBezTo>
                  <a:cubicBezTo>
                    <a:pt x="4199" y="105"/>
                    <a:pt x="4183" y="103"/>
                    <a:pt x="4168" y="101"/>
                  </a:cubicBezTo>
                  <a:cubicBezTo>
                    <a:pt x="4145" y="98"/>
                    <a:pt x="4145" y="98"/>
                    <a:pt x="4145" y="98"/>
                  </a:cubicBezTo>
                  <a:cubicBezTo>
                    <a:pt x="4139" y="97"/>
                    <a:pt x="4139" y="97"/>
                    <a:pt x="4139" y="97"/>
                  </a:cubicBezTo>
                  <a:cubicBezTo>
                    <a:pt x="4132" y="97"/>
                    <a:pt x="4132" y="97"/>
                    <a:pt x="4132" y="97"/>
                  </a:cubicBezTo>
                  <a:cubicBezTo>
                    <a:pt x="4130" y="97"/>
                    <a:pt x="4130" y="97"/>
                    <a:pt x="4130" y="97"/>
                  </a:cubicBezTo>
                  <a:cubicBezTo>
                    <a:pt x="4127" y="96"/>
                    <a:pt x="4127" y="96"/>
                    <a:pt x="4127" y="96"/>
                  </a:cubicBezTo>
                  <a:cubicBezTo>
                    <a:pt x="4116" y="95"/>
                    <a:pt x="4116" y="95"/>
                    <a:pt x="4116" y="95"/>
                  </a:cubicBezTo>
                  <a:cubicBezTo>
                    <a:pt x="3626" y="38"/>
                    <a:pt x="3299" y="0"/>
                    <a:pt x="3299" y="0"/>
                  </a:cubicBezTo>
                  <a:cubicBezTo>
                    <a:pt x="2912" y="16"/>
                    <a:pt x="2541" y="38"/>
                    <a:pt x="2191" y="63"/>
                  </a:cubicBezTo>
                  <a:cubicBezTo>
                    <a:pt x="2252" y="96"/>
                    <a:pt x="2284" y="131"/>
                    <a:pt x="2284" y="166"/>
                  </a:cubicBezTo>
                  <a:cubicBezTo>
                    <a:pt x="2284" y="298"/>
                    <a:pt x="1840" y="422"/>
                    <a:pt x="1032" y="515"/>
                  </a:cubicBezTo>
                  <a:cubicBezTo>
                    <a:pt x="1032" y="515"/>
                    <a:pt x="717" y="552"/>
                    <a:pt x="244" y="606"/>
                  </a:cubicBezTo>
                  <a:cubicBezTo>
                    <a:pt x="230" y="608"/>
                    <a:pt x="215" y="610"/>
                    <a:pt x="200" y="612"/>
                  </a:cubicBezTo>
                  <a:cubicBezTo>
                    <a:pt x="185" y="613"/>
                    <a:pt x="167" y="615"/>
                    <a:pt x="159" y="617"/>
                  </a:cubicBezTo>
                  <a:cubicBezTo>
                    <a:pt x="127" y="624"/>
                    <a:pt x="127" y="624"/>
                    <a:pt x="127" y="624"/>
                  </a:cubicBezTo>
                  <a:cubicBezTo>
                    <a:pt x="99" y="633"/>
                    <a:pt x="99" y="633"/>
                    <a:pt x="99" y="633"/>
                  </a:cubicBezTo>
                  <a:cubicBezTo>
                    <a:pt x="63" y="646"/>
                    <a:pt x="38" y="664"/>
                    <a:pt x="27" y="681"/>
                  </a:cubicBezTo>
                  <a:cubicBezTo>
                    <a:pt x="16" y="698"/>
                    <a:pt x="13" y="714"/>
                    <a:pt x="8" y="743"/>
                  </a:cubicBezTo>
                  <a:cubicBezTo>
                    <a:pt x="3" y="770"/>
                    <a:pt x="0" y="812"/>
                    <a:pt x="3" y="859"/>
                  </a:cubicBezTo>
                  <a:cubicBezTo>
                    <a:pt x="35" y="1143"/>
                    <a:pt x="70" y="1445"/>
                    <a:pt x="105" y="1748"/>
                  </a:cubicBezTo>
                  <a:cubicBezTo>
                    <a:pt x="251" y="3008"/>
                    <a:pt x="396" y="4268"/>
                    <a:pt x="396" y="4268"/>
                  </a:cubicBezTo>
                  <a:cubicBezTo>
                    <a:pt x="490" y="5076"/>
                    <a:pt x="541" y="6149"/>
                    <a:pt x="541" y="7291"/>
                  </a:cubicBezTo>
                  <a:cubicBezTo>
                    <a:pt x="541" y="7321"/>
                    <a:pt x="541" y="7350"/>
                    <a:pt x="541" y="7380"/>
                  </a:cubicBezTo>
                  <a:cubicBezTo>
                    <a:pt x="557" y="7417"/>
                    <a:pt x="574" y="7449"/>
                    <a:pt x="591" y="7475"/>
                  </a:cubicBezTo>
                  <a:cubicBezTo>
                    <a:pt x="591" y="5163"/>
                    <a:pt x="591" y="5163"/>
                    <a:pt x="591" y="5163"/>
                  </a:cubicBezTo>
                  <a:cubicBezTo>
                    <a:pt x="591" y="5163"/>
                    <a:pt x="439" y="3850"/>
                    <a:pt x="287" y="2537"/>
                  </a:cubicBezTo>
                  <a:cubicBezTo>
                    <a:pt x="249" y="2208"/>
                    <a:pt x="211" y="1880"/>
                    <a:pt x="176" y="157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42C4E74E-3C4F-45ED-B264-961766B55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2363" y="6291263"/>
              <a:ext cx="1588" cy="0"/>
            </a:xfrm>
            <a:custGeom>
              <a:avLst/>
              <a:gdLst>
                <a:gd name="T0" fmla="*/ 13 w 13"/>
                <a:gd name="T1" fmla="*/ 10 h 10"/>
                <a:gd name="T2" fmla="*/ 0 w 13"/>
                <a:gd name="T3" fmla="*/ 0 h 10"/>
                <a:gd name="T4" fmla="*/ 13 w 13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13" y="10"/>
                  </a:moveTo>
                  <a:cubicBezTo>
                    <a:pt x="8" y="7"/>
                    <a:pt x="4" y="4"/>
                    <a:pt x="0" y="0"/>
                  </a:cubicBezTo>
                  <a:cubicBezTo>
                    <a:pt x="4" y="4"/>
                    <a:pt x="8" y="7"/>
                    <a:pt x="13" y="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B6B29F96-A6AB-4436-9A8F-A2C8A84A8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1251" y="6281738"/>
              <a:ext cx="7938" cy="6350"/>
            </a:xfrm>
            <a:custGeom>
              <a:avLst/>
              <a:gdLst>
                <a:gd name="T0" fmla="*/ 142 w 158"/>
                <a:gd name="T1" fmla="*/ 108 h 120"/>
                <a:gd name="T2" fmla="*/ 158 w 158"/>
                <a:gd name="T3" fmla="*/ 120 h 120"/>
                <a:gd name="T4" fmla="*/ 0 w 158"/>
                <a:gd name="T5" fmla="*/ 0 h 120"/>
                <a:gd name="T6" fmla="*/ 142 w 158"/>
                <a:gd name="T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120">
                  <a:moveTo>
                    <a:pt x="142" y="108"/>
                  </a:moveTo>
                  <a:cubicBezTo>
                    <a:pt x="147" y="112"/>
                    <a:pt x="152" y="116"/>
                    <a:pt x="158" y="120"/>
                  </a:cubicBezTo>
                  <a:cubicBezTo>
                    <a:pt x="110" y="83"/>
                    <a:pt x="57" y="43"/>
                    <a:pt x="0" y="0"/>
                  </a:cubicBezTo>
                  <a:cubicBezTo>
                    <a:pt x="51" y="38"/>
                    <a:pt x="98" y="75"/>
                    <a:pt x="142" y="10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4F6E222C-E6E9-43BB-BBE8-C67139A41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8076" y="6280150"/>
              <a:ext cx="3175" cy="1588"/>
            </a:xfrm>
            <a:custGeom>
              <a:avLst/>
              <a:gdLst>
                <a:gd name="T0" fmla="*/ 6 w 44"/>
                <a:gd name="T1" fmla="*/ 4 h 34"/>
                <a:gd name="T2" fmla="*/ 44 w 44"/>
                <a:gd name="T3" fmla="*/ 34 h 34"/>
                <a:gd name="T4" fmla="*/ 0 w 44"/>
                <a:gd name="T5" fmla="*/ 0 h 34"/>
                <a:gd name="T6" fmla="*/ 6 w 44"/>
                <a:gd name="T7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4">
                  <a:moveTo>
                    <a:pt x="6" y="4"/>
                  </a:moveTo>
                  <a:cubicBezTo>
                    <a:pt x="19" y="14"/>
                    <a:pt x="31" y="24"/>
                    <a:pt x="44" y="34"/>
                  </a:cubicBezTo>
                  <a:cubicBezTo>
                    <a:pt x="30" y="22"/>
                    <a:pt x="16" y="12"/>
                    <a:pt x="0" y="0"/>
                  </a:cubicBezTo>
                  <a:cubicBezTo>
                    <a:pt x="2" y="1"/>
                    <a:pt x="4" y="3"/>
                    <a:pt x="6" y="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92026E11-1A6A-434F-9DCF-6948F617A7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3951" y="6291263"/>
              <a:ext cx="3175" cy="1588"/>
            </a:xfrm>
            <a:custGeom>
              <a:avLst/>
              <a:gdLst>
                <a:gd name="T0" fmla="*/ 47 w 47"/>
                <a:gd name="T1" fmla="*/ 35 h 35"/>
                <a:gd name="T2" fmla="*/ 0 w 47"/>
                <a:gd name="T3" fmla="*/ 0 h 35"/>
                <a:gd name="T4" fmla="*/ 47 w 47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35">
                  <a:moveTo>
                    <a:pt x="47" y="35"/>
                  </a:moveTo>
                  <a:cubicBezTo>
                    <a:pt x="32" y="24"/>
                    <a:pt x="16" y="12"/>
                    <a:pt x="0" y="0"/>
                  </a:cubicBezTo>
                  <a:cubicBezTo>
                    <a:pt x="16" y="12"/>
                    <a:pt x="32" y="24"/>
                    <a:pt x="47" y="3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26795AD2-B952-471B-AEFD-3BD62D34C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2401" y="5932488"/>
              <a:ext cx="573088" cy="592138"/>
            </a:xfrm>
            <a:custGeom>
              <a:avLst/>
              <a:gdLst>
                <a:gd name="T0" fmla="*/ 9047 w 10356"/>
                <a:gd name="T1" fmla="*/ 299 h 10710"/>
                <a:gd name="T2" fmla="*/ 8131 w 10356"/>
                <a:gd name="T3" fmla="*/ 65 h 10710"/>
                <a:gd name="T4" fmla="*/ 7919 w 10356"/>
                <a:gd name="T5" fmla="*/ 36 h 10710"/>
                <a:gd name="T6" fmla="*/ 7840 w 10356"/>
                <a:gd name="T7" fmla="*/ 26 h 10710"/>
                <a:gd name="T8" fmla="*/ 6831 w 10356"/>
                <a:gd name="T9" fmla="*/ 44 h 10710"/>
                <a:gd name="T10" fmla="*/ 5313 w 10356"/>
                <a:gd name="T11" fmla="*/ 685 h 10710"/>
                <a:gd name="T12" fmla="*/ 4460 w 10356"/>
                <a:gd name="T13" fmla="*/ 2135 h 10710"/>
                <a:gd name="T14" fmla="*/ 4555 w 10356"/>
                <a:gd name="T15" fmla="*/ 4144 h 10710"/>
                <a:gd name="T16" fmla="*/ 4744 w 10356"/>
                <a:gd name="T17" fmla="*/ 8718 h 10710"/>
                <a:gd name="T18" fmla="*/ 4738 w 10356"/>
                <a:gd name="T19" fmla="*/ 9133 h 10710"/>
                <a:gd name="T20" fmla="*/ 4735 w 10356"/>
                <a:gd name="T21" fmla="*/ 9259 h 10710"/>
                <a:gd name="T22" fmla="*/ 4724 w 10356"/>
                <a:gd name="T23" fmla="*/ 9413 h 10710"/>
                <a:gd name="T24" fmla="*/ 4670 w 10356"/>
                <a:gd name="T25" fmla="*/ 9689 h 10710"/>
                <a:gd name="T26" fmla="*/ 4417 w 10356"/>
                <a:gd name="T27" fmla="*/ 10165 h 10710"/>
                <a:gd name="T28" fmla="*/ 3920 w 10356"/>
                <a:gd name="T29" fmla="*/ 10508 h 10710"/>
                <a:gd name="T30" fmla="*/ 3674 w 10356"/>
                <a:gd name="T31" fmla="*/ 10570 h 10710"/>
                <a:gd name="T32" fmla="*/ 3465 w 10356"/>
                <a:gd name="T33" fmla="*/ 10584 h 10710"/>
                <a:gd name="T34" fmla="*/ 3414 w 10356"/>
                <a:gd name="T35" fmla="*/ 10584 h 10710"/>
                <a:gd name="T36" fmla="*/ 3317 w 10356"/>
                <a:gd name="T37" fmla="*/ 10580 h 10710"/>
                <a:gd name="T38" fmla="*/ 2216 w 10356"/>
                <a:gd name="T39" fmla="*/ 10514 h 10710"/>
                <a:gd name="T40" fmla="*/ 1556 w 10356"/>
                <a:gd name="T41" fmla="*/ 10454 h 10710"/>
                <a:gd name="T42" fmla="*/ 1439 w 10356"/>
                <a:gd name="T43" fmla="*/ 10441 h 10710"/>
                <a:gd name="T44" fmla="*/ 1430 w 10356"/>
                <a:gd name="T45" fmla="*/ 10440 h 10710"/>
                <a:gd name="T46" fmla="*/ 1415 w 10356"/>
                <a:gd name="T47" fmla="*/ 10440 h 10710"/>
                <a:gd name="T48" fmla="*/ 1339 w 10356"/>
                <a:gd name="T49" fmla="*/ 10430 h 10710"/>
                <a:gd name="T50" fmla="*/ 1157 w 10356"/>
                <a:gd name="T51" fmla="*/ 10404 h 10710"/>
                <a:gd name="T52" fmla="*/ 313 w 10356"/>
                <a:gd name="T53" fmla="*/ 10201 h 10710"/>
                <a:gd name="T54" fmla="*/ 127 w 10356"/>
                <a:gd name="T55" fmla="*/ 10131 h 10710"/>
                <a:gd name="T56" fmla="*/ 0 w 10356"/>
                <a:gd name="T57" fmla="*/ 10211 h 10710"/>
                <a:gd name="T58" fmla="*/ 887 w 10356"/>
                <a:gd name="T59" fmla="*/ 10459 h 10710"/>
                <a:gd name="T60" fmla="*/ 1172 w 10356"/>
                <a:gd name="T61" fmla="*/ 10506 h 10710"/>
                <a:gd name="T62" fmla="*/ 1339 w 10356"/>
                <a:gd name="T63" fmla="*/ 10529 h 10710"/>
                <a:gd name="T64" fmla="*/ 1405 w 10356"/>
                <a:gd name="T65" fmla="*/ 10537 h 10710"/>
                <a:gd name="T66" fmla="*/ 1413 w 10356"/>
                <a:gd name="T67" fmla="*/ 10538 h 10710"/>
                <a:gd name="T68" fmla="*/ 1429 w 10356"/>
                <a:gd name="T69" fmla="*/ 10539 h 10710"/>
                <a:gd name="T70" fmla="*/ 1462 w 10356"/>
                <a:gd name="T71" fmla="*/ 10543 h 10710"/>
                <a:gd name="T72" fmla="*/ 2905 w 10356"/>
                <a:gd name="T73" fmla="*/ 10710 h 10710"/>
                <a:gd name="T74" fmla="*/ 3373 w 10356"/>
                <a:gd name="T75" fmla="*/ 10710 h 10710"/>
                <a:gd name="T76" fmla="*/ 3429 w 10356"/>
                <a:gd name="T77" fmla="*/ 10710 h 10710"/>
                <a:gd name="T78" fmla="*/ 3556 w 10356"/>
                <a:gd name="T79" fmla="*/ 10705 h 10710"/>
                <a:gd name="T80" fmla="*/ 4120 w 10356"/>
                <a:gd name="T81" fmla="*/ 10545 h 10710"/>
                <a:gd name="T82" fmla="*/ 4791 w 10356"/>
                <a:gd name="T83" fmla="*/ 9630 h 10710"/>
                <a:gd name="T84" fmla="*/ 4830 w 10356"/>
                <a:gd name="T85" fmla="*/ 9345 h 10710"/>
                <a:gd name="T86" fmla="*/ 4832 w 10356"/>
                <a:gd name="T87" fmla="*/ 9304 h 10710"/>
                <a:gd name="T88" fmla="*/ 4834 w 10356"/>
                <a:gd name="T89" fmla="*/ 9006 h 10710"/>
                <a:gd name="T90" fmla="*/ 4834 w 10356"/>
                <a:gd name="T91" fmla="*/ 5538 h 10710"/>
                <a:gd name="T92" fmla="*/ 4591 w 10356"/>
                <a:gd name="T93" fmla="*/ 3658 h 10710"/>
                <a:gd name="T94" fmla="*/ 4502 w 10356"/>
                <a:gd name="T95" fmla="*/ 2557 h 10710"/>
                <a:gd name="T96" fmla="*/ 4851 w 10356"/>
                <a:gd name="T97" fmla="*/ 1371 h 10710"/>
                <a:gd name="T98" fmla="*/ 4909 w 10356"/>
                <a:gd name="T99" fmla="*/ 1279 h 10710"/>
                <a:gd name="T100" fmla="*/ 4986 w 10356"/>
                <a:gd name="T101" fmla="*/ 1173 h 10710"/>
                <a:gd name="T102" fmla="*/ 4995 w 10356"/>
                <a:gd name="T103" fmla="*/ 1159 h 10710"/>
                <a:gd name="T104" fmla="*/ 5000 w 10356"/>
                <a:gd name="T105" fmla="*/ 1154 h 10710"/>
                <a:gd name="T106" fmla="*/ 5030 w 10356"/>
                <a:gd name="T107" fmla="*/ 1115 h 10710"/>
                <a:gd name="T108" fmla="*/ 5183 w 10356"/>
                <a:gd name="T109" fmla="*/ 937 h 10710"/>
                <a:gd name="T110" fmla="*/ 6727 w 10356"/>
                <a:gd name="T111" fmla="*/ 153 h 10710"/>
                <a:gd name="T112" fmla="*/ 7813 w 10356"/>
                <a:gd name="T113" fmla="*/ 117 h 10710"/>
                <a:gd name="T114" fmla="*/ 7899 w 10356"/>
                <a:gd name="T115" fmla="*/ 125 h 10710"/>
                <a:gd name="T116" fmla="*/ 8298 w 10356"/>
                <a:gd name="T117" fmla="*/ 186 h 10710"/>
                <a:gd name="T118" fmla="*/ 9159 w 10356"/>
                <a:gd name="T119" fmla="*/ 434 h 10710"/>
                <a:gd name="T120" fmla="*/ 10356 w 10356"/>
                <a:gd name="T121" fmla="*/ 962 h 10710"/>
                <a:gd name="T122" fmla="*/ 9248 w 10356"/>
                <a:gd name="T123" fmla="*/ 370 h 10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56" h="10710">
                  <a:moveTo>
                    <a:pt x="9248" y="370"/>
                  </a:moveTo>
                  <a:cubicBezTo>
                    <a:pt x="9248" y="370"/>
                    <a:pt x="9168" y="340"/>
                    <a:pt x="9047" y="299"/>
                  </a:cubicBezTo>
                  <a:cubicBezTo>
                    <a:pt x="8927" y="257"/>
                    <a:pt x="8763" y="205"/>
                    <a:pt x="8594" y="161"/>
                  </a:cubicBezTo>
                  <a:cubicBezTo>
                    <a:pt x="8426" y="118"/>
                    <a:pt x="8258" y="85"/>
                    <a:pt x="8131" y="65"/>
                  </a:cubicBezTo>
                  <a:cubicBezTo>
                    <a:pt x="8067" y="55"/>
                    <a:pt x="8014" y="47"/>
                    <a:pt x="7977" y="43"/>
                  </a:cubicBezTo>
                  <a:cubicBezTo>
                    <a:pt x="7940" y="38"/>
                    <a:pt x="7919" y="36"/>
                    <a:pt x="7919" y="36"/>
                  </a:cubicBezTo>
                  <a:cubicBezTo>
                    <a:pt x="7919" y="34"/>
                    <a:pt x="7919" y="34"/>
                    <a:pt x="7919" y="34"/>
                  </a:cubicBezTo>
                  <a:cubicBezTo>
                    <a:pt x="7919" y="34"/>
                    <a:pt x="7892" y="31"/>
                    <a:pt x="7840" y="26"/>
                  </a:cubicBezTo>
                  <a:cubicBezTo>
                    <a:pt x="7789" y="20"/>
                    <a:pt x="7713" y="15"/>
                    <a:pt x="7617" y="10"/>
                  </a:cubicBezTo>
                  <a:cubicBezTo>
                    <a:pt x="7426" y="2"/>
                    <a:pt x="7152" y="0"/>
                    <a:pt x="6831" y="44"/>
                  </a:cubicBezTo>
                  <a:cubicBezTo>
                    <a:pt x="6511" y="84"/>
                    <a:pt x="6144" y="179"/>
                    <a:pt x="5800" y="357"/>
                  </a:cubicBezTo>
                  <a:cubicBezTo>
                    <a:pt x="5628" y="446"/>
                    <a:pt x="5463" y="556"/>
                    <a:pt x="5313" y="685"/>
                  </a:cubicBezTo>
                  <a:cubicBezTo>
                    <a:pt x="5164" y="812"/>
                    <a:pt x="5026" y="963"/>
                    <a:pt x="4913" y="1117"/>
                  </a:cubicBezTo>
                  <a:cubicBezTo>
                    <a:pt x="4672" y="1439"/>
                    <a:pt x="4527" y="1791"/>
                    <a:pt x="4460" y="2135"/>
                  </a:cubicBezTo>
                  <a:cubicBezTo>
                    <a:pt x="4393" y="2478"/>
                    <a:pt x="4400" y="2808"/>
                    <a:pt x="4433" y="3088"/>
                  </a:cubicBezTo>
                  <a:cubicBezTo>
                    <a:pt x="4507" y="3722"/>
                    <a:pt x="4555" y="4144"/>
                    <a:pt x="4555" y="4144"/>
                  </a:cubicBezTo>
                  <a:cubicBezTo>
                    <a:pt x="4679" y="5216"/>
                    <a:pt x="4748" y="6640"/>
                    <a:pt x="4748" y="8155"/>
                  </a:cubicBezTo>
                  <a:cubicBezTo>
                    <a:pt x="4746" y="8344"/>
                    <a:pt x="4745" y="8531"/>
                    <a:pt x="4744" y="8718"/>
                  </a:cubicBezTo>
                  <a:cubicBezTo>
                    <a:pt x="4743" y="8811"/>
                    <a:pt x="4742" y="8903"/>
                    <a:pt x="4740" y="8996"/>
                  </a:cubicBezTo>
                  <a:cubicBezTo>
                    <a:pt x="4738" y="9133"/>
                    <a:pt x="4738" y="9133"/>
                    <a:pt x="4738" y="9133"/>
                  </a:cubicBezTo>
                  <a:cubicBezTo>
                    <a:pt x="4736" y="9202"/>
                    <a:pt x="4736" y="9202"/>
                    <a:pt x="4736" y="9202"/>
                  </a:cubicBezTo>
                  <a:cubicBezTo>
                    <a:pt x="4735" y="9259"/>
                    <a:pt x="4735" y="9259"/>
                    <a:pt x="4735" y="9259"/>
                  </a:cubicBezTo>
                  <a:cubicBezTo>
                    <a:pt x="4733" y="9293"/>
                    <a:pt x="4733" y="9293"/>
                    <a:pt x="4733" y="9293"/>
                  </a:cubicBezTo>
                  <a:cubicBezTo>
                    <a:pt x="4733" y="9304"/>
                    <a:pt x="4729" y="9367"/>
                    <a:pt x="4724" y="9413"/>
                  </a:cubicBezTo>
                  <a:cubicBezTo>
                    <a:pt x="4719" y="9464"/>
                    <a:pt x="4711" y="9505"/>
                    <a:pt x="4703" y="9549"/>
                  </a:cubicBezTo>
                  <a:cubicBezTo>
                    <a:pt x="4696" y="9592"/>
                    <a:pt x="4682" y="9644"/>
                    <a:pt x="4670" y="9689"/>
                  </a:cubicBezTo>
                  <a:cubicBezTo>
                    <a:pt x="4654" y="9740"/>
                    <a:pt x="4638" y="9789"/>
                    <a:pt x="4615" y="9842"/>
                  </a:cubicBezTo>
                  <a:cubicBezTo>
                    <a:pt x="4570" y="9947"/>
                    <a:pt x="4505" y="10060"/>
                    <a:pt x="4417" y="10165"/>
                  </a:cubicBezTo>
                  <a:cubicBezTo>
                    <a:pt x="4327" y="10269"/>
                    <a:pt x="4214" y="10363"/>
                    <a:pt x="4096" y="10427"/>
                  </a:cubicBezTo>
                  <a:cubicBezTo>
                    <a:pt x="4037" y="10461"/>
                    <a:pt x="3978" y="10485"/>
                    <a:pt x="3920" y="10508"/>
                  </a:cubicBezTo>
                  <a:cubicBezTo>
                    <a:pt x="3864" y="10526"/>
                    <a:pt x="3804" y="10545"/>
                    <a:pt x="3753" y="10555"/>
                  </a:cubicBezTo>
                  <a:cubicBezTo>
                    <a:pt x="3727" y="10560"/>
                    <a:pt x="3701" y="10565"/>
                    <a:pt x="3674" y="10570"/>
                  </a:cubicBezTo>
                  <a:cubicBezTo>
                    <a:pt x="3601" y="10578"/>
                    <a:pt x="3601" y="10578"/>
                    <a:pt x="3601" y="10578"/>
                  </a:cubicBezTo>
                  <a:cubicBezTo>
                    <a:pt x="3551" y="10584"/>
                    <a:pt x="3509" y="10584"/>
                    <a:pt x="3465" y="10584"/>
                  </a:cubicBezTo>
                  <a:cubicBezTo>
                    <a:pt x="3432" y="10585"/>
                    <a:pt x="3432" y="10585"/>
                    <a:pt x="3432" y="10585"/>
                  </a:cubicBezTo>
                  <a:cubicBezTo>
                    <a:pt x="3414" y="10584"/>
                    <a:pt x="3414" y="10584"/>
                    <a:pt x="3414" y="10584"/>
                  </a:cubicBezTo>
                  <a:cubicBezTo>
                    <a:pt x="3382" y="10583"/>
                    <a:pt x="3382" y="10583"/>
                    <a:pt x="3382" y="10583"/>
                  </a:cubicBezTo>
                  <a:cubicBezTo>
                    <a:pt x="3317" y="10580"/>
                    <a:pt x="3317" y="10580"/>
                    <a:pt x="3317" y="10580"/>
                  </a:cubicBezTo>
                  <a:cubicBezTo>
                    <a:pt x="3189" y="10574"/>
                    <a:pt x="3189" y="10574"/>
                    <a:pt x="3189" y="10574"/>
                  </a:cubicBezTo>
                  <a:cubicBezTo>
                    <a:pt x="2850" y="10558"/>
                    <a:pt x="2524" y="10537"/>
                    <a:pt x="2216" y="10514"/>
                  </a:cubicBezTo>
                  <a:cubicBezTo>
                    <a:pt x="2062" y="10502"/>
                    <a:pt x="1913" y="10489"/>
                    <a:pt x="1768" y="10475"/>
                  </a:cubicBezTo>
                  <a:cubicBezTo>
                    <a:pt x="1556" y="10454"/>
                    <a:pt x="1556" y="10454"/>
                    <a:pt x="1556" y="10454"/>
                  </a:cubicBezTo>
                  <a:cubicBezTo>
                    <a:pt x="1452" y="10443"/>
                    <a:pt x="1452" y="10443"/>
                    <a:pt x="1452" y="10443"/>
                  </a:cubicBezTo>
                  <a:cubicBezTo>
                    <a:pt x="1439" y="10441"/>
                    <a:pt x="1439" y="10441"/>
                    <a:pt x="1439" y="10441"/>
                  </a:cubicBezTo>
                  <a:cubicBezTo>
                    <a:pt x="1433" y="10441"/>
                    <a:pt x="1433" y="10441"/>
                    <a:pt x="1433" y="10441"/>
                  </a:cubicBezTo>
                  <a:cubicBezTo>
                    <a:pt x="1430" y="10440"/>
                    <a:pt x="1430" y="10440"/>
                    <a:pt x="1430" y="10440"/>
                  </a:cubicBezTo>
                  <a:cubicBezTo>
                    <a:pt x="1428" y="10440"/>
                    <a:pt x="1428" y="10440"/>
                    <a:pt x="1428" y="10440"/>
                  </a:cubicBezTo>
                  <a:cubicBezTo>
                    <a:pt x="1415" y="10440"/>
                    <a:pt x="1415" y="10440"/>
                    <a:pt x="1415" y="10440"/>
                  </a:cubicBezTo>
                  <a:cubicBezTo>
                    <a:pt x="1389" y="10437"/>
                    <a:pt x="1389" y="10437"/>
                    <a:pt x="1389" y="10437"/>
                  </a:cubicBezTo>
                  <a:cubicBezTo>
                    <a:pt x="1339" y="10430"/>
                    <a:pt x="1339" y="10430"/>
                    <a:pt x="1339" y="10430"/>
                  </a:cubicBezTo>
                  <a:cubicBezTo>
                    <a:pt x="1339" y="10430"/>
                    <a:pt x="1322" y="10428"/>
                    <a:pt x="1292" y="10424"/>
                  </a:cubicBezTo>
                  <a:cubicBezTo>
                    <a:pt x="1260" y="10419"/>
                    <a:pt x="1213" y="10412"/>
                    <a:pt x="1157" y="10404"/>
                  </a:cubicBezTo>
                  <a:cubicBezTo>
                    <a:pt x="1032" y="10387"/>
                    <a:pt x="881" y="10360"/>
                    <a:pt x="728" y="10322"/>
                  </a:cubicBezTo>
                  <a:cubicBezTo>
                    <a:pt x="576" y="10287"/>
                    <a:pt x="425" y="10240"/>
                    <a:pt x="313" y="10201"/>
                  </a:cubicBezTo>
                  <a:cubicBezTo>
                    <a:pt x="256" y="10183"/>
                    <a:pt x="210" y="10164"/>
                    <a:pt x="178" y="10151"/>
                  </a:cubicBezTo>
                  <a:cubicBezTo>
                    <a:pt x="146" y="10139"/>
                    <a:pt x="127" y="10131"/>
                    <a:pt x="127" y="10131"/>
                  </a:cubicBezTo>
                  <a:cubicBezTo>
                    <a:pt x="56" y="10150"/>
                    <a:pt x="12" y="10173"/>
                    <a:pt x="0" y="10210"/>
                  </a:cubicBezTo>
                  <a:cubicBezTo>
                    <a:pt x="0" y="10211"/>
                    <a:pt x="0" y="10211"/>
                    <a:pt x="0" y="10211"/>
                  </a:cubicBezTo>
                  <a:cubicBezTo>
                    <a:pt x="204" y="10290"/>
                    <a:pt x="406" y="10350"/>
                    <a:pt x="601" y="10398"/>
                  </a:cubicBezTo>
                  <a:cubicBezTo>
                    <a:pt x="698" y="10419"/>
                    <a:pt x="794" y="10443"/>
                    <a:pt x="887" y="10459"/>
                  </a:cubicBezTo>
                  <a:cubicBezTo>
                    <a:pt x="935" y="10467"/>
                    <a:pt x="980" y="10477"/>
                    <a:pt x="1028" y="10484"/>
                  </a:cubicBezTo>
                  <a:cubicBezTo>
                    <a:pt x="1172" y="10506"/>
                    <a:pt x="1172" y="10506"/>
                    <a:pt x="1172" y="10506"/>
                  </a:cubicBezTo>
                  <a:cubicBezTo>
                    <a:pt x="1172" y="10506"/>
                    <a:pt x="1202" y="10510"/>
                    <a:pt x="1255" y="10517"/>
                  </a:cubicBezTo>
                  <a:cubicBezTo>
                    <a:pt x="1279" y="10520"/>
                    <a:pt x="1307" y="10524"/>
                    <a:pt x="1339" y="10529"/>
                  </a:cubicBezTo>
                  <a:cubicBezTo>
                    <a:pt x="1356" y="10531"/>
                    <a:pt x="1373" y="10533"/>
                    <a:pt x="1391" y="10536"/>
                  </a:cubicBezTo>
                  <a:cubicBezTo>
                    <a:pt x="1405" y="10537"/>
                    <a:pt x="1405" y="10537"/>
                    <a:pt x="1405" y="10537"/>
                  </a:cubicBezTo>
                  <a:cubicBezTo>
                    <a:pt x="1412" y="10538"/>
                    <a:pt x="1412" y="10538"/>
                    <a:pt x="1412" y="10538"/>
                  </a:cubicBezTo>
                  <a:cubicBezTo>
                    <a:pt x="1413" y="10538"/>
                    <a:pt x="1413" y="10538"/>
                    <a:pt x="1413" y="10538"/>
                  </a:cubicBezTo>
                  <a:cubicBezTo>
                    <a:pt x="1427" y="10539"/>
                    <a:pt x="1427" y="10539"/>
                    <a:pt x="1427" y="10539"/>
                  </a:cubicBezTo>
                  <a:cubicBezTo>
                    <a:pt x="1429" y="10539"/>
                    <a:pt x="1429" y="10539"/>
                    <a:pt x="1429" y="10539"/>
                  </a:cubicBezTo>
                  <a:cubicBezTo>
                    <a:pt x="1433" y="10539"/>
                    <a:pt x="1433" y="10539"/>
                    <a:pt x="1433" y="10539"/>
                  </a:cubicBezTo>
                  <a:cubicBezTo>
                    <a:pt x="1442" y="10540"/>
                    <a:pt x="1452" y="10542"/>
                    <a:pt x="1462" y="10543"/>
                  </a:cubicBezTo>
                  <a:cubicBezTo>
                    <a:pt x="1622" y="10561"/>
                    <a:pt x="1836" y="10586"/>
                    <a:pt x="2050" y="10611"/>
                  </a:cubicBezTo>
                  <a:cubicBezTo>
                    <a:pt x="2478" y="10660"/>
                    <a:pt x="2905" y="10710"/>
                    <a:pt x="2905" y="10710"/>
                  </a:cubicBezTo>
                  <a:cubicBezTo>
                    <a:pt x="2905" y="10710"/>
                    <a:pt x="2984" y="10710"/>
                    <a:pt x="3123" y="10710"/>
                  </a:cubicBezTo>
                  <a:cubicBezTo>
                    <a:pt x="3192" y="10710"/>
                    <a:pt x="3277" y="10710"/>
                    <a:pt x="3373" y="10710"/>
                  </a:cubicBezTo>
                  <a:cubicBezTo>
                    <a:pt x="3385" y="10710"/>
                    <a:pt x="3398" y="10710"/>
                    <a:pt x="3410" y="10710"/>
                  </a:cubicBezTo>
                  <a:cubicBezTo>
                    <a:pt x="3429" y="10710"/>
                    <a:pt x="3429" y="10710"/>
                    <a:pt x="3429" y="10710"/>
                  </a:cubicBezTo>
                  <a:cubicBezTo>
                    <a:pt x="3470" y="10709"/>
                    <a:pt x="3470" y="10709"/>
                    <a:pt x="3470" y="10709"/>
                  </a:cubicBezTo>
                  <a:cubicBezTo>
                    <a:pt x="3498" y="10707"/>
                    <a:pt x="3527" y="10706"/>
                    <a:pt x="3556" y="10705"/>
                  </a:cubicBezTo>
                  <a:cubicBezTo>
                    <a:pt x="3587" y="10702"/>
                    <a:pt x="3620" y="10698"/>
                    <a:pt x="3652" y="10694"/>
                  </a:cubicBezTo>
                  <a:cubicBezTo>
                    <a:pt x="3785" y="10675"/>
                    <a:pt x="3945" y="10638"/>
                    <a:pt x="4120" y="10545"/>
                  </a:cubicBezTo>
                  <a:cubicBezTo>
                    <a:pt x="4294" y="10455"/>
                    <a:pt x="4470" y="10298"/>
                    <a:pt x="4584" y="10125"/>
                  </a:cubicBezTo>
                  <a:cubicBezTo>
                    <a:pt x="4700" y="9952"/>
                    <a:pt x="4759" y="9778"/>
                    <a:pt x="4791" y="9630"/>
                  </a:cubicBezTo>
                  <a:cubicBezTo>
                    <a:pt x="4808" y="9551"/>
                    <a:pt x="4818" y="9491"/>
                    <a:pt x="4825" y="9406"/>
                  </a:cubicBezTo>
                  <a:cubicBezTo>
                    <a:pt x="4830" y="9345"/>
                    <a:pt x="4830" y="9345"/>
                    <a:pt x="4830" y="9345"/>
                  </a:cubicBezTo>
                  <a:cubicBezTo>
                    <a:pt x="4831" y="9317"/>
                    <a:pt x="4831" y="9317"/>
                    <a:pt x="4831" y="9317"/>
                  </a:cubicBezTo>
                  <a:cubicBezTo>
                    <a:pt x="4832" y="9304"/>
                    <a:pt x="4832" y="9304"/>
                    <a:pt x="4832" y="9304"/>
                  </a:cubicBezTo>
                  <a:cubicBezTo>
                    <a:pt x="4833" y="9251"/>
                    <a:pt x="4833" y="9251"/>
                    <a:pt x="4833" y="9251"/>
                  </a:cubicBezTo>
                  <a:cubicBezTo>
                    <a:pt x="4833" y="9171"/>
                    <a:pt x="4834" y="9089"/>
                    <a:pt x="4834" y="9006"/>
                  </a:cubicBezTo>
                  <a:cubicBezTo>
                    <a:pt x="4834" y="8708"/>
                    <a:pt x="4834" y="8391"/>
                    <a:pt x="4834" y="8074"/>
                  </a:cubicBezTo>
                  <a:cubicBezTo>
                    <a:pt x="4834" y="6806"/>
                    <a:pt x="4834" y="5538"/>
                    <a:pt x="4834" y="5538"/>
                  </a:cubicBezTo>
                  <a:cubicBezTo>
                    <a:pt x="4794" y="5349"/>
                    <a:pt x="4758" y="5111"/>
                    <a:pt x="4725" y="4828"/>
                  </a:cubicBezTo>
                  <a:cubicBezTo>
                    <a:pt x="4725" y="4828"/>
                    <a:pt x="4671" y="4360"/>
                    <a:pt x="4591" y="3658"/>
                  </a:cubicBezTo>
                  <a:cubicBezTo>
                    <a:pt x="4571" y="3485"/>
                    <a:pt x="4549" y="3297"/>
                    <a:pt x="4526" y="3098"/>
                  </a:cubicBezTo>
                  <a:cubicBezTo>
                    <a:pt x="4505" y="2925"/>
                    <a:pt x="4494" y="2744"/>
                    <a:pt x="4502" y="2557"/>
                  </a:cubicBezTo>
                  <a:cubicBezTo>
                    <a:pt x="4517" y="2186"/>
                    <a:pt x="4609" y="1794"/>
                    <a:pt x="4813" y="1438"/>
                  </a:cubicBezTo>
                  <a:cubicBezTo>
                    <a:pt x="4851" y="1371"/>
                    <a:pt x="4851" y="1371"/>
                    <a:pt x="4851" y="1371"/>
                  </a:cubicBezTo>
                  <a:cubicBezTo>
                    <a:pt x="4890" y="1310"/>
                    <a:pt x="4890" y="1310"/>
                    <a:pt x="4890" y="1310"/>
                  </a:cubicBezTo>
                  <a:cubicBezTo>
                    <a:pt x="4909" y="1279"/>
                    <a:pt x="4909" y="1279"/>
                    <a:pt x="4909" y="1279"/>
                  </a:cubicBezTo>
                  <a:cubicBezTo>
                    <a:pt x="4916" y="1268"/>
                    <a:pt x="4926" y="1256"/>
                    <a:pt x="4934" y="1244"/>
                  </a:cubicBezTo>
                  <a:cubicBezTo>
                    <a:pt x="4986" y="1173"/>
                    <a:pt x="4986" y="1173"/>
                    <a:pt x="4986" y="1173"/>
                  </a:cubicBezTo>
                  <a:cubicBezTo>
                    <a:pt x="4999" y="1156"/>
                    <a:pt x="4999" y="1156"/>
                    <a:pt x="4999" y="1156"/>
                  </a:cubicBezTo>
                  <a:cubicBezTo>
                    <a:pt x="5005" y="1150"/>
                    <a:pt x="4994" y="1161"/>
                    <a:pt x="4995" y="1159"/>
                  </a:cubicBezTo>
                  <a:cubicBezTo>
                    <a:pt x="4997" y="1157"/>
                    <a:pt x="4997" y="1157"/>
                    <a:pt x="4997" y="1157"/>
                  </a:cubicBezTo>
                  <a:cubicBezTo>
                    <a:pt x="5000" y="1154"/>
                    <a:pt x="5000" y="1154"/>
                    <a:pt x="5000" y="1154"/>
                  </a:cubicBezTo>
                  <a:cubicBezTo>
                    <a:pt x="5006" y="1146"/>
                    <a:pt x="5006" y="1146"/>
                    <a:pt x="5006" y="1146"/>
                  </a:cubicBezTo>
                  <a:cubicBezTo>
                    <a:pt x="5030" y="1115"/>
                    <a:pt x="5030" y="1115"/>
                    <a:pt x="5030" y="1115"/>
                  </a:cubicBezTo>
                  <a:cubicBezTo>
                    <a:pt x="5079" y="1054"/>
                    <a:pt x="5079" y="1054"/>
                    <a:pt x="5079" y="1054"/>
                  </a:cubicBezTo>
                  <a:cubicBezTo>
                    <a:pt x="5114" y="1015"/>
                    <a:pt x="5147" y="974"/>
                    <a:pt x="5183" y="937"/>
                  </a:cubicBezTo>
                  <a:cubicBezTo>
                    <a:pt x="5326" y="786"/>
                    <a:pt x="5486" y="654"/>
                    <a:pt x="5658" y="545"/>
                  </a:cubicBezTo>
                  <a:cubicBezTo>
                    <a:pt x="6001" y="326"/>
                    <a:pt x="6389" y="209"/>
                    <a:pt x="6727" y="153"/>
                  </a:cubicBezTo>
                  <a:cubicBezTo>
                    <a:pt x="7072" y="98"/>
                    <a:pt x="7366" y="94"/>
                    <a:pt x="7573" y="102"/>
                  </a:cubicBezTo>
                  <a:cubicBezTo>
                    <a:pt x="7676" y="106"/>
                    <a:pt x="7758" y="112"/>
                    <a:pt x="7813" y="117"/>
                  </a:cubicBezTo>
                  <a:cubicBezTo>
                    <a:pt x="7869" y="123"/>
                    <a:pt x="7899" y="126"/>
                    <a:pt x="7899" y="126"/>
                  </a:cubicBezTo>
                  <a:cubicBezTo>
                    <a:pt x="7899" y="125"/>
                    <a:pt x="7899" y="125"/>
                    <a:pt x="7899" y="125"/>
                  </a:cubicBezTo>
                  <a:cubicBezTo>
                    <a:pt x="7899" y="125"/>
                    <a:pt x="7939" y="129"/>
                    <a:pt x="8009" y="138"/>
                  </a:cubicBezTo>
                  <a:cubicBezTo>
                    <a:pt x="8079" y="148"/>
                    <a:pt x="8179" y="162"/>
                    <a:pt x="8298" y="186"/>
                  </a:cubicBezTo>
                  <a:cubicBezTo>
                    <a:pt x="8418" y="209"/>
                    <a:pt x="8556" y="242"/>
                    <a:pt x="8705" y="285"/>
                  </a:cubicBezTo>
                  <a:cubicBezTo>
                    <a:pt x="8852" y="327"/>
                    <a:pt x="9006" y="379"/>
                    <a:pt x="9159" y="434"/>
                  </a:cubicBezTo>
                  <a:cubicBezTo>
                    <a:pt x="9465" y="543"/>
                    <a:pt x="9766" y="673"/>
                    <a:pt x="9988" y="778"/>
                  </a:cubicBezTo>
                  <a:cubicBezTo>
                    <a:pt x="10211" y="883"/>
                    <a:pt x="10356" y="962"/>
                    <a:pt x="10356" y="962"/>
                  </a:cubicBezTo>
                  <a:cubicBezTo>
                    <a:pt x="10224" y="851"/>
                    <a:pt x="10088" y="744"/>
                    <a:pt x="9950" y="641"/>
                  </a:cubicBezTo>
                  <a:cubicBezTo>
                    <a:pt x="9745" y="560"/>
                    <a:pt x="9512" y="467"/>
                    <a:pt x="9248" y="37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45">
              <a:extLst>
                <a:ext uri="{FF2B5EF4-FFF2-40B4-BE49-F238E27FC236}">
                  <a16:creationId xmlns:a16="http://schemas.microsoft.com/office/drawing/2014/main" id="{1E7E4E08-19DF-4EA7-A22B-10135F625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8238" y="6300788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7A9577DB-FB59-45A6-B4BE-6E68D208E7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38338" y="5916613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5DDB738B-2EE2-4D91-994B-F2CFE59FC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8838" y="6054725"/>
              <a:ext cx="19050" cy="19050"/>
            </a:xfrm>
            <a:custGeom>
              <a:avLst/>
              <a:gdLst>
                <a:gd name="T0" fmla="*/ 0 w 371"/>
                <a:gd name="T1" fmla="*/ 0 h 358"/>
                <a:gd name="T2" fmla="*/ 329 w 371"/>
                <a:gd name="T3" fmla="*/ 318 h 358"/>
                <a:gd name="T4" fmla="*/ 371 w 371"/>
                <a:gd name="T5" fmla="*/ 358 h 358"/>
                <a:gd name="T6" fmla="*/ 48 w 371"/>
                <a:gd name="T7" fmla="*/ 46 h 358"/>
                <a:gd name="T8" fmla="*/ 0 w 371"/>
                <a:gd name="T9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1" h="358">
                  <a:moveTo>
                    <a:pt x="0" y="0"/>
                  </a:moveTo>
                  <a:cubicBezTo>
                    <a:pt x="109" y="105"/>
                    <a:pt x="219" y="211"/>
                    <a:pt x="329" y="318"/>
                  </a:cubicBezTo>
                  <a:cubicBezTo>
                    <a:pt x="343" y="331"/>
                    <a:pt x="357" y="345"/>
                    <a:pt x="371" y="358"/>
                  </a:cubicBezTo>
                  <a:cubicBezTo>
                    <a:pt x="252" y="243"/>
                    <a:pt x="137" y="132"/>
                    <a:pt x="48" y="46"/>
                  </a:cubicBezTo>
                  <a:cubicBezTo>
                    <a:pt x="31" y="30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55E7EEE0-9FEE-4805-9634-2CE342C30C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16151" y="6137275"/>
              <a:ext cx="17463" cy="15875"/>
            </a:xfrm>
            <a:custGeom>
              <a:avLst/>
              <a:gdLst>
                <a:gd name="T0" fmla="*/ 14 w 312"/>
                <a:gd name="T1" fmla="*/ 13 h 284"/>
                <a:gd name="T2" fmla="*/ 0 w 312"/>
                <a:gd name="T3" fmla="*/ 0 h 284"/>
                <a:gd name="T4" fmla="*/ 15 w 312"/>
                <a:gd name="T5" fmla="*/ 14 h 284"/>
                <a:gd name="T6" fmla="*/ 133 w 312"/>
                <a:gd name="T7" fmla="*/ 122 h 284"/>
                <a:gd name="T8" fmla="*/ 312 w 312"/>
                <a:gd name="T9" fmla="*/ 284 h 284"/>
                <a:gd name="T10" fmla="*/ 201 w 312"/>
                <a:gd name="T11" fmla="*/ 183 h 284"/>
                <a:gd name="T12" fmla="*/ 14 w 312"/>
                <a:gd name="T13" fmla="*/ 13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284">
                  <a:moveTo>
                    <a:pt x="14" y="13"/>
                  </a:moveTo>
                  <a:cubicBezTo>
                    <a:pt x="10" y="9"/>
                    <a:pt x="5" y="5"/>
                    <a:pt x="0" y="0"/>
                  </a:cubicBezTo>
                  <a:cubicBezTo>
                    <a:pt x="5" y="5"/>
                    <a:pt x="10" y="10"/>
                    <a:pt x="15" y="14"/>
                  </a:cubicBezTo>
                  <a:cubicBezTo>
                    <a:pt x="86" y="79"/>
                    <a:pt x="133" y="122"/>
                    <a:pt x="133" y="122"/>
                  </a:cubicBezTo>
                  <a:cubicBezTo>
                    <a:pt x="133" y="122"/>
                    <a:pt x="199" y="181"/>
                    <a:pt x="312" y="284"/>
                  </a:cubicBezTo>
                  <a:cubicBezTo>
                    <a:pt x="275" y="250"/>
                    <a:pt x="238" y="217"/>
                    <a:pt x="201" y="183"/>
                  </a:cubicBezTo>
                  <a:cubicBezTo>
                    <a:pt x="139" y="127"/>
                    <a:pt x="77" y="70"/>
                    <a:pt x="14" y="1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E44361E0-8EF7-4F1A-8482-64B720CACF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4376" y="5942013"/>
              <a:ext cx="23813" cy="14288"/>
            </a:xfrm>
            <a:custGeom>
              <a:avLst/>
              <a:gdLst>
                <a:gd name="T0" fmla="*/ 0 w 442"/>
                <a:gd name="T1" fmla="*/ 0 h 278"/>
                <a:gd name="T2" fmla="*/ 442 w 442"/>
                <a:gd name="T3" fmla="*/ 278 h 278"/>
                <a:gd name="T4" fmla="*/ 4 w 442"/>
                <a:gd name="T5" fmla="*/ 3 h 278"/>
                <a:gd name="T6" fmla="*/ 0 w 442"/>
                <a:gd name="T7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2" h="278">
                  <a:moveTo>
                    <a:pt x="0" y="0"/>
                  </a:moveTo>
                  <a:cubicBezTo>
                    <a:pt x="136" y="81"/>
                    <a:pt x="285" y="174"/>
                    <a:pt x="442" y="278"/>
                  </a:cubicBezTo>
                  <a:cubicBezTo>
                    <a:pt x="314" y="193"/>
                    <a:pt x="161" y="95"/>
                    <a:pt x="4" y="3"/>
                  </a:cubicBezTo>
                  <a:cubicBezTo>
                    <a:pt x="3" y="2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AF99BAA9-09A1-4698-A37D-2ACEC8CF35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7713" y="5962650"/>
              <a:ext cx="9525" cy="7938"/>
            </a:xfrm>
            <a:custGeom>
              <a:avLst/>
              <a:gdLst>
                <a:gd name="T0" fmla="*/ 0 w 183"/>
                <a:gd name="T1" fmla="*/ 0 h 129"/>
                <a:gd name="T2" fmla="*/ 163 w 183"/>
                <a:gd name="T3" fmla="*/ 115 h 129"/>
                <a:gd name="T4" fmla="*/ 183 w 183"/>
                <a:gd name="T5" fmla="*/ 129 h 129"/>
                <a:gd name="T6" fmla="*/ 182 w 183"/>
                <a:gd name="T7" fmla="*/ 128 h 129"/>
                <a:gd name="T8" fmla="*/ 0 w 183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9">
                  <a:moveTo>
                    <a:pt x="0" y="0"/>
                  </a:moveTo>
                  <a:cubicBezTo>
                    <a:pt x="54" y="37"/>
                    <a:pt x="108" y="75"/>
                    <a:pt x="163" y="115"/>
                  </a:cubicBezTo>
                  <a:cubicBezTo>
                    <a:pt x="170" y="119"/>
                    <a:pt x="176" y="124"/>
                    <a:pt x="183" y="129"/>
                  </a:cubicBezTo>
                  <a:cubicBezTo>
                    <a:pt x="183" y="129"/>
                    <a:pt x="182" y="128"/>
                    <a:pt x="182" y="128"/>
                  </a:cubicBezTo>
                  <a:cubicBezTo>
                    <a:pt x="182" y="128"/>
                    <a:pt x="112" y="77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B590E0EB-4015-4DB4-9FDC-8D09A0BFD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7126" y="6292850"/>
              <a:ext cx="11113" cy="7938"/>
            </a:xfrm>
            <a:custGeom>
              <a:avLst/>
              <a:gdLst>
                <a:gd name="T0" fmla="*/ 0 w 207"/>
                <a:gd name="T1" fmla="*/ 0 h 144"/>
                <a:gd name="T2" fmla="*/ 207 w 207"/>
                <a:gd name="T3" fmla="*/ 144 h 144"/>
                <a:gd name="T4" fmla="*/ 65 w 207"/>
                <a:gd name="T5" fmla="*/ 46 h 144"/>
                <a:gd name="T6" fmla="*/ 0 w 207"/>
                <a:gd name="T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7" h="144">
                  <a:moveTo>
                    <a:pt x="0" y="0"/>
                  </a:moveTo>
                  <a:cubicBezTo>
                    <a:pt x="127" y="92"/>
                    <a:pt x="201" y="140"/>
                    <a:pt x="207" y="144"/>
                  </a:cubicBezTo>
                  <a:cubicBezTo>
                    <a:pt x="200" y="139"/>
                    <a:pt x="149" y="106"/>
                    <a:pt x="65" y="46"/>
                  </a:cubicBezTo>
                  <a:cubicBezTo>
                    <a:pt x="46" y="32"/>
                    <a:pt x="23" y="1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7BC086F5-62B0-4674-A62C-BFBAEF3310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488" y="5970588"/>
              <a:ext cx="228600" cy="201613"/>
            </a:xfrm>
            <a:custGeom>
              <a:avLst/>
              <a:gdLst>
                <a:gd name="T0" fmla="*/ 1247 w 4133"/>
                <a:gd name="T1" fmla="*/ 520 h 3652"/>
                <a:gd name="T2" fmla="*/ 896 w 4133"/>
                <a:gd name="T3" fmla="*/ 242 h 3652"/>
                <a:gd name="T4" fmla="*/ 725 w 4133"/>
                <a:gd name="T5" fmla="*/ 113 h 3652"/>
                <a:gd name="T6" fmla="*/ 572 w 4133"/>
                <a:gd name="T7" fmla="*/ 0 h 3652"/>
                <a:gd name="T8" fmla="*/ 613 w 4133"/>
                <a:gd name="T9" fmla="*/ 213 h 3652"/>
                <a:gd name="T10" fmla="*/ 422 w 4133"/>
                <a:gd name="T11" fmla="*/ 243 h 3652"/>
                <a:gd name="T12" fmla="*/ 32 w 4133"/>
                <a:gd name="T13" fmla="*/ 129 h 3652"/>
                <a:gd name="T14" fmla="*/ 0 w 4133"/>
                <a:gd name="T15" fmla="*/ 118 h 3652"/>
                <a:gd name="T16" fmla="*/ 260 w 4133"/>
                <a:gd name="T17" fmla="*/ 344 h 3652"/>
                <a:gd name="T18" fmla="*/ 390 w 4133"/>
                <a:gd name="T19" fmla="*/ 461 h 3652"/>
                <a:gd name="T20" fmla="*/ 513 w 4133"/>
                <a:gd name="T21" fmla="*/ 577 h 3652"/>
                <a:gd name="T22" fmla="*/ 564 w 4133"/>
                <a:gd name="T23" fmla="*/ 609 h 3652"/>
                <a:gd name="T24" fmla="*/ 1592 w 4133"/>
                <a:gd name="T25" fmla="*/ 1356 h 3652"/>
                <a:gd name="T26" fmla="*/ 2125 w 4133"/>
                <a:gd name="T27" fmla="*/ 1819 h 3652"/>
                <a:gd name="T28" fmla="*/ 2384 w 4133"/>
                <a:gd name="T29" fmla="*/ 2063 h 3652"/>
                <a:gd name="T30" fmla="*/ 2643 w 4133"/>
                <a:gd name="T31" fmla="*/ 2309 h 3652"/>
                <a:gd name="T32" fmla="*/ 3357 w 4133"/>
                <a:gd name="T33" fmla="*/ 2991 h 3652"/>
                <a:gd name="T34" fmla="*/ 3702 w 4133"/>
                <a:gd name="T35" fmla="*/ 3322 h 3652"/>
                <a:gd name="T36" fmla="*/ 4023 w 4133"/>
                <a:gd name="T37" fmla="*/ 3646 h 3652"/>
                <a:gd name="T38" fmla="*/ 4120 w 4133"/>
                <a:gd name="T39" fmla="*/ 3625 h 3652"/>
                <a:gd name="T40" fmla="*/ 4133 w 4133"/>
                <a:gd name="T41" fmla="*/ 3601 h 3652"/>
                <a:gd name="T42" fmla="*/ 3834 w 4133"/>
                <a:gd name="T43" fmla="*/ 3258 h 3652"/>
                <a:gd name="T44" fmla="*/ 3799 w 4133"/>
                <a:gd name="T45" fmla="*/ 3219 h 3652"/>
                <a:gd name="T46" fmla="*/ 3791 w 4133"/>
                <a:gd name="T47" fmla="*/ 3209 h 3652"/>
                <a:gd name="T48" fmla="*/ 3786 w 4133"/>
                <a:gd name="T49" fmla="*/ 3204 h 3652"/>
                <a:gd name="T50" fmla="*/ 3786 w 4133"/>
                <a:gd name="T51" fmla="*/ 3203 h 3652"/>
                <a:gd name="T52" fmla="*/ 3778 w 4133"/>
                <a:gd name="T53" fmla="*/ 3197 h 3652"/>
                <a:gd name="T54" fmla="*/ 3777 w 4133"/>
                <a:gd name="T55" fmla="*/ 3195 h 3652"/>
                <a:gd name="T56" fmla="*/ 3775 w 4133"/>
                <a:gd name="T57" fmla="*/ 3193 h 3652"/>
                <a:gd name="T58" fmla="*/ 3757 w 4133"/>
                <a:gd name="T59" fmla="*/ 3172 h 3652"/>
                <a:gd name="T60" fmla="*/ 3681 w 4133"/>
                <a:gd name="T61" fmla="*/ 3088 h 3652"/>
                <a:gd name="T62" fmla="*/ 3522 w 4133"/>
                <a:gd name="T63" fmla="*/ 2908 h 3652"/>
                <a:gd name="T64" fmla="*/ 3179 w 4133"/>
                <a:gd name="T65" fmla="*/ 2511 h 3652"/>
                <a:gd name="T66" fmla="*/ 2551 w 4133"/>
                <a:gd name="T67" fmla="*/ 1755 h 3652"/>
                <a:gd name="T68" fmla="*/ 2431 w 4133"/>
                <a:gd name="T69" fmla="*/ 1609 h 3652"/>
                <a:gd name="T70" fmla="*/ 2334 w 4133"/>
                <a:gd name="T71" fmla="*/ 1494 h 3652"/>
                <a:gd name="T72" fmla="*/ 2251 w 4133"/>
                <a:gd name="T73" fmla="*/ 1396 h 3652"/>
                <a:gd name="T74" fmla="*/ 1980 w 4133"/>
                <a:gd name="T75" fmla="*/ 1147 h 3652"/>
                <a:gd name="T76" fmla="*/ 1247 w 4133"/>
                <a:gd name="T77" fmla="*/ 52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33" h="3652">
                  <a:moveTo>
                    <a:pt x="1247" y="520"/>
                  </a:moveTo>
                  <a:cubicBezTo>
                    <a:pt x="1127" y="423"/>
                    <a:pt x="1010" y="331"/>
                    <a:pt x="896" y="242"/>
                  </a:cubicBezTo>
                  <a:cubicBezTo>
                    <a:pt x="838" y="198"/>
                    <a:pt x="781" y="155"/>
                    <a:pt x="725" y="113"/>
                  </a:cubicBezTo>
                  <a:cubicBezTo>
                    <a:pt x="673" y="74"/>
                    <a:pt x="622" y="37"/>
                    <a:pt x="572" y="0"/>
                  </a:cubicBezTo>
                  <a:cubicBezTo>
                    <a:pt x="631" y="102"/>
                    <a:pt x="645" y="174"/>
                    <a:pt x="613" y="213"/>
                  </a:cubicBezTo>
                  <a:cubicBezTo>
                    <a:pt x="586" y="251"/>
                    <a:pt x="521" y="260"/>
                    <a:pt x="422" y="243"/>
                  </a:cubicBezTo>
                  <a:cubicBezTo>
                    <a:pt x="324" y="227"/>
                    <a:pt x="195" y="188"/>
                    <a:pt x="32" y="129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88" y="192"/>
                    <a:pt x="175" y="267"/>
                    <a:pt x="260" y="344"/>
                  </a:cubicBezTo>
                  <a:cubicBezTo>
                    <a:pt x="303" y="383"/>
                    <a:pt x="347" y="422"/>
                    <a:pt x="390" y="461"/>
                  </a:cubicBezTo>
                  <a:cubicBezTo>
                    <a:pt x="431" y="500"/>
                    <a:pt x="472" y="538"/>
                    <a:pt x="513" y="577"/>
                  </a:cubicBezTo>
                  <a:cubicBezTo>
                    <a:pt x="564" y="609"/>
                    <a:pt x="564" y="609"/>
                    <a:pt x="564" y="609"/>
                  </a:cubicBezTo>
                  <a:cubicBezTo>
                    <a:pt x="889" y="816"/>
                    <a:pt x="1238" y="1067"/>
                    <a:pt x="1592" y="1356"/>
                  </a:cubicBezTo>
                  <a:cubicBezTo>
                    <a:pt x="1769" y="1501"/>
                    <a:pt x="1945" y="1654"/>
                    <a:pt x="2125" y="1819"/>
                  </a:cubicBezTo>
                  <a:cubicBezTo>
                    <a:pt x="2211" y="1900"/>
                    <a:pt x="2297" y="1981"/>
                    <a:pt x="2384" y="2063"/>
                  </a:cubicBezTo>
                  <a:cubicBezTo>
                    <a:pt x="2470" y="2144"/>
                    <a:pt x="2556" y="2226"/>
                    <a:pt x="2643" y="2309"/>
                  </a:cubicBezTo>
                  <a:cubicBezTo>
                    <a:pt x="2885" y="2540"/>
                    <a:pt x="3122" y="2767"/>
                    <a:pt x="3357" y="2991"/>
                  </a:cubicBezTo>
                  <a:cubicBezTo>
                    <a:pt x="3473" y="3102"/>
                    <a:pt x="3588" y="3213"/>
                    <a:pt x="3702" y="3322"/>
                  </a:cubicBezTo>
                  <a:cubicBezTo>
                    <a:pt x="3813" y="3432"/>
                    <a:pt x="3920" y="3540"/>
                    <a:pt x="4023" y="3646"/>
                  </a:cubicBezTo>
                  <a:cubicBezTo>
                    <a:pt x="4069" y="3652"/>
                    <a:pt x="4101" y="3645"/>
                    <a:pt x="4120" y="3625"/>
                  </a:cubicBezTo>
                  <a:cubicBezTo>
                    <a:pt x="4126" y="3618"/>
                    <a:pt x="4130" y="3610"/>
                    <a:pt x="4133" y="3601"/>
                  </a:cubicBezTo>
                  <a:cubicBezTo>
                    <a:pt x="4133" y="3601"/>
                    <a:pt x="4013" y="3464"/>
                    <a:pt x="3834" y="3258"/>
                  </a:cubicBezTo>
                  <a:cubicBezTo>
                    <a:pt x="3822" y="3246"/>
                    <a:pt x="3811" y="3232"/>
                    <a:pt x="3799" y="3219"/>
                  </a:cubicBezTo>
                  <a:cubicBezTo>
                    <a:pt x="3791" y="3209"/>
                    <a:pt x="3791" y="3209"/>
                    <a:pt x="3791" y="3209"/>
                  </a:cubicBezTo>
                  <a:cubicBezTo>
                    <a:pt x="3786" y="3204"/>
                    <a:pt x="3786" y="3204"/>
                    <a:pt x="3786" y="3204"/>
                  </a:cubicBezTo>
                  <a:cubicBezTo>
                    <a:pt x="3786" y="3203"/>
                    <a:pt x="3786" y="3203"/>
                    <a:pt x="3786" y="3203"/>
                  </a:cubicBezTo>
                  <a:cubicBezTo>
                    <a:pt x="3778" y="3197"/>
                    <a:pt x="3778" y="3197"/>
                    <a:pt x="3778" y="3197"/>
                  </a:cubicBezTo>
                  <a:cubicBezTo>
                    <a:pt x="3777" y="3195"/>
                    <a:pt x="3777" y="3195"/>
                    <a:pt x="3777" y="3195"/>
                  </a:cubicBezTo>
                  <a:cubicBezTo>
                    <a:pt x="3775" y="3193"/>
                    <a:pt x="3775" y="3193"/>
                    <a:pt x="3775" y="3193"/>
                  </a:cubicBezTo>
                  <a:cubicBezTo>
                    <a:pt x="3757" y="3172"/>
                    <a:pt x="3757" y="3172"/>
                    <a:pt x="3757" y="3172"/>
                  </a:cubicBezTo>
                  <a:cubicBezTo>
                    <a:pt x="3732" y="3145"/>
                    <a:pt x="3707" y="3117"/>
                    <a:pt x="3681" y="3088"/>
                  </a:cubicBezTo>
                  <a:cubicBezTo>
                    <a:pt x="3631" y="3031"/>
                    <a:pt x="3577" y="2970"/>
                    <a:pt x="3522" y="2908"/>
                  </a:cubicBezTo>
                  <a:cubicBezTo>
                    <a:pt x="3413" y="2781"/>
                    <a:pt x="3296" y="2646"/>
                    <a:pt x="3179" y="2511"/>
                  </a:cubicBezTo>
                  <a:cubicBezTo>
                    <a:pt x="2948" y="2239"/>
                    <a:pt x="2720" y="1963"/>
                    <a:pt x="2551" y="1755"/>
                  </a:cubicBezTo>
                  <a:cubicBezTo>
                    <a:pt x="2507" y="1701"/>
                    <a:pt x="2467" y="1653"/>
                    <a:pt x="2431" y="1609"/>
                  </a:cubicBezTo>
                  <a:cubicBezTo>
                    <a:pt x="2394" y="1565"/>
                    <a:pt x="2361" y="1526"/>
                    <a:pt x="2334" y="1494"/>
                  </a:cubicBezTo>
                  <a:cubicBezTo>
                    <a:pt x="2286" y="1437"/>
                    <a:pt x="2257" y="1403"/>
                    <a:pt x="2251" y="1396"/>
                  </a:cubicBezTo>
                  <a:cubicBezTo>
                    <a:pt x="2160" y="1311"/>
                    <a:pt x="2071" y="1228"/>
                    <a:pt x="1980" y="1147"/>
                  </a:cubicBezTo>
                  <a:cubicBezTo>
                    <a:pt x="1732" y="923"/>
                    <a:pt x="1485" y="713"/>
                    <a:pt x="1247" y="52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9BA60736-73B9-4362-B0BB-CCB400E99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0901" y="6046788"/>
              <a:ext cx="3175" cy="3175"/>
            </a:xfrm>
            <a:custGeom>
              <a:avLst/>
              <a:gdLst>
                <a:gd name="T0" fmla="*/ 2 w 55"/>
                <a:gd name="T1" fmla="*/ 3 h 53"/>
                <a:gd name="T2" fmla="*/ 55 w 55"/>
                <a:gd name="T3" fmla="*/ 53 h 53"/>
                <a:gd name="T4" fmla="*/ 0 w 55"/>
                <a:gd name="T5" fmla="*/ 0 h 53"/>
                <a:gd name="T6" fmla="*/ 2 w 55"/>
                <a:gd name="T7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53">
                  <a:moveTo>
                    <a:pt x="2" y="3"/>
                  </a:moveTo>
                  <a:cubicBezTo>
                    <a:pt x="20" y="20"/>
                    <a:pt x="38" y="36"/>
                    <a:pt x="55" y="53"/>
                  </a:cubicBezTo>
                  <a:cubicBezTo>
                    <a:pt x="20" y="20"/>
                    <a:pt x="0" y="0"/>
                    <a:pt x="0" y="0"/>
                  </a:cubicBezTo>
                  <a:cubicBezTo>
                    <a:pt x="0" y="0"/>
                    <a:pt x="1" y="2"/>
                    <a:pt x="2" y="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6585285C-B390-4ADC-8BC1-D29FD51D6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9963" y="6157913"/>
              <a:ext cx="76200" cy="68263"/>
            </a:xfrm>
            <a:custGeom>
              <a:avLst/>
              <a:gdLst>
                <a:gd name="T0" fmla="*/ 508 w 1366"/>
                <a:gd name="T1" fmla="*/ 462 h 1243"/>
                <a:gd name="T2" fmla="*/ 1190 w 1366"/>
                <a:gd name="T3" fmla="*/ 1083 h 1243"/>
                <a:gd name="T4" fmla="*/ 1366 w 1366"/>
                <a:gd name="T5" fmla="*/ 1243 h 1243"/>
                <a:gd name="T6" fmla="*/ 0 w 1366"/>
                <a:gd name="T7" fmla="*/ 0 h 1243"/>
                <a:gd name="T8" fmla="*/ 508 w 1366"/>
                <a:gd name="T9" fmla="*/ 462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6" h="1243">
                  <a:moveTo>
                    <a:pt x="508" y="462"/>
                  </a:moveTo>
                  <a:cubicBezTo>
                    <a:pt x="744" y="677"/>
                    <a:pt x="973" y="886"/>
                    <a:pt x="1190" y="1083"/>
                  </a:cubicBezTo>
                  <a:cubicBezTo>
                    <a:pt x="1249" y="1138"/>
                    <a:pt x="1308" y="1191"/>
                    <a:pt x="1366" y="1243"/>
                  </a:cubicBezTo>
                  <a:cubicBezTo>
                    <a:pt x="838" y="762"/>
                    <a:pt x="312" y="284"/>
                    <a:pt x="0" y="0"/>
                  </a:cubicBezTo>
                  <a:cubicBezTo>
                    <a:pt x="172" y="156"/>
                    <a:pt x="342" y="311"/>
                    <a:pt x="508" y="46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AFCCB07A-8C41-4132-A14A-827175FE0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9151" y="5991225"/>
              <a:ext cx="290513" cy="509588"/>
            </a:xfrm>
            <a:custGeom>
              <a:avLst/>
              <a:gdLst>
                <a:gd name="T0" fmla="*/ 2643 w 5262"/>
                <a:gd name="T1" fmla="*/ 8609 h 9206"/>
                <a:gd name="T2" fmla="*/ 3014 w 5262"/>
                <a:gd name="T3" fmla="*/ 9116 h 9206"/>
                <a:gd name="T4" fmla="*/ 3701 w 5262"/>
                <a:gd name="T5" fmla="*/ 9201 h 9206"/>
                <a:gd name="T6" fmla="*/ 4368 w 5262"/>
                <a:gd name="T7" fmla="*/ 9180 h 9206"/>
                <a:gd name="T8" fmla="*/ 4428 w 5262"/>
                <a:gd name="T9" fmla="*/ 9175 h 9206"/>
                <a:gd name="T10" fmla="*/ 4439 w 5262"/>
                <a:gd name="T11" fmla="*/ 9174 h 9206"/>
                <a:gd name="T12" fmla="*/ 4573 w 5262"/>
                <a:gd name="T13" fmla="*/ 9159 h 9206"/>
                <a:gd name="T14" fmla="*/ 4749 w 5262"/>
                <a:gd name="T15" fmla="*/ 9020 h 9206"/>
                <a:gd name="T16" fmla="*/ 4430 w 5262"/>
                <a:gd name="T17" fmla="*/ 8983 h 9206"/>
                <a:gd name="T18" fmla="*/ 4421 w 5262"/>
                <a:gd name="T19" fmla="*/ 8982 h 9206"/>
                <a:gd name="T20" fmla="*/ 4361 w 5262"/>
                <a:gd name="T21" fmla="*/ 8974 h 9206"/>
                <a:gd name="T22" fmla="*/ 2554 w 5262"/>
                <a:gd name="T23" fmla="*/ 8298 h 9206"/>
                <a:gd name="T24" fmla="*/ 2201 w 5262"/>
                <a:gd name="T25" fmla="*/ 7972 h 9206"/>
                <a:gd name="T26" fmla="*/ 2002 w 5262"/>
                <a:gd name="T27" fmla="*/ 7720 h 9206"/>
                <a:gd name="T28" fmla="*/ 1751 w 5262"/>
                <a:gd name="T29" fmla="*/ 7148 h 9206"/>
                <a:gd name="T30" fmla="*/ 2192 w 5262"/>
                <a:gd name="T31" fmla="*/ 7068 h 9206"/>
                <a:gd name="T32" fmla="*/ 2457 w 5262"/>
                <a:gd name="T33" fmla="*/ 7289 h 9206"/>
                <a:gd name="T34" fmla="*/ 2568 w 5262"/>
                <a:gd name="T35" fmla="*/ 7379 h 9206"/>
                <a:gd name="T36" fmla="*/ 2559 w 5262"/>
                <a:gd name="T37" fmla="*/ 7367 h 9206"/>
                <a:gd name="T38" fmla="*/ 2598 w 5262"/>
                <a:gd name="T39" fmla="*/ 7394 h 9206"/>
                <a:gd name="T40" fmla="*/ 2740 w 5262"/>
                <a:gd name="T41" fmla="*/ 7484 h 9206"/>
                <a:gd name="T42" fmla="*/ 3602 w 5262"/>
                <a:gd name="T43" fmla="*/ 7745 h 9206"/>
                <a:gd name="T44" fmla="*/ 3764 w 5262"/>
                <a:gd name="T45" fmla="*/ 7750 h 9206"/>
                <a:gd name="T46" fmla="*/ 3415 w 5262"/>
                <a:gd name="T47" fmla="*/ 7658 h 9206"/>
                <a:gd name="T48" fmla="*/ 3105 w 5262"/>
                <a:gd name="T49" fmla="*/ 7521 h 9206"/>
                <a:gd name="T50" fmla="*/ 2934 w 5262"/>
                <a:gd name="T51" fmla="*/ 7445 h 9206"/>
                <a:gd name="T52" fmla="*/ 2656 w 5262"/>
                <a:gd name="T53" fmla="*/ 7284 h 9206"/>
                <a:gd name="T54" fmla="*/ 2645 w 5262"/>
                <a:gd name="T55" fmla="*/ 7277 h 9206"/>
                <a:gd name="T56" fmla="*/ 2659 w 5262"/>
                <a:gd name="T57" fmla="*/ 7291 h 9206"/>
                <a:gd name="T58" fmla="*/ 2510 w 5262"/>
                <a:gd name="T59" fmla="*/ 7164 h 9206"/>
                <a:gd name="T60" fmla="*/ 2354 w 5262"/>
                <a:gd name="T61" fmla="*/ 7007 h 9206"/>
                <a:gd name="T62" fmla="*/ 1902 w 5262"/>
                <a:gd name="T63" fmla="*/ 5493 h 9206"/>
                <a:gd name="T64" fmla="*/ 2111 w 5262"/>
                <a:gd name="T65" fmla="*/ 2003 h 9206"/>
                <a:gd name="T66" fmla="*/ 2105 w 5262"/>
                <a:gd name="T67" fmla="*/ 1814 h 9206"/>
                <a:gd name="T68" fmla="*/ 2014 w 5262"/>
                <a:gd name="T69" fmla="*/ 1094 h 9206"/>
                <a:gd name="T70" fmla="*/ 1992 w 5262"/>
                <a:gd name="T71" fmla="*/ 1077 h 9206"/>
                <a:gd name="T72" fmla="*/ 2023 w 5262"/>
                <a:gd name="T73" fmla="*/ 1542 h 9206"/>
                <a:gd name="T74" fmla="*/ 2018 w 5262"/>
                <a:gd name="T75" fmla="*/ 1881 h 9206"/>
                <a:gd name="T76" fmla="*/ 2003 w 5262"/>
                <a:gd name="T77" fmla="*/ 2035 h 9206"/>
                <a:gd name="T78" fmla="*/ 2002 w 5262"/>
                <a:gd name="T79" fmla="*/ 2044 h 9206"/>
                <a:gd name="T80" fmla="*/ 2001 w 5262"/>
                <a:gd name="T81" fmla="*/ 2071 h 9206"/>
                <a:gd name="T82" fmla="*/ 1951 w 5262"/>
                <a:gd name="T83" fmla="*/ 2503 h 9206"/>
                <a:gd name="T84" fmla="*/ 1222 w 5262"/>
                <a:gd name="T85" fmla="*/ 2761 h 9206"/>
                <a:gd name="T86" fmla="*/ 1088 w 5262"/>
                <a:gd name="T87" fmla="*/ 1732 h 9206"/>
                <a:gd name="T88" fmla="*/ 357 w 5262"/>
                <a:gd name="T89" fmla="*/ 305 h 9206"/>
                <a:gd name="T90" fmla="*/ 133 w 5262"/>
                <a:gd name="T91" fmla="*/ 103 h 9206"/>
                <a:gd name="T92" fmla="*/ 125 w 5262"/>
                <a:gd name="T93" fmla="*/ 98 h 9206"/>
                <a:gd name="T94" fmla="*/ 120 w 5262"/>
                <a:gd name="T95" fmla="*/ 93 h 9206"/>
                <a:gd name="T96" fmla="*/ 60 w 5262"/>
                <a:gd name="T97" fmla="*/ 74 h 9206"/>
                <a:gd name="T98" fmla="*/ 94 w 5262"/>
                <a:gd name="T99" fmla="*/ 117 h 9206"/>
                <a:gd name="T100" fmla="*/ 95 w 5262"/>
                <a:gd name="T101" fmla="*/ 119 h 9206"/>
                <a:gd name="T102" fmla="*/ 116 w 5262"/>
                <a:gd name="T103" fmla="*/ 149 h 9206"/>
                <a:gd name="T104" fmla="*/ 570 w 5262"/>
                <a:gd name="T105" fmla="*/ 1435 h 9206"/>
                <a:gd name="T106" fmla="*/ 797 w 5262"/>
                <a:gd name="T107" fmla="*/ 1746 h 9206"/>
                <a:gd name="T108" fmla="*/ 941 w 5262"/>
                <a:gd name="T109" fmla="*/ 2065 h 9206"/>
                <a:gd name="T110" fmla="*/ 941 w 5262"/>
                <a:gd name="T111" fmla="*/ 2062 h 9206"/>
                <a:gd name="T112" fmla="*/ 948 w 5262"/>
                <a:gd name="T113" fmla="*/ 2086 h 9206"/>
                <a:gd name="T114" fmla="*/ 1045 w 5262"/>
                <a:gd name="T115" fmla="*/ 2553 h 9206"/>
                <a:gd name="T116" fmla="*/ 1394 w 5262"/>
                <a:gd name="T117" fmla="*/ 5586 h 9206"/>
                <a:gd name="T118" fmla="*/ 1495 w 5262"/>
                <a:gd name="T119" fmla="*/ 6972 h 9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62" h="9206">
                  <a:moveTo>
                    <a:pt x="1729" y="7540"/>
                  </a:moveTo>
                  <a:cubicBezTo>
                    <a:pt x="1760" y="7594"/>
                    <a:pt x="1778" y="7625"/>
                    <a:pt x="1778" y="7625"/>
                  </a:cubicBezTo>
                  <a:cubicBezTo>
                    <a:pt x="2062" y="8099"/>
                    <a:pt x="2405" y="8401"/>
                    <a:pt x="2643" y="8609"/>
                  </a:cubicBezTo>
                  <a:cubicBezTo>
                    <a:pt x="2884" y="8817"/>
                    <a:pt x="3025" y="8939"/>
                    <a:pt x="2996" y="9025"/>
                  </a:cubicBezTo>
                  <a:cubicBezTo>
                    <a:pt x="2986" y="9054"/>
                    <a:pt x="2955" y="9076"/>
                    <a:pt x="2905" y="9091"/>
                  </a:cubicBezTo>
                  <a:cubicBezTo>
                    <a:pt x="2905" y="9091"/>
                    <a:pt x="2945" y="9100"/>
                    <a:pt x="3014" y="9116"/>
                  </a:cubicBezTo>
                  <a:cubicBezTo>
                    <a:pt x="3049" y="9124"/>
                    <a:pt x="3091" y="9132"/>
                    <a:pt x="3139" y="9140"/>
                  </a:cubicBezTo>
                  <a:cubicBezTo>
                    <a:pt x="3187" y="9148"/>
                    <a:pt x="3241" y="9159"/>
                    <a:pt x="3301" y="9166"/>
                  </a:cubicBezTo>
                  <a:cubicBezTo>
                    <a:pt x="3419" y="9182"/>
                    <a:pt x="3556" y="9195"/>
                    <a:pt x="3701" y="9201"/>
                  </a:cubicBezTo>
                  <a:cubicBezTo>
                    <a:pt x="3773" y="9204"/>
                    <a:pt x="3848" y="9206"/>
                    <a:pt x="3923" y="9204"/>
                  </a:cubicBezTo>
                  <a:cubicBezTo>
                    <a:pt x="3997" y="9204"/>
                    <a:pt x="4075" y="9201"/>
                    <a:pt x="4154" y="9197"/>
                  </a:cubicBezTo>
                  <a:cubicBezTo>
                    <a:pt x="4237" y="9195"/>
                    <a:pt x="4300" y="9187"/>
                    <a:pt x="4368" y="9180"/>
                  </a:cubicBezTo>
                  <a:cubicBezTo>
                    <a:pt x="4418" y="9175"/>
                    <a:pt x="4418" y="9175"/>
                    <a:pt x="4418" y="9175"/>
                  </a:cubicBezTo>
                  <a:cubicBezTo>
                    <a:pt x="4419" y="9175"/>
                    <a:pt x="4419" y="9175"/>
                    <a:pt x="4419" y="9175"/>
                  </a:cubicBezTo>
                  <a:cubicBezTo>
                    <a:pt x="4428" y="9175"/>
                    <a:pt x="4428" y="9175"/>
                    <a:pt x="4428" y="9175"/>
                  </a:cubicBezTo>
                  <a:cubicBezTo>
                    <a:pt x="4429" y="9175"/>
                    <a:pt x="4429" y="9175"/>
                    <a:pt x="4429" y="9175"/>
                  </a:cubicBezTo>
                  <a:cubicBezTo>
                    <a:pt x="4432" y="9175"/>
                    <a:pt x="4432" y="9175"/>
                    <a:pt x="4432" y="9175"/>
                  </a:cubicBezTo>
                  <a:cubicBezTo>
                    <a:pt x="4439" y="9174"/>
                    <a:pt x="4439" y="9174"/>
                    <a:pt x="4439" y="9174"/>
                  </a:cubicBezTo>
                  <a:cubicBezTo>
                    <a:pt x="4451" y="9173"/>
                    <a:pt x="4451" y="9173"/>
                    <a:pt x="4451" y="9173"/>
                  </a:cubicBezTo>
                  <a:cubicBezTo>
                    <a:pt x="4476" y="9170"/>
                    <a:pt x="4476" y="9170"/>
                    <a:pt x="4476" y="9170"/>
                  </a:cubicBezTo>
                  <a:cubicBezTo>
                    <a:pt x="4508" y="9166"/>
                    <a:pt x="4541" y="9162"/>
                    <a:pt x="4573" y="9159"/>
                  </a:cubicBezTo>
                  <a:cubicBezTo>
                    <a:pt x="4700" y="9144"/>
                    <a:pt x="4819" y="9130"/>
                    <a:pt x="4921" y="9118"/>
                  </a:cubicBezTo>
                  <a:cubicBezTo>
                    <a:pt x="5125" y="9095"/>
                    <a:pt x="5262" y="9079"/>
                    <a:pt x="5262" y="9079"/>
                  </a:cubicBezTo>
                  <a:cubicBezTo>
                    <a:pt x="5262" y="9079"/>
                    <a:pt x="5056" y="9055"/>
                    <a:pt x="4749" y="9020"/>
                  </a:cubicBezTo>
                  <a:cubicBezTo>
                    <a:pt x="4672" y="9011"/>
                    <a:pt x="4589" y="9001"/>
                    <a:pt x="4501" y="8991"/>
                  </a:cubicBezTo>
                  <a:cubicBezTo>
                    <a:pt x="4479" y="8988"/>
                    <a:pt x="4456" y="8986"/>
                    <a:pt x="4434" y="8983"/>
                  </a:cubicBezTo>
                  <a:cubicBezTo>
                    <a:pt x="4430" y="8983"/>
                    <a:pt x="4430" y="8983"/>
                    <a:pt x="4430" y="8983"/>
                  </a:cubicBezTo>
                  <a:cubicBezTo>
                    <a:pt x="4428" y="8983"/>
                    <a:pt x="4428" y="8983"/>
                    <a:pt x="4428" y="8983"/>
                  </a:cubicBezTo>
                  <a:cubicBezTo>
                    <a:pt x="4423" y="8982"/>
                    <a:pt x="4423" y="8982"/>
                    <a:pt x="4423" y="8982"/>
                  </a:cubicBezTo>
                  <a:cubicBezTo>
                    <a:pt x="4421" y="8982"/>
                    <a:pt x="4421" y="8982"/>
                    <a:pt x="4421" y="8982"/>
                  </a:cubicBezTo>
                  <a:cubicBezTo>
                    <a:pt x="4412" y="8981"/>
                    <a:pt x="4412" y="8981"/>
                    <a:pt x="4412" y="8981"/>
                  </a:cubicBezTo>
                  <a:cubicBezTo>
                    <a:pt x="4395" y="8979"/>
                    <a:pt x="4395" y="8979"/>
                    <a:pt x="4395" y="8979"/>
                  </a:cubicBezTo>
                  <a:cubicBezTo>
                    <a:pt x="4361" y="8974"/>
                    <a:pt x="4361" y="8974"/>
                    <a:pt x="4361" y="8974"/>
                  </a:cubicBezTo>
                  <a:cubicBezTo>
                    <a:pt x="4314" y="8968"/>
                    <a:pt x="4266" y="8961"/>
                    <a:pt x="4218" y="8955"/>
                  </a:cubicBezTo>
                  <a:cubicBezTo>
                    <a:pt x="4011" y="8924"/>
                    <a:pt x="3803" y="8879"/>
                    <a:pt x="3595" y="8817"/>
                  </a:cubicBezTo>
                  <a:cubicBezTo>
                    <a:pt x="3181" y="8696"/>
                    <a:pt x="2799" y="8494"/>
                    <a:pt x="2554" y="8298"/>
                  </a:cubicBezTo>
                  <a:cubicBezTo>
                    <a:pt x="2491" y="8251"/>
                    <a:pt x="2438" y="8202"/>
                    <a:pt x="2390" y="8162"/>
                  </a:cubicBezTo>
                  <a:cubicBezTo>
                    <a:pt x="2344" y="8118"/>
                    <a:pt x="2304" y="8081"/>
                    <a:pt x="2273" y="8048"/>
                  </a:cubicBezTo>
                  <a:cubicBezTo>
                    <a:pt x="2242" y="8016"/>
                    <a:pt x="2218" y="7990"/>
                    <a:pt x="2201" y="7972"/>
                  </a:cubicBezTo>
                  <a:cubicBezTo>
                    <a:pt x="2185" y="7955"/>
                    <a:pt x="2176" y="7945"/>
                    <a:pt x="2176" y="7945"/>
                  </a:cubicBezTo>
                  <a:cubicBezTo>
                    <a:pt x="2145" y="7908"/>
                    <a:pt x="2115" y="7870"/>
                    <a:pt x="2084" y="7833"/>
                  </a:cubicBezTo>
                  <a:cubicBezTo>
                    <a:pt x="2057" y="7795"/>
                    <a:pt x="2029" y="7757"/>
                    <a:pt x="2002" y="7720"/>
                  </a:cubicBezTo>
                  <a:cubicBezTo>
                    <a:pt x="1954" y="7645"/>
                    <a:pt x="1913" y="7577"/>
                    <a:pt x="1880" y="7507"/>
                  </a:cubicBezTo>
                  <a:cubicBezTo>
                    <a:pt x="1844" y="7441"/>
                    <a:pt x="1821" y="7374"/>
                    <a:pt x="1797" y="7315"/>
                  </a:cubicBezTo>
                  <a:cubicBezTo>
                    <a:pt x="1778" y="7254"/>
                    <a:pt x="1760" y="7200"/>
                    <a:pt x="1751" y="7148"/>
                  </a:cubicBezTo>
                  <a:cubicBezTo>
                    <a:pt x="1710" y="6945"/>
                    <a:pt x="1738" y="6827"/>
                    <a:pt x="1798" y="6803"/>
                  </a:cubicBezTo>
                  <a:cubicBezTo>
                    <a:pt x="1860" y="6778"/>
                    <a:pt x="1952" y="6847"/>
                    <a:pt x="2084" y="6968"/>
                  </a:cubicBezTo>
                  <a:cubicBezTo>
                    <a:pt x="2116" y="6999"/>
                    <a:pt x="2155" y="7031"/>
                    <a:pt x="2192" y="7068"/>
                  </a:cubicBezTo>
                  <a:cubicBezTo>
                    <a:pt x="2233" y="7102"/>
                    <a:pt x="2272" y="7142"/>
                    <a:pt x="2320" y="7180"/>
                  </a:cubicBezTo>
                  <a:cubicBezTo>
                    <a:pt x="2342" y="7198"/>
                    <a:pt x="2367" y="7223"/>
                    <a:pt x="2389" y="7237"/>
                  </a:cubicBezTo>
                  <a:cubicBezTo>
                    <a:pt x="2412" y="7254"/>
                    <a:pt x="2430" y="7268"/>
                    <a:pt x="2457" y="7289"/>
                  </a:cubicBezTo>
                  <a:cubicBezTo>
                    <a:pt x="2493" y="7318"/>
                    <a:pt x="2529" y="7347"/>
                    <a:pt x="2566" y="7377"/>
                  </a:cubicBezTo>
                  <a:cubicBezTo>
                    <a:pt x="2568" y="7378"/>
                    <a:pt x="2568" y="7378"/>
                    <a:pt x="2568" y="7378"/>
                  </a:cubicBezTo>
                  <a:cubicBezTo>
                    <a:pt x="2568" y="7379"/>
                    <a:pt x="2568" y="7379"/>
                    <a:pt x="2568" y="7379"/>
                  </a:cubicBezTo>
                  <a:cubicBezTo>
                    <a:pt x="2569" y="7379"/>
                    <a:pt x="2569" y="7379"/>
                    <a:pt x="2569" y="7379"/>
                  </a:cubicBezTo>
                  <a:cubicBezTo>
                    <a:pt x="2581" y="7392"/>
                    <a:pt x="2553" y="7363"/>
                    <a:pt x="2556" y="7366"/>
                  </a:cubicBezTo>
                  <a:cubicBezTo>
                    <a:pt x="2559" y="7367"/>
                    <a:pt x="2559" y="7367"/>
                    <a:pt x="2559" y="7367"/>
                  </a:cubicBezTo>
                  <a:cubicBezTo>
                    <a:pt x="2564" y="7371"/>
                    <a:pt x="2564" y="7371"/>
                    <a:pt x="2564" y="7371"/>
                  </a:cubicBezTo>
                  <a:cubicBezTo>
                    <a:pt x="2576" y="7379"/>
                    <a:pt x="2576" y="7379"/>
                    <a:pt x="2576" y="7379"/>
                  </a:cubicBezTo>
                  <a:cubicBezTo>
                    <a:pt x="2598" y="7394"/>
                    <a:pt x="2598" y="7394"/>
                    <a:pt x="2598" y="7394"/>
                  </a:cubicBezTo>
                  <a:cubicBezTo>
                    <a:pt x="2644" y="7426"/>
                    <a:pt x="2644" y="7426"/>
                    <a:pt x="2644" y="7426"/>
                  </a:cubicBezTo>
                  <a:cubicBezTo>
                    <a:pt x="2644" y="7426"/>
                    <a:pt x="2661" y="7436"/>
                    <a:pt x="2689" y="7453"/>
                  </a:cubicBezTo>
                  <a:cubicBezTo>
                    <a:pt x="2703" y="7462"/>
                    <a:pt x="2721" y="7472"/>
                    <a:pt x="2740" y="7484"/>
                  </a:cubicBezTo>
                  <a:cubicBezTo>
                    <a:pt x="2761" y="7495"/>
                    <a:pt x="2784" y="7507"/>
                    <a:pt x="2809" y="7520"/>
                  </a:cubicBezTo>
                  <a:cubicBezTo>
                    <a:pt x="2909" y="7573"/>
                    <a:pt x="3046" y="7630"/>
                    <a:pt x="3191" y="7670"/>
                  </a:cubicBezTo>
                  <a:cubicBezTo>
                    <a:pt x="3335" y="7711"/>
                    <a:pt x="3487" y="7734"/>
                    <a:pt x="3602" y="7745"/>
                  </a:cubicBezTo>
                  <a:cubicBezTo>
                    <a:pt x="3661" y="7749"/>
                    <a:pt x="3709" y="7754"/>
                    <a:pt x="3744" y="7755"/>
                  </a:cubicBezTo>
                  <a:cubicBezTo>
                    <a:pt x="3778" y="7756"/>
                    <a:pt x="3798" y="7756"/>
                    <a:pt x="3798" y="7756"/>
                  </a:cubicBezTo>
                  <a:cubicBezTo>
                    <a:pt x="3798" y="7756"/>
                    <a:pt x="3786" y="7754"/>
                    <a:pt x="3764" y="7750"/>
                  </a:cubicBezTo>
                  <a:cubicBezTo>
                    <a:pt x="3741" y="7747"/>
                    <a:pt x="3711" y="7740"/>
                    <a:pt x="3674" y="7731"/>
                  </a:cubicBezTo>
                  <a:cubicBezTo>
                    <a:pt x="3637" y="7723"/>
                    <a:pt x="3595" y="7713"/>
                    <a:pt x="3551" y="7700"/>
                  </a:cubicBezTo>
                  <a:cubicBezTo>
                    <a:pt x="3506" y="7689"/>
                    <a:pt x="3461" y="7673"/>
                    <a:pt x="3415" y="7658"/>
                  </a:cubicBezTo>
                  <a:cubicBezTo>
                    <a:pt x="3370" y="7643"/>
                    <a:pt x="3327" y="7624"/>
                    <a:pt x="3286" y="7608"/>
                  </a:cubicBezTo>
                  <a:cubicBezTo>
                    <a:pt x="3247" y="7590"/>
                    <a:pt x="3209" y="7574"/>
                    <a:pt x="3179" y="7559"/>
                  </a:cubicBezTo>
                  <a:cubicBezTo>
                    <a:pt x="3148" y="7543"/>
                    <a:pt x="3123" y="7530"/>
                    <a:pt x="3105" y="7521"/>
                  </a:cubicBezTo>
                  <a:cubicBezTo>
                    <a:pt x="3088" y="7511"/>
                    <a:pt x="3079" y="7505"/>
                    <a:pt x="3079" y="7505"/>
                  </a:cubicBezTo>
                  <a:cubicBezTo>
                    <a:pt x="3079" y="7505"/>
                    <a:pt x="3042" y="7491"/>
                    <a:pt x="3005" y="7477"/>
                  </a:cubicBezTo>
                  <a:cubicBezTo>
                    <a:pt x="2970" y="7461"/>
                    <a:pt x="2934" y="7445"/>
                    <a:pt x="2934" y="7445"/>
                  </a:cubicBezTo>
                  <a:cubicBezTo>
                    <a:pt x="2892" y="7426"/>
                    <a:pt x="2854" y="7405"/>
                    <a:pt x="2815" y="7385"/>
                  </a:cubicBezTo>
                  <a:cubicBezTo>
                    <a:pt x="2779" y="7362"/>
                    <a:pt x="2740" y="7343"/>
                    <a:pt x="2707" y="7318"/>
                  </a:cubicBezTo>
                  <a:cubicBezTo>
                    <a:pt x="2690" y="7307"/>
                    <a:pt x="2673" y="7295"/>
                    <a:pt x="2656" y="7284"/>
                  </a:cubicBezTo>
                  <a:cubicBezTo>
                    <a:pt x="2649" y="7279"/>
                    <a:pt x="2649" y="7279"/>
                    <a:pt x="2649" y="7279"/>
                  </a:cubicBezTo>
                  <a:cubicBezTo>
                    <a:pt x="2646" y="7277"/>
                    <a:pt x="2646" y="7277"/>
                    <a:pt x="2646" y="7277"/>
                  </a:cubicBezTo>
                  <a:cubicBezTo>
                    <a:pt x="2645" y="7277"/>
                    <a:pt x="2645" y="7277"/>
                    <a:pt x="2645" y="7277"/>
                  </a:cubicBezTo>
                  <a:cubicBezTo>
                    <a:pt x="2645" y="7277"/>
                    <a:pt x="2645" y="7277"/>
                    <a:pt x="2645" y="7277"/>
                  </a:cubicBezTo>
                  <a:cubicBezTo>
                    <a:pt x="2630" y="7262"/>
                    <a:pt x="2664" y="7297"/>
                    <a:pt x="2661" y="7293"/>
                  </a:cubicBezTo>
                  <a:cubicBezTo>
                    <a:pt x="2659" y="7291"/>
                    <a:pt x="2659" y="7291"/>
                    <a:pt x="2659" y="7291"/>
                  </a:cubicBezTo>
                  <a:cubicBezTo>
                    <a:pt x="2642" y="7277"/>
                    <a:pt x="2642" y="7277"/>
                    <a:pt x="2642" y="7277"/>
                  </a:cubicBezTo>
                  <a:cubicBezTo>
                    <a:pt x="2609" y="7249"/>
                    <a:pt x="2609" y="7249"/>
                    <a:pt x="2609" y="7249"/>
                  </a:cubicBezTo>
                  <a:cubicBezTo>
                    <a:pt x="2575" y="7220"/>
                    <a:pt x="2542" y="7192"/>
                    <a:pt x="2510" y="7164"/>
                  </a:cubicBezTo>
                  <a:cubicBezTo>
                    <a:pt x="2497" y="7154"/>
                    <a:pt x="2486" y="7147"/>
                    <a:pt x="2473" y="7133"/>
                  </a:cubicBezTo>
                  <a:cubicBezTo>
                    <a:pt x="2459" y="7119"/>
                    <a:pt x="2445" y="7106"/>
                    <a:pt x="2432" y="7092"/>
                  </a:cubicBezTo>
                  <a:cubicBezTo>
                    <a:pt x="2403" y="7066"/>
                    <a:pt x="2380" y="7036"/>
                    <a:pt x="2354" y="7007"/>
                  </a:cubicBezTo>
                  <a:cubicBezTo>
                    <a:pt x="2304" y="6948"/>
                    <a:pt x="2258" y="6884"/>
                    <a:pt x="2214" y="6814"/>
                  </a:cubicBezTo>
                  <a:cubicBezTo>
                    <a:pt x="2127" y="6675"/>
                    <a:pt x="2054" y="6508"/>
                    <a:pt x="1997" y="6295"/>
                  </a:cubicBezTo>
                  <a:cubicBezTo>
                    <a:pt x="1940" y="6083"/>
                    <a:pt x="1904" y="5822"/>
                    <a:pt x="1902" y="5493"/>
                  </a:cubicBezTo>
                  <a:cubicBezTo>
                    <a:pt x="1902" y="3978"/>
                    <a:pt x="1961" y="3491"/>
                    <a:pt x="2085" y="2420"/>
                  </a:cubicBezTo>
                  <a:cubicBezTo>
                    <a:pt x="2112" y="2189"/>
                    <a:pt x="2112" y="2189"/>
                    <a:pt x="2112" y="2189"/>
                  </a:cubicBezTo>
                  <a:cubicBezTo>
                    <a:pt x="2112" y="2189"/>
                    <a:pt x="2112" y="2115"/>
                    <a:pt x="2111" y="2003"/>
                  </a:cubicBezTo>
                  <a:cubicBezTo>
                    <a:pt x="2111" y="1977"/>
                    <a:pt x="2110" y="1950"/>
                    <a:pt x="2109" y="1921"/>
                  </a:cubicBezTo>
                  <a:cubicBezTo>
                    <a:pt x="2109" y="1906"/>
                    <a:pt x="2109" y="1892"/>
                    <a:pt x="2109" y="1876"/>
                  </a:cubicBezTo>
                  <a:cubicBezTo>
                    <a:pt x="2107" y="1856"/>
                    <a:pt x="2106" y="1835"/>
                    <a:pt x="2105" y="1814"/>
                  </a:cubicBezTo>
                  <a:cubicBezTo>
                    <a:pt x="2103" y="1772"/>
                    <a:pt x="2100" y="1728"/>
                    <a:pt x="2098" y="1683"/>
                  </a:cubicBezTo>
                  <a:cubicBezTo>
                    <a:pt x="2095" y="1638"/>
                    <a:pt x="2090" y="1599"/>
                    <a:pt x="2086" y="1556"/>
                  </a:cubicBezTo>
                  <a:cubicBezTo>
                    <a:pt x="2070" y="1389"/>
                    <a:pt x="2040" y="1220"/>
                    <a:pt x="2014" y="1094"/>
                  </a:cubicBezTo>
                  <a:cubicBezTo>
                    <a:pt x="1985" y="967"/>
                    <a:pt x="1963" y="883"/>
                    <a:pt x="1963" y="883"/>
                  </a:cubicBezTo>
                  <a:cubicBezTo>
                    <a:pt x="1963" y="883"/>
                    <a:pt x="1968" y="916"/>
                    <a:pt x="1977" y="974"/>
                  </a:cubicBezTo>
                  <a:cubicBezTo>
                    <a:pt x="1981" y="1002"/>
                    <a:pt x="1986" y="1037"/>
                    <a:pt x="1992" y="1077"/>
                  </a:cubicBezTo>
                  <a:cubicBezTo>
                    <a:pt x="1996" y="1117"/>
                    <a:pt x="2001" y="1162"/>
                    <a:pt x="2006" y="1211"/>
                  </a:cubicBezTo>
                  <a:cubicBezTo>
                    <a:pt x="2012" y="1260"/>
                    <a:pt x="2014" y="1313"/>
                    <a:pt x="2017" y="1368"/>
                  </a:cubicBezTo>
                  <a:cubicBezTo>
                    <a:pt x="2021" y="1424"/>
                    <a:pt x="2024" y="1482"/>
                    <a:pt x="2023" y="1542"/>
                  </a:cubicBezTo>
                  <a:cubicBezTo>
                    <a:pt x="2024" y="1602"/>
                    <a:pt x="2025" y="1661"/>
                    <a:pt x="2023" y="1730"/>
                  </a:cubicBezTo>
                  <a:cubicBezTo>
                    <a:pt x="2022" y="1763"/>
                    <a:pt x="2021" y="1797"/>
                    <a:pt x="2020" y="1831"/>
                  </a:cubicBezTo>
                  <a:cubicBezTo>
                    <a:pt x="2018" y="1881"/>
                    <a:pt x="2018" y="1881"/>
                    <a:pt x="2018" y="1881"/>
                  </a:cubicBezTo>
                  <a:cubicBezTo>
                    <a:pt x="2014" y="1919"/>
                    <a:pt x="2014" y="1919"/>
                    <a:pt x="2014" y="1919"/>
                  </a:cubicBezTo>
                  <a:cubicBezTo>
                    <a:pt x="2006" y="1997"/>
                    <a:pt x="2006" y="1997"/>
                    <a:pt x="2006" y="1997"/>
                  </a:cubicBezTo>
                  <a:cubicBezTo>
                    <a:pt x="2003" y="2035"/>
                    <a:pt x="2003" y="2035"/>
                    <a:pt x="2003" y="2035"/>
                  </a:cubicBezTo>
                  <a:cubicBezTo>
                    <a:pt x="2002" y="2040"/>
                    <a:pt x="2002" y="2040"/>
                    <a:pt x="2002" y="2040"/>
                  </a:cubicBezTo>
                  <a:cubicBezTo>
                    <a:pt x="2002" y="2043"/>
                    <a:pt x="2002" y="2043"/>
                    <a:pt x="2002" y="2043"/>
                  </a:cubicBezTo>
                  <a:cubicBezTo>
                    <a:pt x="2002" y="2044"/>
                    <a:pt x="2002" y="2044"/>
                    <a:pt x="2002" y="2044"/>
                  </a:cubicBezTo>
                  <a:cubicBezTo>
                    <a:pt x="2002" y="2044"/>
                    <a:pt x="2002" y="2044"/>
                    <a:pt x="2002" y="2044"/>
                  </a:cubicBezTo>
                  <a:cubicBezTo>
                    <a:pt x="2002" y="2061"/>
                    <a:pt x="2002" y="2061"/>
                    <a:pt x="2002" y="2061"/>
                  </a:cubicBezTo>
                  <a:cubicBezTo>
                    <a:pt x="2001" y="2071"/>
                    <a:pt x="2001" y="2071"/>
                    <a:pt x="2001" y="2071"/>
                  </a:cubicBezTo>
                  <a:cubicBezTo>
                    <a:pt x="1999" y="2090"/>
                    <a:pt x="1999" y="2090"/>
                    <a:pt x="1999" y="2090"/>
                  </a:cubicBezTo>
                  <a:cubicBezTo>
                    <a:pt x="1993" y="2140"/>
                    <a:pt x="1987" y="2190"/>
                    <a:pt x="1981" y="2239"/>
                  </a:cubicBezTo>
                  <a:cubicBezTo>
                    <a:pt x="1970" y="2336"/>
                    <a:pt x="1960" y="2426"/>
                    <a:pt x="1951" y="2503"/>
                  </a:cubicBezTo>
                  <a:cubicBezTo>
                    <a:pt x="1933" y="2658"/>
                    <a:pt x="1921" y="2761"/>
                    <a:pt x="1921" y="2761"/>
                  </a:cubicBezTo>
                  <a:cubicBezTo>
                    <a:pt x="1828" y="3568"/>
                    <a:pt x="1703" y="4013"/>
                    <a:pt x="1571" y="4013"/>
                  </a:cubicBezTo>
                  <a:cubicBezTo>
                    <a:pt x="1439" y="4013"/>
                    <a:pt x="1315" y="3568"/>
                    <a:pt x="1222" y="2761"/>
                  </a:cubicBezTo>
                  <a:cubicBezTo>
                    <a:pt x="1222" y="2761"/>
                    <a:pt x="1198" y="2556"/>
                    <a:pt x="1163" y="2249"/>
                  </a:cubicBezTo>
                  <a:cubicBezTo>
                    <a:pt x="1153" y="2172"/>
                    <a:pt x="1145" y="2087"/>
                    <a:pt x="1133" y="2002"/>
                  </a:cubicBezTo>
                  <a:cubicBezTo>
                    <a:pt x="1122" y="1913"/>
                    <a:pt x="1106" y="1823"/>
                    <a:pt x="1088" y="1732"/>
                  </a:cubicBezTo>
                  <a:cubicBezTo>
                    <a:pt x="1051" y="1547"/>
                    <a:pt x="996" y="1355"/>
                    <a:pt x="923" y="1174"/>
                  </a:cubicBezTo>
                  <a:cubicBezTo>
                    <a:pt x="850" y="992"/>
                    <a:pt x="760" y="822"/>
                    <a:pt x="661" y="675"/>
                  </a:cubicBezTo>
                  <a:cubicBezTo>
                    <a:pt x="562" y="527"/>
                    <a:pt x="455" y="403"/>
                    <a:pt x="357" y="305"/>
                  </a:cubicBezTo>
                  <a:cubicBezTo>
                    <a:pt x="310" y="254"/>
                    <a:pt x="260" y="214"/>
                    <a:pt x="220" y="175"/>
                  </a:cubicBezTo>
                  <a:cubicBezTo>
                    <a:pt x="199" y="157"/>
                    <a:pt x="178" y="141"/>
                    <a:pt x="160" y="125"/>
                  </a:cubicBezTo>
                  <a:cubicBezTo>
                    <a:pt x="150" y="117"/>
                    <a:pt x="141" y="110"/>
                    <a:pt x="133" y="103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2" y="94"/>
                    <a:pt x="113" y="86"/>
                    <a:pt x="125" y="98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20" y="93"/>
                    <a:pt x="120" y="93"/>
                    <a:pt x="120" y="93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42" y="33"/>
                    <a:pt x="0" y="0"/>
                    <a:pt x="1" y="2"/>
                  </a:cubicBezTo>
                  <a:cubicBezTo>
                    <a:pt x="1" y="2"/>
                    <a:pt x="23" y="29"/>
                    <a:pt x="60" y="74"/>
                  </a:cubicBezTo>
                  <a:cubicBezTo>
                    <a:pt x="69" y="86"/>
                    <a:pt x="80" y="99"/>
                    <a:pt x="91" y="11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87" y="110"/>
                    <a:pt x="96" y="120"/>
                    <a:pt x="94" y="117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7" y="122"/>
                    <a:pt x="97" y="122"/>
                    <a:pt x="97" y="122"/>
                  </a:cubicBezTo>
                  <a:cubicBezTo>
                    <a:pt x="101" y="127"/>
                    <a:pt x="101" y="127"/>
                    <a:pt x="101" y="127"/>
                  </a:cubicBezTo>
                  <a:cubicBezTo>
                    <a:pt x="106" y="134"/>
                    <a:pt x="111" y="141"/>
                    <a:pt x="116" y="149"/>
                  </a:cubicBezTo>
                  <a:cubicBezTo>
                    <a:pt x="136" y="179"/>
                    <a:pt x="162" y="211"/>
                    <a:pt x="185" y="249"/>
                  </a:cubicBezTo>
                  <a:cubicBezTo>
                    <a:pt x="283" y="399"/>
                    <a:pt x="392" y="605"/>
                    <a:pt x="459" y="823"/>
                  </a:cubicBezTo>
                  <a:cubicBezTo>
                    <a:pt x="529" y="1040"/>
                    <a:pt x="561" y="1264"/>
                    <a:pt x="570" y="1435"/>
                  </a:cubicBezTo>
                  <a:cubicBezTo>
                    <a:pt x="581" y="1605"/>
                    <a:pt x="573" y="1720"/>
                    <a:pt x="573" y="1720"/>
                  </a:cubicBezTo>
                  <a:cubicBezTo>
                    <a:pt x="600" y="1687"/>
                    <a:pt x="628" y="1667"/>
                    <a:pt x="659" y="1664"/>
                  </a:cubicBezTo>
                  <a:cubicBezTo>
                    <a:pt x="702" y="1659"/>
                    <a:pt x="749" y="1685"/>
                    <a:pt x="797" y="1746"/>
                  </a:cubicBezTo>
                  <a:cubicBezTo>
                    <a:pt x="844" y="1805"/>
                    <a:pt x="892" y="1891"/>
                    <a:pt x="932" y="2037"/>
                  </a:cubicBezTo>
                  <a:cubicBezTo>
                    <a:pt x="940" y="2064"/>
                    <a:pt x="940" y="2064"/>
                    <a:pt x="940" y="2064"/>
                  </a:cubicBezTo>
                  <a:cubicBezTo>
                    <a:pt x="941" y="2065"/>
                    <a:pt x="941" y="2065"/>
                    <a:pt x="941" y="2065"/>
                  </a:cubicBezTo>
                  <a:cubicBezTo>
                    <a:pt x="941" y="2066"/>
                    <a:pt x="941" y="2066"/>
                    <a:pt x="941" y="2066"/>
                  </a:cubicBezTo>
                  <a:cubicBezTo>
                    <a:pt x="941" y="2064"/>
                    <a:pt x="941" y="2071"/>
                    <a:pt x="941" y="2061"/>
                  </a:cubicBezTo>
                  <a:cubicBezTo>
                    <a:pt x="941" y="2062"/>
                    <a:pt x="941" y="2062"/>
                    <a:pt x="941" y="2062"/>
                  </a:cubicBezTo>
                  <a:cubicBezTo>
                    <a:pt x="942" y="2065"/>
                    <a:pt x="942" y="2065"/>
                    <a:pt x="942" y="2065"/>
                  </a:cubicBezTo>
                  <a:cubicBezTo>
                    <a:pt x="944" y="2072"/>
                    <a:pt x="944" y="2072"/>
                    <a:pt x="944" y="2072"/>
                  </a:cubicBezTo>
                  <a:cubicBezTo>
                    <a:pt x="948" y="2086"/>
                    <a:pt x="948" y="2086"/>
                    <a:pt x="948" y="2086"/>
                  </a:cubicBezTo>
                  <a:cubicBezTo>
                    <a:pt x="962" y="2144"/>
                    <a:pt x="962" y="2144"/>
                    <a:pt x="962" y="2144"/>
                  </a:cubicBezTo>
                  <a:cubicBezTo>
                    <a:pt x="972" y="2185"/>
                    <a:pt x="981" y="2226"/>
                    <a:pt x="991" y="2268"/>
                  </a:cubicBezTo>
                  <a:cubicBezTo>
                    <a:pt x="1009" y="2355"/>
                    <a:pt x="1028" y="2450"/>
                    <a:pt x="1045" y="2553"/>
                  </a:cubicBezTo>
                  <a:cubicBezTo>
                    <a:pt x="1081" y="2759"/>
                    <a:pt x="1115" y="2996"/>
                    <a:pt x="1146" y="3264"/>
                  </a:cubicBezTo>
                  <a:cubicBezTo>
                    <a:pt x="1403" y="5493"/>
                    <a:pt x="1403" y="5493"/>
                    <a:pt x="1403" y="5493"/>
                  </a:cubicBezTo>
                  <a:cubicBezTo>
                    <a:pt x="1403" y="5493"/>
                    <a:pt x="1400" y="5527"/>
                    <a:pt x="1394" y="5586"/>
                  </a:cubicBezTo>
                  <a:cubicBezTo>
                    <a:pt x="1387" y="5644"/>
                    <a:pt x="1381" y="5728"/>
                    <a:pt x="1375" y="5830"/>
                  </a:cubicBezTo>
                  <a:cubicBezTo>
                    <a:pt x="1365" y="6032"/>
                    <a:pt x="1367" y="6305"/>
                    <a:pt x="1409" y="6576"/>
                  </a:cubicBezTo>
                  <a:cubicBezTo>
                    <a:pt x="1428" y="6713"/>
                    <a:pt x="1461" y="6846"/>
                    <a:pt x="1495" y="6972"/>
                  </a:cubicBezTo>
                  <a:cubicBezTo>
                    <a:pt x="1532" y="7097"/>
                    <a:pt x="1574" y="7213"/>
                    <a:pt x="1616" y="7309"/>
                  </a:cubicBezTo>
                  <a:cubicBezTo>
                    <a:pt x="1658" y="7407"/>
                    <a:pt x="1700" y="7485"/>
                    <a:pt x="1729" y="75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56">
              <a:extLst>
                <a:ext uri="{FF2B5EF4-FFF2-40B4-BE49-F238E27FC236}">
                  <a16:creationId xmlns:a16="http://schemas.microsoft.com/office/drawing/2014/main" id="{0A0061D0-1B04-4819-BDA1-AE05B0D40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4876" y="6299200"/>
              <a:ext cx="347663" cy="225425"/>
            </a:xfrm>
            <a:custGeom>
              <a:avLst/>
              <a:gdLst>
                <a:gd name="T0" fmla="*/ 6107 w 6276"/>
                <a:gd name="T1" fmla="*/ 2069 h 4073"/>
                <a:gd name="T2" fmla="*/ 6095 w 6276"/>
                <a:gd name="T3" fmla="*/ 2327 h 4073"/>
                <a:gd name="T4" fmla="*/ 6085 w 6276"/>
                <a:gd name="T5" fmla="*/ 2609 h 4073"/>
                <a:gd name="T6" fmla="*/ 6081 w 6276"/>
                <a:gd name="T7" fmla="*/ 2676 h 4073"/>
                <a:gd name="T8" fmla="*/ 6067 w 6276"/>
                <a:gd name="T9" fmla="*/ 2809 h 4073"/>
                <a:gd name="T10" fmla="*/ 6045 w 6276"/>
                <a:gd name="T11" fmla="*/ 2933 h 4073"/>
                <a:gd name="T12" fmla="*/ 6008 w 6276"/>
                <a:gd name="T13" fmla="*/ 3067 h 4073"/>
                <a:gd name="T14" fmla="*/ 5983 w 6276"/>
                <a:gd name="T15" fmla="*/ 3138 h 4073"/>
                <a:gd name="T16" fmla="*/ 5950 w 6276"/>
                <a:gd name="T17" fmla="*/ 3212 h 4073"/>
                <a:gd name="T18" fmla="*/ 5865 w 6276"/>
                <a:gd name="T19" fmla="*/ 3363 h 4073"/>
                <a:gd name="T20" fmla="*/ 5598 w 6276"/>
                <a:gd name="T21" fmla="*/ 3642 h 4073"/>
                <a:gd name="T22" fmla="*/ 4966 w 6276"/>
                <a:gd name="T23" fmla="*/ 3858 h 4073"/>
                <a:gd name="T24" fmla="*/ 4900 w 6276"/>
                <a:gd name="T25" fmla="*/ 3860 h 4073"/>
                <a:gd name="T26" fmla="*/ 4869 w 6276"/>
                <a:gd name="T27" fmla="*/ 3860 h 4073"/>
                <a:gd name="T28" fmla="*/ 4851 w 6276"/>
                <a:gd name="T29" fmla="*/ 3860 h 4073"/>
                <a:gd name="T30" fmla="*/ 4782 w 6276"/>
                <a:gd name="T31" fmla="*/ 3859 h 4073"/>
                <a:gd name="T32" fmla="*/ 4643 w 6276"/>
                <a:gd name="T33" fmla="*/ 3857 h 4073"/>
                <a:gd name="T34" fmla="*/ 4079 w 6276"/>
                <a:gd name="T35" fmla="*/ 3854 h 4073"/>
                <a:gd name="T36" fmla="*/ 3271 w 6276"/>
                <a:gd name="T37" fmla="*/ 3860 h 4073"/>
                <a:gd name="T38" fmla="*/ 2877 w 6276"/>
                <a:gd name="T39" fmla="*/ 3869 h 4073"/>
                <a:gd name="T40" fmla="*/ 2669 w 6276"/>
                <a:gd name="T41" fmla="*/ 3870 h 4073"/>
                <a:gd name="T42" fmla="*/ 2435 w 6276"/>
                <a:gd name="T43" fmla="*/ 3863 h 4073"/>
                <a:gd name="T44" fmla="*/ 725 w 6276"/>
                <a:gd name="T45" fmla="*/ 3456 h 4073"/>
                <a:gd name="T46" fmla="*/ 0 w 6276"/>
                <a:gd name="T47" fmla="*/ 3086 h 4073"/>
                <a:gd name="T48" fmla="*/ 91 w 6276"/>
                <a:gd name="T49" fmla="*/ 3163 h 4073"/>
                <a:gd name="T50" fmla="*/ 357 w 6276"/>
                <a:gd name="T51" fmla="*/ 3366 h 4073"/>
                <a:gd name="T52" fmla="*/ 804 w 6276"/>
                <a:gd name="T53" fmla="*/ 3629 h 4073"/>
                <a:gd name="T54" fmla="*/ 1414 w 6276"/>
                <a:gd name="T55" fmla="*/ 3871 h 4073"/>
                <a:gd name="T56" fmla="*/ 2144 w 6276"/>
                <a:gd name="T57" fmla="*/ 4026 h 4073"/>
                <a:gd name="T58" fmla="*/ 2338 w 6276"/>
                <a:gd name="T59" fmla="*/ 4048 h 4073"/>
                <a:gd name="T60" fmla="*/ 2437 w 6276"/>
                <a:gd name="T61" fmla="*/ 4057 h 4073"/>
                <a:gd name="T62" fmla="*/ 2544 w 6276"/>
                <a:gd name="T63" fmla="*/ 4063 h 4073"/>
                <a:gd name="T64" fmla="*/ 2651 w 6276"/>
                <a:gd name="T65" fmla="*/ 4068 h 4073"/>
                <a:gd name="T66" fmla="*/ 2739 w 6276"/>
                <a:gd name="T67" fmla="*/ 4070 h 4073"/>
                <a:gd name="T68" fmla="*/ 2825 w 6276"/>
                <a:gd name="T69" fmla="*/ 4072 h 4073"/>
                <a:gd name="T70" fmla="*/ 2928 w 6276"/>
                <a:gd name="T71" fmla="*/ 4073 h 4073"/>
                <a:gd name="T72" fmla="*/ 4376 w 6276"/>
                <a:gd name="T73" fmla="*/ 4073 h 4073"/>
                <a:gd name="T74" fmla="*/ 4745 w 6276"/>
                <a:gd name="T75" fmla="*/ 4073 h 4073"/>
                <a:gd name="T76" fmla="*/ 4837 w 6276"/>
                <a:gd name="T77" fmla="*/ 4073 h 4073"/>
                <a:gd name="T78" fmla="*/ 4898 w 6276"/>
                <a:gd name="T79" fmla="*/ 4072 h 4073"/>
                <a:gd name="T80" fmla="*/ 4998 w 6276"/>
                <a:gd name="T81" fmla="*/ 4068 h 4073"/>
                <a:gd name="T82" fmla="*/ 5481 w 6276"/>
                <a:gd name="T83" fmla="*/ 3947 h 4073"/>
                <a:gd name="T84" fmla="*/ 5962 w 6276"/>
                <a:gd name="T85" fmla="*/ 3574 h 4073"/>
                <a:gd name="T86" fmla="*/ 6203 w 6276"/>
                <a:gd name="T87" fmla="*/ 3110 h 4073"/>
                <a:gd name="T88" fmla="*/ 6230 w 6276"/>
                <a:gd name="T89" fmla="*/ 3008 h 4073"/>
                <a:gd name="T90" fmla="*/ 6241 w 6276"/>
                <a:gd name="T91" fmla="*/ 2958 h 4073"/>
                <a:gd name="T92" fmla="*/ 6249 w 6276"/>
                <a:gd name="T93" fmla="*/ 2912 h 4073"/>
                <a:gd name="T94" fmla="*/ 6263 w 6276"/>
                <a:gd name="T95" fmla="*/ 2819 h 4073"/>
                <a:gd name="T96" fmla="*/ 6271 w 6276"/>
                <a:gd name="T97" fmla="*/ 2717 h 4073"/>
                <a:gd name="T98" fmla="*/ 6274 w 6276"/>
                <a:gd name="T99" fmla="*/ 2653 h 4073"/>
                <a:gd name="T100" fmla="*/ 6276 w 6276"/>
                <a:gd name="T101" fmla="*/ 2583 h 4073"/>
                <a:gd name="T102" fmla="*/ 6276 w 6276"/>
                <a:gd name="T103" fmla="*/ 2496 h 4073"/>
                <a:gd name="T104" fmla="*/ 6276 w 6276"/>
                <a:gd name="T105" fmla="*/ 1233 h 4073"/>
                <a:gd name="T106" fmla="*/ 6276 w 6276"/>
                <a:gd name="T107" fmla="*/ 0 h 4073"/>
                <a:gd name="T108" fmla="*/ 6249 w 6276"/>
                <a:gd name="T109" fmla="*/ 231 h 4073"/>
                <a:gd name="T110" fmla="*/ 6107 w 6276"/>
                <a:gd name="T111" fmla="*/ 2069 h 4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276" h="4073">
                  <a:moveTo>
                    <a:pt x="6107" y="2069"/>
                  </a:moveTo>
                  <a:cubicBezTo>
                    <a:pt x="6103" y="2155"/>
                    <a:pt x="6099" y="2241"/>
                    <a:pt x="6095" y="2327"/>
                  </a:cubicBezTo>
                  <a:cubicBezTo>
                    <a:pt x="6092" y="2421"/>
                    <a:pt x="6088" y="2515"/>
                    <a:pt x="6085" y="2609"/>
                  </a:cubicBezTo>
                  <a:cubicBezTo>
                    <a:pt x="6081" y="2676"/>
                    <a:pt x="6081" y="2676"/>
                    <a:pt x="6081" y="2676"/>
                  </a:cubicBezTo>
                  <a:cubicBezTo>
                    <a:pt x="6077" y="2719"/>
                    <a:pt x="6073" y="2765"/>
                    <a:pt x="6067" y="2809"/>
                  </a:cubicBezTo>
                  <a:cubicBezTo>
                    <a:pt x="6061" y="2850"/>
                    <a:pt x="6054" y="2890"/>
                    <a:pt x="6045" y="2933"/>
                  </a:cubicBezTo>
                  <a:cubicBezTo>
                    <a:pt x="6033" y="2978"/>
                    <a:pt x="6025" y="3018"/>
                    <a:pt x="6008" y="3067"/>
                  </a:cubicBezTo>
                  <a:cubicBezTo>
                    <a:pt x="5983" y="3138"/>
                    <a:pt x="5983" y="3138"/>
                    <a:pt x="5983" y="3138"/>
                  </a:cubicBezTo>
                  <a:cubicBezTo>
                    <a:pt x="5974" y="3161"/>
                    <a:pt x="5961" y="3187"/>
                    <a:pt x="5950" y="3212"/>
                  </a:cubicBezTo>
                  <a:cubicBezTo>
                    <a:pt x="5929" y="3260"/>
                    <a:pt x="5897" y="3313"/>
                    <a:pt x="5865" y="3363"/>
                  </a:cubicBezTo>
                  <a:cubicBezTo>
                    <a:pt x="5796" y="3465"/>
                    <a:pt x="5706" y="3565"/>
                    <a:pt x="5598" y="3642"/>
                  </a:cubicBezTo>
                  <a:cubicBezTo>
                    <a:pt x="5380" y="3799"/>
                    <a:pt x="5141" y="3849"/>
                    <a:pt x="4966" y="3858"/>
                  </a:cubicBezTo>
                  <a:cubicBezTo>
                    <a:pt x="4900" y="3860"/>
                    <a:pt x="4900" y="3860"/>
                    <a:pt x="4900" y="3860"/>
                  </a:cubicBezTo>
                  <a:cubicBezTo>
                    <a:pt x="4869" y="3860"/>
                    <a:pt x="4869" y="3860"/>
                    <a:pt x="4869" y="3860"/>
                  </a:cubicBezTo>
                  <a:cubicBezTo>
                    <a:pt x="4851" y="3860"/>
                    <a:pt x="4851" y="3860"/>
                    <a:pt x="4851" y="3860"/>
                  </a:cubicBezTo>
                  <a:cubicBezTo>
                    <a:pt x="4782" y="3859"/>
                    <a:pt x="4782" y="3859"/>
                    <a:pt x="4782" y="3859"/>
                  </a:cubicBezTo>
                  <a:cubicBezTo>
                    <a:pt x="4643" y="3857"/>
                    <a:pt x="4643" y="3857"/>
                    <a:pt x="4643" y="3857"/>
                  </a:cubicBezTo>
                  <a:cubicBezTo>
                    <a:pt x="4456" y="3856"/>
                    <a:pt x="4269" y="3855"/>
                    <a:pt x="4079" y="3854"/>
                  </a:cubicBezTo>
                  <a:cubicBezTo>
                    <a:pt x="3807" y="3854"/>
                    <a:pt x="3537" y="3856"/>
                    <a:pt x="3271" y="3860"/>
                  </a:cubicBezTo>
                  <a:cubicBezTo>
                    <a:pt x="3139" y="3863"/>
                    <a:pt x="3008" y="3866"/>
                    <a:pt x="2877" y="3869"/>
                  </a:cubicBezTo>
                  <a:cubicBezTo>
                    <a:pt x="2808" y="3869"/>
                    <a:pt x="2738" y="3870"/>
                    <a:pt x="2669" y="3870"/>
                  </a:cubicBezTo>
                  <a:cubicBezTo>
                    <a:pt x="2591" y="3868"/>
                    <a:pt x="2513" y="3866"/>
                    <a:pt x="2435" y="3863"/>
                  </a:cubicBezTo>
                  <a:cubicBezTo>
                    <a:pt x="1846" y="3836"/>
                    <a:pt x="1250" y="3708"/>
                    <a:pt x="725" y="3456"/>
                  </a:cubicBezTo>
                  <a:cubicBezTo>
                    <a:pt x="517" y="3388"/>
                    <a:pt x="266" y="3273"/>
                    <a:pt x="0" y="3086"/>
                  </a:cubicBezTo>
                  <a:cubicBezTo>
                    <a:pt x="0" y="3086"/>
                    <a:pt x="32" y="3113"/>
                    <a:pt x="91" y="3163"/>
                  </a:cubicBezTo>
                  <a:cubicBezTo>
                    <a:pt x="149" y="3214"/>
                    <a:pt x="239" y="3284"/>
                    <a:pt x="357" y="3366"/>
                  </a:cubicBezTo>
                  <a:cubicBezTo>
                    <a:pt x="476" y="3448"/>
                    <a:pt x="626" y="3541"/>
                    <a:pt x="804" y="3629"/>
                  </a:cubicBezTo>
                  <a:cubicBezTo>
                    <a:pt x="982" y="3717"/>
                    <a:pt x="1187" y="3802"/>
                    <a:pt x="1414" y="3871"/>
                  </a:cubicBezTo>
                  <a:cubicBezTo>
                    <a:pt x="1641" y="3940"/>
                    <a:pt x="1887" y="3992"/>
                    <a:pt x="2144" y="4026"/>
                  </a:cubicBezTo>
                  <a:cubicBezTo>
                    <a:pt x="2208" y="4036"/>
                    <a:pt x="2273" y="4042"/>
                    <a:pt x="2338" y="4048"/>
                  </a:cubicBezTo>
                  <a:cubicBezTo>
                    <a:pt x="2371" y="4051"/>
                    <a:pt x="2404" y="4054"/>
                    <a:pt x="2437" y="4057"/>
                  </a:cubicBezTo>
                  <a:cubicBezTo>
                    <a:pt x="2473" y="4059"/>
                    <a:pt x="2508" y="4061"/>
                    <a:pt x="2544" y="4063"/>
                  </a:cubicBezTo>
                  <a:cubicBezTo>
                    <a:pt x="2579" y="4065"/>
                    <a:pt x="2615" y="4067"/>
                    <a:pt x="2651" y="4068"/>
                  </a:cubicBezTo>
                  <a:cubicBezTo>
                    <a:pt x="2681" y="4069"/>
                    <a:pt x="2710" y="4070"/>
                    <a:pt x="2739" y="4070"/>
                  </a:cubicBezTo>
                  <a:cubicBezTo>
                    <a:pt x="2768" y="4071"/>
                    <a:pt x="2796" y="4071"/>
                    <a:pt x="2825" y="4072"/>
                  </a:cubicBezTo>
                  <a:cubicBezTo>
                    <a:pt x="2859" y="4072"/>
                    <a:pt x="2893" y="4072"/>
                    <a:pt x="2928" y="4073"/>
                  </a:cubicBezTo>
                  <a:cubicBezTo>
                    <a:pt x="3390" y="4073"/>
                    <a:pt x="3883" y="4073"/>
                    <a:pt x="4376" y="4073"/>
                  </a:cubicBezTo>
                  <a:cubicBezTo>
                    <a:pt x="4499" y="4073"/>
                    <a:pt x="4623" y="4073"/>
                    <a:pt x="4745" y="4073"/>
                  </a:cubicBezTo>
                  <a:cubicBezTo>
                    <a:pt x="4837" y="4073"/>
                    <a:pt x="4837" y="4073"/>
                    <a:pt x="4837" y="4073"/>
                  </a:cubicBezTo>
                  <a:cubicBezTo>
                    <a:pt x="4898" y="4072"/>
                    <a:pt x="4898" y="4072"/>
                    <a:pt x="4898" y="4072"/>
                  </a:cubicBezTo>
                  <a:cubicBezTo>
                    <a:pt x="4998" y="4068"/>
                    <a:pt x="4998" y="4068"/>
                    <a:pt x="4998" y="4068"/>
                  </a:cubicBezTo>
                  <a:cubicBezTo>
                    <a:pt x="5139" y="4056"/>
                    <a:pt x="5304" y="4026"/>
                    <a:pt x="5481" y="3947"/>
                  </a:cubicBezTo>
                  <a:cubicBezTo>
                    <a:pt x="5657" y="3870"/>
                    <a:pt x="5838" y="3733"/>
                    <a:pt x="5962" y="3574"/>
                  </a:cubicBezTo>
                  <a:cubicBezTo>
                    <a:pt x="6088" y="3416"/>
                    <a:pt x="6162" y="3248"/>
                    <a:pt x="6203" y="3110"/>
                  </a:cubicBezTo>
                  <a:cubicBezTo>
                    <a:pt x="6215" y="3073"/>
                    <a:pt x="6221" y="3042"/>
                    <a:pt x="6230" y="3008"/>
                  </a:cubicBezTo>
                  <a:cubicBezTo>
                    <a:pt x="6241" y="2958"/>
                    <a:pt x="6241" y="2958"/>
                    <a:pt x="6241" y="2958"/>
                  </a:cubicBezTo>
                  <a:cubicBezTo>
                    <a:pt x="6249" y="2912"/>
                    <a:pt x="6249" y="2912"/>
                    <a:pt x="6249" y="2912"/>
                  </a:cubicBezTo>
                  <a:cubicBezTo>
                    <a:pt x="6254" y="2881"/>
                    <a:pt x="6259" y="2852"/>
                    <a:pt x="6263" y="2819"/>
                  </a:cubicBezTo>
                  <a:cubicBezTo>
                    <a:pt x="6266" y="2785"/>
                    <a:pt x="6269" y="2751"/>
                    <a:pt x="6271" y="2717"/>
                  </a:cubicBezTo>
                  <a:cubicBezTo>
                    <a:pt x="6274" y="2675"/>
                    <a:pt x="6274" y="2669"/>
                    <a:pt x="6274" y="2653"/>
                  </a:cubicBezTo>
                  <a:cubicBezTo>
                    <a:pt x="6276" y="2583"/>
                    <a:pt x="6276" y="2583"/>
                    <a:pt x="6276" y="2583"/>
                  </a:cubicBezTo>
                  <a:cubicBezTo>
                    <a:pt x="6276" y="2554"/>
                    <a:pt x="6276" y="2525"/>
                    <a:pt x="6276" y="2496"/>
                  </a:cubicBezTo>
                  <a:cubicBezTo>
                    <a:pt x="6276" y="2034"/>
                    <a:pt x="6276" y="1603"/>
                    <a:pt x="6276" y="1233"/>
                  </a:cubicBezTo>
                  <a:cubicBezTo>
                    <a:pt x="6276" y="494"/>
                    <a:pt x="6276" y="0"/>
                    <a:pt x="6276" y="0"/>
                  </a:cubicBezTo>
                  <a:cubicBezTo>
                    <a:pt x="6249" y="231"/>
                    <a:pt x="6249" y="231"/>
                    <a:pt x="6249" y="231"/>
                  </a:cubicBezTo>
                  <a:cubicBezTo>
                    <a:pt x="6187" y="766"/>
                    <a:pt x="6139" y="1390"/>
                    <a:pt x="6107" y="206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57">
              <a:extLst>
                <a:ext uri="{FF2B5EF4-FFF2-40B4-BE49-F238E27FC236}">
                  <a16:creationId xmlns:a16="http://schemas.microsoft.com/office/drawing/2014/main" id="{66D0DF69-FAA6-4A79-8289-EB078E7370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3638" y="5422900"/>
              <a:ext cx="88900" cy="920750"/>
            </a:xfrm>
            <a:custGeom>
              <a:avLst/>
              <a:gdLst>
                <a:gd name="T0" fmla="*/ 1555 w 1605"/>
                <a:gd name="T1" fmla="*/ 1518 h 16660"/>
                <a:gd name="T2" fmla="*/ 1244 w 1605"/>
                <a:gd name="T3" fmla="*/ 2472 h 16660"/>
                <a:gd name="T4" fmla="*/ 1055 w 1605"/>
                <a:gd name="T5" fmla="*/ 2149 h 16660"/>
                <a:gd name="T6" fmla="*/ 970 w 1605"/>
                <a:gd name="T7" fmla="*/ 1757 h 16660"/>
                <a:gd name="T8" fmla="*/ 891 w 1605"/>
                <a:gd name="T9" fmla="*/ 1214 h 16660"/>
                <a:gd name="T10" fmla="*/ 882 w 1605"/>
                <a:gd name="T11" fmla="*/ 1159 h 16660"/>
                <a:gd name="T12" fmla="*/ 858 w 1605"/>
                <a:gd name="T13" fmla="*/ 1016 h 16660"/>
                <a:gd name="T14" fmla="*/ 755 w 1605"/>
                <a:gd name="T15" fmla="*/ 589 h 16660"/>
                <a:gd name="T16" fmla="*/ 608 w 1605"/>
                <a:gd name="T17" fmla="*/ 178 h 16660"/>
                <a:gd name="T18" fmla="*/ 548 w 1605"/>
                <a:gd name="T19" fmla="*/ 48 h 16660"/>
                <a:gd name="T20" fmla="*/ 524 w 1605"/>
                <a:gd name="T21" fmla="*/ 0 h 16660"/>
                <a:gd name="T22" fmla="*/ 579 w 1605"/>
                <a:gd name="T23" fmla="*/ 298 h 16660"/>
                <a:gd name="T24" fmla="*/ 588 w 1605"/>
                <a:gd name="T25" fmla="*/ 355 h 16660"/>
                <a:gd name="T26" fmla="*/ 606 w 1605"/>
                <a:gd name="T27" fmla="*/ 515 h 16660"/>
                <a:gd name="T28" fmla="*/ 613 w 1605"/>
                <a:gd name="T29" fmla="*/ 1085 h 16660"/>
                <a:gd name="T30" fmla="*/ 579 w 1605"/>
                <a:gd name="T31" fmla="*/ 1462 h 16660"/>
                <a:gd name="T32" fmla="*/ 530 w 1605"/>
                <a:gd name="T33" fmla="*/ 1888 h 16660"/>
                <a:gd name="T34" fmla="*/ 423 w 1605"/>
                <a:gd name="T35" fmla="*/ 2814 h 16660"/>
                <a:gd name="T36" fmla="*/ 131 w 1605"/>
                <a:gd name="T37" fmla="*/ 5334 h 16660"/>
                <a:gd name="T38" fmla="*/ 0 w 1605"/>
                <a:gd name="T39" fmla="*/ 7380 h 16660"/>
                <a:gd name="T40" fmla="*/ 319 w 1605"/>
                <a:gd name="T41" fmla="*/ 6367 h 16660"/>
                <a:gd name="T42" fmla="*/ 669 w 1605"/>
                <a:gd name="T43" fmla="*/ 7619 h 16660"/>
                <a:gd name="T44" fmla="*/ 1252 w 1605"/>
                <a:gd name="T45" fmla="*/ 12660 h 16660"/>
                <a:gd name="T46" fmla="*/ 1397 w 1605"/>
                <a:gd name="T47" fmla="*/ 15683 h 16660"/>
                <a:gd name="T48" fmla="*/ 1384 w 1605"/>
                <a:gd name="T49" fmla="*/ 16660 h 16660"/>
                <a:gd name="T50" fmla="*/ 1414 w 1605"/>
                <a:gd name="T51" fmla="*/ 16421 h 16660"/>
                <a:gd name="T52" fmla="*/ 1601 w 1605"/>
                <a:gd name="T53" fmla="*/ 14804 h 16660"/>
                <a:gd name="T54" fmla="*/ 1335 w 1605"/>
                <a:gd name="T55" fmla="*/ 12501 h 16660"/>
                <a:gd name="T56" fmla="*/ 1142 w 1605"/>
                <a:gd name="T57" fmla="*/ 8491 h 16660"/>
                <a:gd name="T58" fmla="*/ 1335 w 1605"/>
                <a:gd name="T59" fmla="*/ 4480 h 16660"/>
                <a:gd name="T60" fmla="*/ 1605 w 1605"/>
                <a:gd name="T61" fmla="*/ 2145 h 16660"/>
                <a:gd name="T62" fmla="*/ 1605 w 1605"/>
                <a:gd name="T63" fmla="*/ 1944 h 16660"/>
                <a:gd name="T64" fmla="*/ 1555 w 1605"/>
                <a:gd name="T65" fmla="*/ 1518 h 16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5" h="16660">
                  <a:moveTo>
                    <a:pt x="1555" y="1518"/>
                  </a:moveTo>
                  <a:cubicBezTo>
                    <a:pt x="1468" y="2136"/>
                    <a:pt x="1359" y="2472"/>
                    <a:pt x="1244" y="2472"/>
                  </a:cubicBezTo>
                  <a:cubicBezTo>
                    <a:pt x="1178" y="2472"/>
                    <a:pt x="1114" y="2361"/>
                    <a:pt x="1055" y="2149"/>
                  </a:cubicBezTo>
                  <a:cubicBezTo>
                    <a:pt x="1025" y="2043"/>
                    <a:pt x="997" y="1912"/>
                    <a:pt x="970" y="1757"/>
                  </a:cubicBezTo>
                  <a:cubicBezTo>
                    <a:pt x="942" y="1600"/>
                    <a:pt x="920" y="1427"/>
                    <a:pt x="891" y="1214"/>
                  </a:cubicBezTo>
                  <a:cubicBezTo>
                    <a:pt x="891" y="1214"/>
                    <a:pt x="888" y="1194"/>
                    <a:pt x="882" y="1159"/>
                  </a:cubicBezTo>
                  <a:cubicBezTo>
                    <a:pt x="877" y="1125"/>
                    <a:pt x="868" y="1075"/>
                    <a:pt x="858" y="1016"/>
                  </a:cubicBezTo>
                  <a:cubicBezTo>
                    <a:pt x="835" y="898"/>
                    <a:pt x="802" y="741"/>
                    <a:pt x="755" y="589"/>
                  </a:cubicBezTo>
                  <a:cubicBezTo>
                    <a:pt x="712" y="435"/>
                    <a:pt x="653" y="287"/>
                    <a:pt x="608" y="178"/>
                  </a:cubicBezTo>
                  <a:cubicBezTo>
                    <a:pt x="583" y="124"/>
                    <a:pt x="563" y="80"/>
                    <a:pt x="548" y="48"/>
                  </a:cubicBezTo>
                  <a:cubicBezTo>
                    <a:pt x="534" y="17"/>
                    <a:pt x="524" y="0"/>
                    <a:pt x="524" y="0"/>
                  </a:cubicBezTo>
                  <a:cubicBezTo>
                    <a:pt x="544" y="93"/>
                    <a:pt x="564" y="192"/>
                    <a:pt x="579" y="298"/>
                  </a:cubicBezTo>
                  <a:cubicBezTo>
                    <a:pt x="579" y="298"/>
                    <a:pt x="582" y="318"/>
                    <a:pt x="588" y="355"/>
                  </a:cubicBezTo>
                  <a:cubicBezTo>
                    <a:pt x="592" y="392"/>
                    <a:pt x="598" y="446"/>
                    <a:pt x="606" y="515"/>
                  </a:cubicBezTo>
                  <a:cubicBezTo>
                    <a:pt x="616" y="654"/>
                    <a:pt x="626" y="851"/>
                    <a:pt x="613" y="1085"/>
                  </a:cubicBezTo>
                  <a:cubicBezTo>
                    <a:pt x="607" y="1203"/>
                    <a:pt x="595" y="1327"/>
                    <a:pt x="579" y="1462"/>
                  </a:cubicBezTo>
                  <a:cubicBezTo>
                    <a:pt x="564" y="1598"/>
                    <a:pt x="547" y="1740"/>
                    <a:pt x="530" y="1888"/>
                  </a:cubicBezTo>
                  <a:cubicBezTo>
                    <a:pt x="496" y="2184"/>
                    <a:pt x="459" y="2499"/>
                    <a:pt x="423" y="2814"/>
                  </a:cubicBezTo>
                  <a:cubicBezTo>
                    <a:pt x="277" y="4074"/>
                    <a:pt x="131" y="5334"/>
                    <a:pt x="131" y="5334"/>
                  </a:cubicBezTo>
                  <a:cubicBezTo>
                    <a:pt x="65" y="5906"/>
                    <a:pt x="20" y="6612"/>
                    <a:pt x="0" y="7380"/>
                  </a:cubicBezTo>
                  <a:cubicBezTo>
                    <a:pt x="89" y="6725"/>
                    <a:pt x="201" y="6367"/>
                    <a:pt x="319" y="6367"/>
                  </a:cubicBezTo>
                  <a:cubicBezTo>
                    <a:pt x="451" y="6367"/>
                    <a:pt x="575" y="6811"/>
                    <a:pt x="669" y="7619"/>
                  </a:cubicBezTo>
                  <a:cubicBezTo>
                    <a:pt x="1252" y="12660"/>
                    <a:pt x="1252" y="12660"/>
                    <a:pt x="1252" y="12660"/>
                  </a:cubicBezTo>
                  <a:cubicBezTo>
                    <a:pt x="1345" y="13468"/>
                    <a:pt x="1397" y="14541"/>
                    <a:pt x="1397" y="15683"/>
                  </a:cubicBezTo>
                  <a:cubicBezTo>
                    <a:pt x="1397" y="16016"/>
                    <a:pt x="1392" y="16343"/>
                    <a:pt x="1384" y="16660"/>
                  </a:cubicBezTo>
                  <a:cubicBezTo>
                    <a:pt x="1394" y="16581"/>
                    <a:pt x="1404" y="16502"/>
                    <a:pt x="1414" y="16421"/>
                  </a:cubicBezTo>
                  <a:cubicBezTo>
                    <a:pt x="1601" y="14804"/>
                    <a:pt x="1601" y="14804"/>
                    <a:pt x="1601" y="14804"/>
                  </a:cubicBezTo>
                  <a:cubicBezTo>
                    <a:pt x="1335" y="12501"/>
                    <a:pt x="1335" y="12501"/>
                    <a:pt x="1335" y="12501"/>
                  </a:cubicBezTo>
                  <a:cubicBezTo>
                    <a:pt x="1211" y="11430"/>
                    <a:pt x="1142" y="10006"/>
                    <a:pt x="1142" y="8491"/>
                  </a:cubicBezTo>
                  <a:cubicBezTo>
                    <a:pt x="1142" y="6976"/>
                    <a:pt x="1211" y="5552"/>
                    <a:pt x="1335" y="4480"/>
                  </a:cubicBezTo>
                  <a:cubicBezTo>
                    <a:pt x="1605" y="2145"/>
                    <a:pt x="1605" y="2145"/>
                    <a:pt x="1605" y="2145"/>
                  </a:cubicBezTo>
                  <a:cubicBezTo>
                    <a:pt x="1605" y="1944"/>
                    <a:pt x="1605" y="1944"/>
                    <a:pt x="1605" y="1944"/>
                  </a:cubicBezTo>
                  <a:lnTo>
                    <a:pt x="1555" y="151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58">
              <a:extLst>
                <a:ext uri="{FF2B5EF4-FFF2-40B4-BE49-F238E27FC236}">
                  <a16:creationId xmlns:a16="http://schemas.microsoft.com/office/drawing/2014/main" id="{26B02774-46E9-49D3-AC58-FCC4681ED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1213" y="6010275"/>
              <a:ext cx="0" cy="0"/>
            </a:xfrm>
            <a:custGeom>
              <a:avLst/>
              <a:gdLst>
                <a:gd name="T0" fmla="*/ 0 w 10"/>
                <a:gd name="T1" fmla="*/ 0 h 11"/>
                <a:gd name="T2" fmla="*/ 0 w 10"/>
                <a:gd name="T3" fmla="*/ 0 h 11"/>
                <a:gd name="T4" fmla="*/ 10 w 10"/>
                <a:gd name="T5" fmla="*/ 11 h 11"/>
                <a:gd name="T6" fmla="*/ 0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8" y="9"/>
                    <a:pt x="5" y="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44DD1082-127B-410F-9E17-F8110D7044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9826" y="5988050"/>
              <a:ext cx="777875" cy="458788"/>
            </a:xfrm>
            <a:custGeom>
              <a:avLst/>
              <a:gdLst>
                <a:gd name="T0" fmla="*/ 13831 w 14062"/>
                <a:gd name="T1" fmla="*/ 134 h 8316"/>
                <a:gd name="T2" fmla="*/ 14062 w 14062"/>
                <a:gd name="T3" fmla="*/ 0 h 8316"/>
                <a:gd name="T4" fmla="*/ 12600 w 14062"/>
                <a:gd name="T5" fmla="*/ 770 h 8316"/>
                <a:gd name="T6" fmla="*/ 12130 w 14062"/>
                <a:gd name="T7" fmla="*/ 1076 h 8316"/>
                <a:gd name="T8" fmla="*/ 10883 w 14062"/>
                <a:gd name="T9" fmla="*/ 1957 h 8316"/>
                <a:gd name="T10" fmla="*/ 10516 w 14062"/>
                <a:gd name="T11" fmla="*/ 2225 h 8316"/>
                <a:gd name="T12" fmla="*/ 8845 w 14062"/>
                <a:gd name="T13" fmla="*/ 3464 h 8316"/>
                <a:gd name="T14" fmla="*/ 5616 w 14062"/>
                <a:gd name="T15" fmla="*/ 5483 h 8316"/>
                <a:gd name="T16" fmla="*/ 5383 w 14062"/>
                <a:gd name="T17" fmla="*/ 5324 h 8316"/>
                <a:gd name="T18" fmla="*/ 4556 w 14062"/>
                <a:gd name="T19" fmla="*/ 6068 h 8316"/>
                <a:gd name="T20" fmla="*/ 3834 w 14062"/>
                <a:gd name="T21" fmla="*/ 6601 h 8316"/>
                <a:gd name="T22" fmla="*/ 3495 w 14062"/>
                <a:gd name="T23" fmla="*/ 6802 h 8316"/>
                <a:gd name="T24" fmla="*/ 1823 w 14062"/>
                <a:gd name="T25" fmla="*/ 7226 h 8316"/>
                <a:gd name="T26" fmla="*/ 487 w 14062"/>
                <a:gd name="T27" fmla="*/ 7012 h 8316"/>
                <a:gd name="T28" fmla="*/ 0 w 14062"/>
                <a:gd name="T29" fmla="*/ 6832 h 8316"/>
                <a:gd name="T30" fmla="*/ 326 w 14062"/>
                <a:gd name="T31" fmla="*/ 7054 h 8316"/>
                <a:gd name="T32" fmla="*/ 912 w 14062"/>
                <a:gd name="T33" fmla="*/ 7379 h 8316"/>
                <a:gd name="T34" fmla="*/ 2057 w 14062"/>
                <a:gd name="T35" fmla="*/ 7767 h 8316"/>
                <a:gd name="T36" fmla="*/ 2318 w 14062"/>
                <a:gd name="T37" fmla="*/ 7861 h 8316"/>
                <a:gd name="T38" fmla="*/ 2136 w 14062"/>
                <a:gd name="T39" fmla="*/ 8124 h 8316"/>
                <a:gd name="T40" fmla="*/ 2063 w 14062"/>
                <a:gd name="T41" fmla="*/ 8142 h 8316"/>
                <a:gd name="T42" fmla="*/ 1774 w 14062"/>
                <a:gd name="T43" fmla="*/ 8181 h 8316"/>
                <a:gd name="T44" fmla="*/ 1527 w 14062"/>
                <a:gd name="T45" fmla="*/ 8247 h 8316"/>
                <a:gd name="T46" fmla="*/ 1906 w 14062"/>
                <a:gd name="T47" fmla="*/ 8310 h 8316"/>
                <a:gd name="T48" fmla="*/ 2034 w 14062"/>
                <a:gd name="T49" fmla="*/ 8316 h 8316"/>
                <a:gd name="T50" fmla="*/ 2109 w 14062"/>
                <a:gd name="T51" fmla="*/ 8312 h 8316"/>
                <a:gd name="T52" fmla="*/ 2205 w 14062"/>
                <a:gd name="T53" fmla="*/ 8302 h 8316"/>
                <a:gd name="T54" fmla="*/ 2209 w 14062"/>
                <a:gd name="T55" fmla="*/ 8302 h 8316"/>
                <a:gd name="T56" fmla="*/ 2221 w 14062"/>
                <a:gd name="T57" fmla="*/ 8302 h 8316"/>
                <a:gd name="T58" fmla="*/ 2233 w 14062"/>
                <a:gd name="T59" fmla="*/ 8301 h 8316"/>
                <a:gd name="T60" fmla="*/ 2290 w 14062"/>
                <a:gd name="T61" fmla="*/ 8294 h 8316"/>
                <a:gd name="T62" fmla="*/ 3414 w 14062"/>
                <a:gd name="T63" fmla="*/ 8036 h 8316"/>
                <a:gd name="T64" fmla="*/ 4092 w 14062"/>
                <a:gd name="T65" fmla="*/ 7726 h 8316"/>
                <a:gd name="T66" fmla="*/ 4265 w 14062"/>
                <a:gd name="T67" fmla="*/ 7626 h 8316"/>
                <a:gd name="T68" fmla="*/ 5355 w 14062"/>
                <a:gd name="T69" fmla="*/ 6852 h 8316"/>
                <a:gd name="T70" fmla="*/ 5647 w 14062"/>
                <a:gd name="T71" fmla="*/ 6611 h 8316"/>
                <a:gd name="T72" fmla="*/ 6127 w 14062"/>
                <a:gd name="T73" fmla="*/ 6193 h 8316"/>
                <a:gd name="T74" fmla="*/ 7335 w 14062"/>
                <a:gd name="T75" fmla="*/ 5087 h 8316"/>
                <a:gd name="T76" fmla="*/ 8582 w 14062"/>
                <a:gd name="T77" fmla="*/ 3964 h 8316"/>
                <a:gd name="T78" fmla="*/ 8884 w 14062"/>
                <a:gd name="T79" fmla="*/ 3705 h 8316"/>
                <a:gd name="T80" fmla="*/ 9393 w 14062"/>
                <a:gd name="T81" fmla="*/ 3281 h 8316"/>
                <a:gd name="T82" fmla="*/ 10502 w 14062"/>
                <a:gd name="T83" fmla="*/ 2366 h 8316"/>
                <a:gd name="T84" fmla="*/ 11749 w 14062"/>
                <a:gd name="T85" fmla="*/ 1500 h 8316"/>
                <a:gd name="T86" fmla="*/ 12688 w 14062"/>
                <a:gd name="T87" fmla="*/ 968 h 8316"/>
                <a:gd name="T88" fmla="*/ 13491 w 14062"/>
                <a:gd name="T89" fmla="*/ 351 h 8316"/>
                <a:gd name="T90" fmla="*/ 13689 w 14062"/>
                <a:gd name="T91" fmla="*/ 222 h 8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062" h="8316">
                  <a:moveTo>
                    <a:pt x="13689" y="222"/>
                  </a:moveTo>
                  <a:cubicBezTo>
                    <a:pt x="13748" y="186"/>
                    <a:pt x="13797" y="155"/>
                    <a:pt x="13831" y="134"/>
                  </a:cubicBezTo>
                  <a:cubicBezTo>
                    <a:pt x="13864" y="114"/>
                    <a:pt x="13883" y="103"/>
                    <a:pt x="13883" y="103"/>
                  </a:cubicBezTo>
                  <a:cubicBezTo>
                    <a:pt x="13945" y="66"/>
                    <a:pt x="14005" y="32"/>
                    <a:pt x="14062" y="0"/>
                  </a:cubicBezTo>
                  <a:cubicBezTo>
                    <a:pt x="13816" y="99"/>
                    <a:pt x="13543" y="236"/>
                    <a:pt x="13272" y="380"/>
                  </a:cubicBezTo>
                  <a:cubicBezTo>
                    <a:pt x="13040" y="504"/>
                    <a:pt x="12815" y="635"/>
                    <a:pt x="12600" y="770"/>
                  </a:cubicBezTo>
                  <a:cubicBezTo>
                    <a:pt x="12492" y="837"/>
                    <a:pt x="12386" y="905"/>
                    <a:pt x="12283" y="973"/>
                  </a:cubicBezTo>
                  <a:cubicBezTo>
                    <a:pt x="12232" y="1008"/>
                    <a:pt x="12181" y="1042"/>
                    <a:pt x="12130" y="1076"/>
                  </a:cubicBezTo>
                  <a:cubicBezTo>
                    <a:pt x="11977" y="1182"/>
                    <a:pt x="11977" y="1182"/>
                    <a:pt x="11977" y="1182"/>
                  </a:cubicBezTo>
                  <a:cubicBezTo>
                    <a:pt x="11574" y="1462"/>
                    <a:pt x="11204" y="1730"/>
                    <a:pt x="10883" y="1957"/>
                  </a:cubicBezTo>
                  <a:cubicBezTo>
                    <a:pt x="10883" y="1957"/>
                    <a:pt x="10821" y="2002"/>
                    <a:pt x="10711" y="2080"/>
                  </a:cubicBezTo>
                  <a:cubicBezTo>
                    <a:pt x="10657" y="2120"/>
                    <a:pt x="10591" y="2169"/>
                    <a:pt x="10516" y="2225"/>
                  </a:cubicBezTo>
                  <a:cubicBezTo>
                    <a:pt x="10440" y="2282"/>
                    <a:pt x="10355" y="2348"/>
                    <a:pt x="10261" y="2419"/>
                  </a:cubicBezTo>
                  <a:cubicBezTo>
                    <a:pt x="9880" y="2712"/>
                    <a:pt x="9368" y="3096"/>
                    <a:pt x="8845" y="3464"/>
                  </a:cubicBezTo>
                  <a:cubicBezTo>
                    <a:pt x="7816" y="4203"/>
                    <a:pt x="6786" y="4942"/>
                    <a:pt x="6786" y="4942"/>
                  </a:cubicBezTo>
                  <a:cubicBezTo>
                    <a:pt x="6123" y="5413"/>
                    <a:pt x="5697" y="5585"/>
                    <a:pt x="5616" y="5483"/>
                  </a:cubicBezTo>
                  <a:cubicBezTo>
                    <a:pt x="5541" y="5390"/>
                    <a:pt x="5747" y="5088"/>
                    <a:pt x="6164" y="4600"/>
                  </a:cubicBezTo>
                  <a:cubicBezTo>
                    <a:pt x="5892" y="4855"/>
                    <a:pt x="5630" y="5098"/>
                    <a:pt x="5383" y="5324"/>
                  </a:cubicBezTo>
                  <a:cubicBezTo>
                    <a:pt x="5135" y="5550"/>
                    <a:pt x="4912" y="5757"/>
                    <a:pt x="4711" y="5934"/>
                  </a:cubicBezTo>
                  <a:cubicBezTo>
                    <a:pt x="4711" y="5934"/>
                    <a:pt x="4655" y="5984"/>
                    <a:pt x="4556" y="6068"/>
                  </a:cubicBezTo>
                  <a:cubicBezTo>
                    <a:pt x="4456" y="6151"/>
                    <a:pt x="4312" y="6268"/>
                    <a:pt x="4131" y="6399"/>
                  </a:cubicBezTo>
                  <a:cubicBezTo>
                    <a:pt x="4041" y="6464"/>
                    <a:pt x="3942" y="6532"/>
                    <a:pt x="3834" y="6601"/>
                  </a:cubicBezTo>
                  <a:cubicBezTo>
                    <a:pt x="3782" y="6635"/>
                    <a:pt x="3722" y="6672"/>
                    <a:pt x="3670" y="6704"/>
                  </a:cubicBezTo>
                  <a:cubicBezTo>
                    <a:pt x="3603" y="6742"/>
                    <a:pt x="3555" y="6770"/>
                    <a:pt x="3495" y="6802"/>
                  </a:cubicBezTo>
                  <a:cubicBezTo>
                    <a:pt x="3257" y="6928"/>
                    <a:pt x="2985" y="7037"/>
                    <a:pt x="2697" y="7109"/>
                  </a:cubicBezTo>
                  <a:cubicBezTo>
                    <a:pt x="2411" y="7181"/>
                    <a:pt x="2107" y="7220"/>
                    <a:pt x="1823" y="7226"/>
                  </a:cubicBezTo>
                  <a:cubicBezTo>
                    <a:pt x="1537" y="7232"/>
                    <a:pt x="1267" y="7203"/>
                    <a:pt x="1038" y="7159"/>
                  </a:cubicBezTo>
                  <a:cubicBezTo>
                    <a:pt x="808" y="7115"/>
                    <a:pt x="619" y="7056"/>
                    <a:pt x="487" y="7012"/>
                  </a:cubicBezTo>
                  <a:cubicBezTo>
                    <a:pt x="356" y="6968"/>
                    <a:pt x="281" y="6940"/>
                    <a:pt x="281" y="6940"/>
                  </a:cubicBezTo>
                  <a:cubicBezTo>
                    <a:pt x="186" y="6903"/>
                    <a:pt x="92" y="6868"/>
                    <a:pt x="0" y="6832"/>
                  </a:cubicBezTo>
                  <a:cubicBezTo>
                    <a:pt x="0" y="6832"/>
                    <a:pt x="63" y="6877"/>
                    <a:pt x="159" y="6944"/>
                  </a:cubicBezTo>
                  <a:cubicBezTo>
                    <a:pt x="207" y="6977"/>
                    <a:pt x="264" y="7015"/>
                    <a:pt x="326" y="7054"/>
                  </a:cubicBezTo>
                  <a:cubicBezTo>
                    <a:pt x="388" y="7094"/>
                    <a:pt x="456" y="7136"/>
                    <a:pt x="521" y="7175"/>
                  </a:cubicBezTo>
                  <a:cubicBezTo>
                    <a:pt x="659" y="7257"/>
                    <a:pt x="801" y="7329"/>
                    <a:pt x="912" y="7379"/>
                  </a:cubicBezTo>
                  <a:cubicBezTo>
                    <a:pt x="1022" y="7429"/>
                    <a:pt x="1097" y="7459"/>
                    <a:pt x="1097" y="7459"/>
                  </a:cubicBezTo>
                  <a:cubicBezTo>
                    <a:pt x="1496" y="7617"/>
                    <a:pt x="1824" y="7699"/>
                    <a:pt x="2057" y="7767"/>
                  </a:cubicBezTo>
                  <a:cubicBezTo>
                    <a:pt x="2119" y="7784"/>
                    <a:pt x="2161" y="7799"/>
                    <a:pt x="2202" y="7815"/>
                  </a:cubicBezTo>
                  <a:cubicBezTo>
                    <a:pt x="2254" y="7831"/>
                    <a:pt x="2286" y="7845"/>
                    <a:pt x="2318" y="7861"/>
                  </a:cubicBezTo>
                  <a:cubicBezTo>
                    <a:pt x="2379" y="7891"/>
                    <a:pt x="2411" y="7922"/>
                    <a:pt x="2413" y="7955"/>
                  </a:cubicBezTo>
                  <a:cubicBezTo>
                    <a:pt x="2417" y="8012"/>
                    <a:pt x="2318" y="8075"/>
                    <a:pt x="2136" y="8124"/>
                  </a:cubicBezTo>
                  <a:cubicBezTo>
                    <a:pt x="2105" y="8134"/>
                    <a:pt x="2105" y="8134"/>
                    <a:pt x="2105" y="8134"/>
                  </a:cubicBezTo>
                  <a:cubicBezTo>
                    <a:pt x="2063" y="8142"/>
                    <a:pt x="2063" y="8142"/>
                    <a:pt x="2063" y="8142"/>
                  </a:cubicBezTo>
                  <a:cubicBezTo>
                    <a:pt x="1971" y="8158"/>
                    <a:pt x="1971" y="8158"/>
                    <a:pt x="1971" y="8158"/>
                  </a:cubicBezTo>
                  <a:cubicBezTo>
                    <a:pt x="1912" y="8166"/>
                    <a:pt x="1846" y="8176"/>
                    <a:pt x="1774" y="8181"/>
                  </a:cubicBezTo>
                  <a:cubicBezTo>
                    <a:pt x="1631" y="8192"/>
                    <a:pt x="1463" y="8194"/>
                    <a:pt x="1274" y="8179"/>
                  </a:cubicBezTo>
                  <a:cubicBezTo>
                    <a:pt x="1274" y="8179"/>
                    <a:pt x="1399" y="8217"/>
                    <a:pt x="1527" y="8247"/>
                  </a:cubicBezTo>
                  <a:cubicBezTo>
                    <a:pt x="1654" y="8278"/>
                    <a:pt x="1784" y="8301"/>
                    <a:pt x="1784" y="8301"/>
                  </a:cubicBezTo>
                  <a:cubicBezTo>
                    <a:pt x="1784" y="8301"/>
                    <a:pt x="1845" y="8307"/>
                    <a:pt x="1906" y="8310"/>
                  </a:cubicBezTo>
                  <a:cubicBezTo>
                    <a:pt x="1937" y="8312"/>
                    <a:pt x="1969" y="8313"/>
                    <a:pt x="1993" y="8315"/>
                  </a:cubicBezTo>
                  <a:cubicBezTo>
                    <a:pt x="2017" y="8316"/>
                    <a:pt x="2034" y="8316"/>
                    <a:pt x="2034" y="8316"/>
                  </a:cubicBezTo>
                  <a:cubicBezTo>
                    <a:pt x="2034" y="8316"/>
                    <a:pt x="2046" y="8316"/>
                    <a:pt x="2069" y="8315"/>
                  </a:cubicBezTo>
                  <a:cubicBezTo>
                    <a:pt x="2080" y="8314"/>
                    <a:pt x="2096" y="8313"/>
                    <a:pt x="2109" y="8312"/>
                  </a:cubicBezTo>
                  <a:cubicBezTo>
                    <a:pt x="2121" y="8311"/>
                    <a:pt x="2136" y="8309"/>
                    <a:pt x="2152" y="8308"/>
                  </a:cubicBezTo>
                  <a:cubicBezTo>
                    <a:pt x="2168" y="8306"/>
                    <a:pt x="2185" y="8304"/>
                    <a:pt x="2205" y="8302"/>
                  </a:cubicBezTo>
                  <a:cubicBezTo>
                    <a:pt x="2208" y="8302"/>
                    <a:pt x="2208" y="8302"/>
                    <a:pt x="2208" y="8302"/>
                  </a:cubicBezTo>
                  <a:cubicBezTo>
                    <a:pt x="2209" y="8302"/>
                    <a:pt x="2209" y="8302"/>
                    <a:pt x="2209" y="8302"/>
                  </a:cubicBezTo>
                  <a:cubicBezTo>
                    <a:pt x="2210" y="8302"/>
                    <a:pt x="2210" y="8302"/>
                    <a:pt x="2210" y="8302"/>
                  </a:cubicBezTo>
                  <a:cubicBezTo>
                    <a:pt x="2221" y="8302"/>
                    <a:pt x="2221" y="8302"/>
                    <a:pt x="2221" y="8302"/>
                  </a:cubicBezTo>
                  <a:cubicBezTo>
                    <a:pt x="2224" y="8302"/>
                    <a:pt x="2224" y="8302"/>
                    <a:pt x="2224" y="8302"/>
                  </a:cubicBezTo>
                  <a:cubicBezTo>
                    <a:pt x="2233" y="8301"/>
                    <a:pt x="2233" y="8301"/>
                    <a:pt x="2233" y="8301"/>
                  </a:cubicBezTo>
                  <a:cubicBezTo>
                    <a:pt x="2239" y="8300"/>
                    <a:pt x="2245" y="8299"/>
                    <a:pt x="2251" y="8299"/>
                  </a:cubicBezTo>
                  <a:cubicBezTo>
                    <a:pt x="2264" y="8297"/>
                    <a:pt x="2277" y="8296"/>
                    <a:pt x="2290" y="8294"/>
                  </a:cubicBezTo>
                  <a:cubicBezTo>
                    <a:pt x="2344" y="8289"/>
                    <a:pt x="2405" y="8281"/>
                    <a:pt x="2471" y="8272"/>
                  </a:cubicBezTo>
                  <a:cubicBezTo>
                    <a:pt x="2734" y="8234"/>
                    <a:pt x="3083" y="8157"/>
                    <a:pt x="3414" y="8036"/>
                  </a:cubicBezTo>
                  <a:cubicBezTo>
                    <a:pt x="3579" y="7976"/>
                    <a:pt x="3740" y="7906"/>
                    <a:pt x="3886" y="7834"/>
                  </a:cubicBezTo>
                  <a:cubicBezTo>
                    <a:pt x="3956" y="7800"/>
                    <a:pt x="4046" y="7755"/>
                    <a:pt x="4092" y="7726"/>
                  </a:cubicBezTo>
                  <a:cubicBezTo>
                    <a:pt x="4123" y="7709"/>
                    <a:pt x="4154" y="7691"/>
                    <a:pt x="4183" y="7674"/>
                  </a:cubicBezTo>
                  <a:cubicBezTo>
                    <a:pt x="4212" y="7657"/>
                    <a:pt x="4239" y="7641"/>
                    <a:pt x="4265" y="7626"/>
                  </a:cubicBezTo>
                  <a:cubicBezTo>
                    <a:pt x="4472" y="7499"/>
                    <a:pt x="4603" y="7408"/>
                    <a:pt x="4603" y="7408"/>
                  </a:cubicBezTo>
                  <a:cubicBezTo>
                    <a:pt x="4846" y="7242"/>
                    <a:pt x="5098" y="7057"/>
                    <a:pt x="5355" y="6852"/>
                  </a:cubicBezTo>
                  <a:cubicBezTo>
                    <a:pt x="5548" y="6694"/>
                    <a:pt x="5548" y="6694"/>
                    <a:pt x="5548" y="6694"/>
                  </a:cubicBezTo>
                  <a:cubicBezTo>
                    <a:pt x="5647" y="6611"/>
                    <a:pt x="5647" y="6611"/>
                    <a:pt x="5647" y="6611"/>
                  </a:cubicBezTo>
                  <a:cubicBezTo>
                    <a:pt x="5741" y="6530"/>
                    <a:pt x="5741" y="6530"/>
                    <a:pt x="5741" y="6530"/>
                  </a:cubicBezTo>
                  <a:cubicBezTo>
                    <a:pt x="5870" y="6418"/>
                    <a:pt x="5998" y="6306"/>
                    <a:pt x="6127" y="6193"/>
                  </a:cubicBezTo>
                  <a:cubicBezTo>
                    <a:pt x="6388" y="5962"/>
                    <a:pt x="6656" y="5720"/>
                    <a:pt x="6927" y="5468"/>
                  </a:cubicBezTo>
                  <a:cubicBezTo>
                    <a:pt x="7062" y="5341"/>
                    <a:pt x="7198" y="5215"/>
                    <a:pt x="7335" y="5087"/>
                  </a:cubicBezTo>
                  <a:cubicBezTo>
                    <a:pt x="7472" y="4960"/>
                    <a:pt x="7610" y="4833"/>
                    <a:pt x="7749" y="4705"/>
                  </a:cubicBezTo>
                  <a:cubicBezTo>
                    <a:pt x="8029" y="4450"/>
                    <a:pt x="8308" y="4202"/>
                    <a:pt x="8582" y="3964"/>
                  </a:cubicBezTo>
                  <a:cubicBezTo>
                    <a:pt x="8651" y="3905"/>
                    <a:pt x="8719" y="3846"/>
                    <a:pt x="8787" y="3787"/>
                  </a:cubicBezTo>
                  <a:cubicBezTo>
                    <a:pt x="8884" y="3705"/>
                    <a:pt x="8884" y="3705"/>
                    <a:pt x="8884" y="3705"/>
                  </a:cubicBezTo>
                  <a:cubicBezTo>
                    <a:pt x="8988" y="3619"/>
                    <a:pt x="8988" y="3619"/>
                    <a:pt x="8988" y="3619"/>
                  </a:cubicBezTo>
                  <a:cubicBezTo>
                    <a:pt x="9123" y="3506"/>
                    <a:pt x="9258" y="3393"/>
                    <a:pt x="9393" y="3281"/>
                  </a:cubicBezTo>
                  <a:cubicBezTo>
                    <a:pt x="9647" y="3070"/>
                    <a:pt x="9900" y="2860"/>
                    <a:pt x="10152" y="2651"/>
                  </a:cubicBezTo>
                  <a:cubicBezTo>
                    <a:pt x="10273" y="2552"/>
                    <a:pt x="10392" y="2454"/>
                    <a:pt x="10502" y="2366"/>
                  </a:cubicBezTo>
                  <a:cubicBezTo>
                    <a:pt x="10612" y="2279"/>
                    <a:pt x="10720" y="2197"/>
                    <a:pt x="10826" y="2122"/>
                  </a:cubicBezTo>
                  <a:cubicBezTo>
                    <a:pt x="10826" y="2122"/>
                    <a:pt x="11278" y="1793"/>
                    <a:pt x="11749" y="1500"/>
                  </a:cubicBezTo>
                  <a:cubicBezTo>
                    <a:pt x="11984" y="1354"/>
                    <a:pt x="12223" y="1212"/>
                    <a:pt x="12395" y="1119"/>
                  </a:cubicBezTo>
                  <a:cubicBezTo>
                    <a:pt x="12569" y="1025"/>
                    <a:pt x="12688" y="968"/>
                    <a:pt x="12688" y="968"/>
                  </a:cubicBezTo>
                  <a:cubicBezTo>
                    <a:pt x="12688" y="968"/>
                    <a:pt x="12966" y="724"/>
                    <a:pt x="13267" y="508"/>
                  </a:cubicBezTo>
                  <a:cubicBezTo>
                    <a:pt x="13343" y="454"/>
                    <a:pt x="13419" y="400"/>
                    <a:pt x="13491" y="351"/>
                  </a:cubicBezTo>
                  <a:cubicBezTo>
                    <a:pt x="13527" y="328"/>
                    <a:pt x="13562" y="305"/>
                    <a:pt x="13595" y="283"/>
                  </a:cubicBezTo>
                  <a:cubicBezTo>
                    <a:pt x="13628" y="261"/>
                    <a:pt x="13654" y="243"/>
                    <a:pt x="13689" y="22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2243E974-371C-4926-8776-2281C893D8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1213" y="6010275"/>
              <a:ext cx="1588" cy="1588"/>
            </a:xfrm>
            <a:custGeom>
              <a:avLst/>
              <a:gdLst>
                <a:gd name="T0" fmla="*/ 1 w 4"/>
                <a:gd name="T1" fmla="*/ 1 h 4"/>
                <a:gd name="T2" fmla="*/ 0 w 4"/>
                <a:gd name="T3" fmla="*/ 0 h 4"/>
                <a:gd name="T4" fmla="*/ 1 w 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4"/>
                    <a:pt x="3" y="2"/>
                    <a:pt x="1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61">
              <a:extLst>
                <a:ext uri="{FF2B5EF4-FFF2-40B4-BE49-F238E27FC236}">
                  <a16:creationId xmlns:a16="http://schemas.microsoft.com/office/drawing/2014/main" id="{8657FC69-EFB5-4DD1-887D-631FD2A45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5951" y="5976938"/>
              <a:ext cx="227013" cy="166688"/>
            </a:xfrm>
            <a:custGeom>
              <a:avLst/>
              <a:gdLst>
                <a:gd name="T0" fmla="*/ 3942 w 4080"/>
                <a:gd name="T1" fmla="*/ 1287 h 3029"/>
                <a:gd name="T2" fmla="*/ 3560 w 4080"/>
                <a:gd name="T3" fmla="*/ 662 h 3029"/>
                <a:gd name="T4" fmla="*/ 3528 w 4080"/>
                <a:gd name="T5" fmla="*/ 626 h 3029"/>
                <a:gd name="T6" fmla="*/ 3523 w 4080"/>
                <a:gd name="T7" fmla="*/ 621 h 3029"/>
                <a:gd name="T8" fmla="*/ 3522 w 4080"/>
                <a:gd name="T9" fmla="*/ 619 h 3029"/>
                <a:gd name="T10" fmla="*/ 3444 w 4080"/>
                <a:gd name="T11" fmla="*/ 542 h 3029"/>
                <a:gd name="T12" fmla="*/ 3414 w 4080"/>
                <a:gd name="T13" fmla="*/ 515 h 3029"/>
                <a:gd name="T14" fmla="*/ 3338 w 4080"/>
                <a:gd name="T15" fmla="*/ 448 h 3029"/>
                <a:gd name="T16" fmla="*/ 2450 w 4080"/>
                <a:gd name="T17" fmla="*/ 39 h 3029"/>
                <a:gd name="T18" fmla="*/ 1924 w 4080"/>
                <a:gd name="T19" fmla="*/ 3 h 3029"/>
                <a:gd name="T20" fmla="*/ 1884 w 4080"/>
                <a:gd name="T21" fmla="*/ 4 h 3029"/>
                <a:gd name="T22" fmla="*/ 1876 w 4080"/>
                <a:gd name="T23" fmla="*/ 4 h 3029"/>
                <a:gd name="T24" fmla="*/ 1884 w 4080"/>
                <a:gd name="T25" fmla="*/ 4 h 3029"/>
                <a:gd name="T26" fmla="*/ 1814 w 4080"/>
                <a:gd name="T27" fmla="*/ 8 h 3029"/>
                <a:gd name="T28" fmla="*/ 1705 w 4080"/>
                <a:gd name="T29" fmla="*/ 17 h 3029"/>
                <a:gd name="T30" fmla="*/ 823 w 4080"/>
                <a:gd name="T31" fmla="*/ 234 h 3029"/>
                <a:gd name="T32" fmla="*/ 331 w 4080"/>
                <a:gd name="T33" fmla="*/ 482 h 3029"/>
                <a:gd name="T34" fmla="*/ 0 w 4080"/>
                <a:gd name="T35" fmla="*/ 696 h 3029"/>
                <a:gd name="T36" fmla="*/ 155 w 4080"/>
                <a:gd name="T37" fmla="*/ 619 h 3029"/>
                <a:gd name="T38" fmla="*/ 343 w 4080"/>
                <a:gd name="T39" fmla="*/ 531 h 3029"/>
                <a:gd name="T40" fmla="*/ 572 w 4080"/>
                <a:gd name="T41" fmla="*/ 435 h 3029"/>
                <a:gd name="T42" fmla="*/ 1951 w 4080"/>
                <a:gd name="T43" fmla="*/ 189 h 3029"/>
                <a:gd name="T44" fmla="*/ 3130 w 4080"/>
                <a:gd name="T45" fmla="*/ 563 h 3029"/>
                <a:gd name="T46" fmla="*/ 3262 w 4080"/>
                <a:gd name="T47" fmla="*/ 670 h 3029"/>
                <a:gd name="T48" fmla="*/ 3283 w 4080"/>
                <a:gd name="T49" fmla="*/ 688 h 3029"/>
                <a:gd name="T50" fmla="*/ 3370 w 4080"/>
                <a:gd name="T51" fmla="*/ 773 h 3029"/>
                <a:gd name="T52" fmla="*/ 3376 w 4080"/>
                <a:gd name="T53" fmla="*/ 780 h 3029"/>
                <a:gd name="T54" fmla="*/ 3408 w 4080"/>
                <a:gd name="T55" fmla="*/ 814 h 3029"/>
                <a:gd name="T56" fmla="*/ 3563 w 4080"/>
                <a:gd name="T57" fmla="*/ 1003 h 3029"/>
                <a:gd name="T58" fmla="*/ 3917 w 4080"/>
                <a:gd name="T59" fmla="*/ 1925 h 3029"/>
                <a:gd name="T60" fmla="*/ 3937 w 4080"/>
                <a:gd name="T61" fmla="*/ 2118 h 3029"/>
                <a:gd name="T62" fmla="*/ 3941 w 4080"/>
                <a:gd name="T63" fmla="*/ 2179 h 3029"/>
                <a:gd name="T64" fmla="*/ 3944 w 4080"/>
                <a:gd name="T65" fmla="*/ 2319 h 3029"/>
                <a:gd name="T66" fmla="*/ 3945 w 4080"/>
                <a:gd name="T67" fmla="*/ 3029 h 3029"/>
                <a:gd name="T68" fmla="*/ 4077 w 4080"/>
                <a:gd name="T69" fmla="*/ 2116 h 3029"/>
                <a:gd name="T70" fmla="*/ 4067 w 4080"/>
                <a:gd name="T71" fmla="*/ 1840 h 3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80" h="3029">
                  <a:moveTo>
                    <a:pt x="4067" y="1840"/>
                  </a:moveTo>
                  <a:cubicBezTo>
                    <a:pt x="4050" y="1651"/>
                    <a:pt x="4007" y="1466"/>
                    <a:pt x="3942" y="1287"/>
                  </a:cubicBezTo>
                  <a:cubicBezTo>
                    <a:pt x="3875" y="1108"/>
                    <a:pt x="3780" y="938"/>
                    <a:pt x="3658" y="778"/>
                  </a:cubicBezTo>
                  <a:cubicBezTo>
                    <a:pt x="3626" y="739"/>
                    <a:pt x="3595" y="699"/>
                    <a:pt x="3560" y="662"/>
                  </a:cubicBezTo>
                  <a:cubicBezTo>
                    <a:pt x="3534" y="633"/>
                    <a:pt x="3534" y="633"/>
                    <a:pt x="3534" y="633"/>
                  </a:cubicBezTo>
                  <a:cubicBezTo>
                    <a:pt x="3528" y="626"/>
                    <a:pt x="3528" y="626"/>
                    <a:pt x="3528" y="626"/>
                  </a:cubicBezTo>
                  <a:cubicBezTo>
                    <a:pt x="3524" y="622"/>
                    <a:pt x="3524" y="622"/>
                    <a:pt x="3524" y="622"/>
                  </a:cubicBezTo>
                  <a:cubicBezTo>
                    <a:pt x="3523" y="621"/>
                    <a:pt x="3523" y="621"/>
                    <a:pt x="3523" y="621"/>
                  </a:cubicBezTo>
                  <a:cubicBezTo>
                    <a:pt x="3522" y="620"/>
                    <a:pt x="3522" y="620"/>
                    <a:pt x="3522" y="620"/>
                  </a:cubicBezTo>
                  <a:cubicBezTo>
                    <a:pt x="3522" y="619"/>
                    <a:pt x="3522" y="619"/>
                    <a:pt x="3522" y="619"/>
                  </a:cubicBezTo>
                  <a:cubicBezTo>
                    <a:pt x="3516" y="613"/>
                    <a:pt x="3516" y="613"/>
                    <a:pt x="3516" y="613"/>
                  </a:cubicBezTo>
                  <a:cubicBezTo>
                    <a:pt x="3444" y="542"/>
                    <a:pt x="3444" y="542"/>
                    <a:pt x="3444" y="542"/>
                  </a:cubicBezTo>
                  <a:cubicBezTo>
                    <a:pt x="3427" y="525"/>
                    <a:pt x="3427" y="525"/>
                    <a:pt x="3427" y="525"/>
                  </a:cubicBezTo>
                  <a:cubicBezTo>
                    <a:pt x="3414" y="515"/>
                    <a:pt x="3414" y="515"/>
                    <a:pt x="3414" y="515"/>
                  </a:cubicBezTo>
                  <a:cubicBezTo>
                    <a:pt x="3390" y="493"/>
                    <a:pt x="3390" y="493"/>
                    <a:pt x="3390" y="493"/>
                  </a:cubicBezTo>
                  <a:cubicBezTo>
                    <a:pt x="3373" y="479"/>
                    <a:pt x="3359" y="465"/>
                    <a:pt x="3338" y="448"/>
                  </a:cubicBezTo>
                  <a:cubicBezTo>
                    <a:pt x="3298" y="416"/>
                    <a:pt x="3258" y="384"/>
                    <a:pt x="3216" y="356"/>
                  </a:cubicBezTo>
                  <a:cubicBezTo>
                    <a:pt x="2985" y="193"/>
                    <a:pt x="2725" y="90"/>
                    <a:pt x="2450" y="39"/>
                  </a:cubicBezTo>
                  <a:cubicBezTo>
                    <a:pt x="2313" y="15"/>
                    <a:pt x="2173" y="1"/>
                    <a:pt x="2030" y="1"/>
                  </a:cubicBezTo>
                  <a:cubicBezTo>
                    <a:pt x="1995" y="0"/>
                    <a:pt x="1959" y="2"/>
                    <a:pt x="1924" y="3"/>
                  </a:cubicBezTo>
                  <a:cubicBezTo>
                    <a:pt x="1897" y="3"/>
                    <a:pt x="1897" y="3"/>
                    <a:pt x="1897" y="3"/>
                  </a:cubicBezTo>
                  <a:cubicBezTo>
                    <a:pt x="1884" y="4"/>
                    <a:pt x="1884" y="4"/>
                    <a:pt x="1884" y="4"/>
                  </a:cubicBezTo>
                  <a:cubicBezTo>
                    <a:pt x="1877" y="4"/>
                    <a:pt x="1877" y="4"/>
                    <a:pt x="1877" y="4"/>
                  </a:cubicBezTo>
                  <a:cubicBezTo>
                    <a:pt x="1876" y="4"/>
                    <a:pt x="1876" y="4"/>
                    <a:pt x="1876" y="4"/>
                  </a:cubicBezTo>
                  <a:cubicBezTo>
                    <a:pt x="1881" y="4"/>
                    <a:pt x="1866" y="4"/>
                    <a:pt x="1886" y="4"/>
                  </a:cubicBezTo>
                  <a:cubicBezTo>
                    <a:pt x="1884" y="4"/>
                    <a:pt x="1884" y="4"/>
                    <a:pt x="1884" y="4"/>
                  </a:cubicBezTo>
                  <a:cubicBezTo>
                    <a:pt x="1879" y="4"/>
                    <a:pt x="1879" y="4"/>
                    <a:pt x="1879" y="4"/>
                  </a:cubicBezTo>
                  <a:cubicBezTo>
                    <a:pt x="1814" y="8"/>
                    <a:pt x="1814" y="8"/>
                    <a:pt x="1814" y="8"/>
                  </a:cubicBezTo>
                  <a:cubicBezTo>
                    <a:pt x="1794" y="9"/>
                    <a:pt x="1768" y="10"/>
                    <a:pt x="1753" y="12"/>
                  </a:cubicBezTo>
                  <a:cubicBezTo>
                    <a:pt x="1705" y="17"/>
                    <a:pt x="1705" y="17"/>
                    <a:pt x="1705" y="17"/>
                  </a:cubicBezTo>
                  <a:cubicBezTo>
                    <a:pt x="1674" y="19"/>
                    <a:pt x="1637" y="24"/>
                    <a:pt x="1602" y="29"/>
                  </a:cubicBezTo>
                  <a:cubicBezTo>
                    <a:pt x="1322" y="66"/>
                    <a:pt x="1060" y="138"/>
                    <a:pt x="823" y="234"/>
                  </a:cubicBezTo>
                  <a:cubicBezTo>
                    <a:pt x="704" y="282"/>
                    <a:pt x="591" y="336"/>
                    <a:pt x="485" y="393"/>
                  </a:cubicBezTo>
                  <a:cubicBezTo>
                    <a:pt x="432" y="422"/>
                    <a:pt x="381" y="451"/>
                    <a:pt x="331" y="482"/>
                  </a:cubicBezTo>
                  <a:cubicBezTo>
                    <a:pt x="289" y="509"/>
                    <a:pt x="210" y="554"/>
                    <a:pt x="170" y="582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0" y="696"/>
                    <a:pt x="24" y="684"/>
                    <a:pt x="71" y="661"/>
                  </a:cubicBezTo>
                  <a:cubicBezTo>
                    <a:pt x="93" y="649"/>
                    <a:pt x="122" y="635"/>
                    <a:pt x="155" y="619"/>
                  </a:cubicBezTo>
                  <a:cubicBezTo>
                    <a:pt x="189" y="603"/>
                    <a:pt x="228" y="584"/>
                    <a:pt x="272" y="563"/>
                  </a:cubicBezTo>
                  <a:cubicBezTo>
                    <a:pt x="294" y="553"/>
                    <a:pt x="318" y="542"/>
                    <a:pt x="343" y="531"/>
                  </a:cubicBezTo>
                  <a:cubicBezTo>
                    <a:pt x="365" y="521"/>
                    <a:pt x="389" y="510"/>
                    <a:pt x="413" y="499"/>
                  </a:cubicBezTo>
                  <a:cubicBezTo>
                    <a:pt x="462" y="479"/>
                    <a:pt x="515" y="456"/>
                    <a:pt x="572" y="435"/>
                  </a:cubicBezTo>
                  <a:cubicBezTo>
                    <a:pt x="686" y="391"/>
                    <a:pt x="816" y="347"/>
                    <a:pt x="960" y="309"/>
                  </a:cubicBezTo>
                  <a:cubicBezTo>
                    <a:pt x="1245" y="232"/>
                    <a:pt x="1588" y="179"/>
                    <a:pt x="1951" y="189"/>
                  </a:cubicBezTo>
                  <a:cubicBezTo>
                    <a:pt x="2304" y="197"/>
                    <a:pt x="2640" y="274"/>
                    <a:pt x="2924" y="431"/>
                  </a:cubicBezTo>
                  <a:cubicBezTo>
                    <a:pt x="2996" y="469"/>
                    <a:pt x="3063" y="515"/>
                    <a:pt x="3130" y="563"/>
                  </a:cubicBezTo>
                  <a:cubicBezTo>
                    <a:pt x="3162" y="587"/>
                    <a:pt x="3197" y="615"/>
                    <a:pt x="3225" y="638"/>
                  </a:cubicBezTo>
                  <a:cubicBezTo>
                    <a:pt x="3262" y="670"/>
                    <a:pt x="3262" y="670"/>
                    <a:pt x="3262" y="670"/>
                  </a:cubicBezTo>
                  <a:cubicBezTo>
                    <a:pt x="3271" y="678"/>
                    <a:pt x="3271" y="678"/>
                    <a:pt x="3271" y="678"/>
                  </a:cubicBezTo>
                  <a:cubicBezTo>
                    <a:pt x="3274" y="680"/>
                    <a:pt x="3277" y="682"/>
                    <a:pt x="3283" y="688"/>
                  </a:cubicBezTo>
                  <a:cubicBezTo>
                    <a:pt x="3316" y="720"/>
                    <a:pt x="3316" y="720"/>
                    <a:pt x="3316" y="720"/>
                  </a:cubicBezTo>
                  <a:cubicBezTo>
                    <a:pt x="3370" y="773"/>
                    <a:pt x="3370" y="773"/>
                    <a:pt x="3370" y="773"/>
                  </a:cubicBezTo>
                  <a:cubicBezTo>
                    <a:pt x="3371" y="774"/>
                    <a:pt x="3371" y="774"/>
                    <a:pt x="3371" y="774"/>
                  </a:cubicBezTo>
                  <a:cubicBezTo>
                    <a:pt x="3376" y="780"/>
                    <a:pt x="3376" y="780"/>
                    <a:pt x="3376" y="780"/>
                  </a:cubicBezTo>
                  <a:cubicBezTo>
                    <a:pt x="3387" y="791"/>
                    <a:pt x="3387" y="791"/>
                    <a:pt x="3387" y="791"/>
                  </a:cubicBezTo>
                  <a:cubicBezTo>
                    <a:pt x="3408" y="814"/>
                    <a:pt x="3408" y="814"/>
                    <a:pt x="3408" y="814"/>
                  </a:cubicBezTo>
                  <a:cubicBezTo>
                    <a:pt x="3438" y="844"/>
                    <a:pt x="3462" y="877"/>
                    <a:pt x="3489" y="908"/>
                  </a:cubicBezTo>
                  <a:cubicBezTo>
                    <a:pt x="3516" y="939"/>
                    <a:pt x="3538" y="972"/>
                    <a:pt x="3563" y="1003"/>
                  </a:cubicBezTo>
                  <a:cubicBezTo>
                    <a:pt x="3584" y="1036"/>
                    <a:pt x="3608" y="1068"/>
                    <a:pt x="3628" y="1101"/>
                  </a:cubicBezTo>
                  <a:cubicBezTo>
                    <a:pt x="3792" y="1364"/>
                    <a:pt x="3880" y="1652"/>
                    <a:pt x="3917" y="1925"/>
                  </a:cubicBezTo>
                  <a:cubicBezTo>
                    <a:pt x="3923" y="1958"/>
                    <a:pt x="3925" y="1993"/>
                    <a:pt x="3929" y="2026"/>
                  </a:cubicBezTo>
                  <a:cubicBezTo>
                    <a:pt x="3932" y="2059"/>
                    <a:pt x="3936" y="2092"/>
                    <a:pt x="3937" y="2118"/>
                  </a:cubicBezTo>
                  <a:cubicBezTo>
                    <a:pt x="3938" y="2132"/>
                    <a:pt x="3938" y="2145"/>
                    <a:pt x="3939" y="2159"/>
                  </a:cubicBezTo>
                  <a:cubicBezTo>
                    <a:pt x="3941" y="2179"/>
                    <a:pt x="3941" y="2179"/>
                    <a:pt x="3941" y="2179"/>
                  </a:cubicBezTo>
                  <a:cubicBezTo>
                    <a:pt x="3941" y="2185"/>
                    <a:pt x="3942" y="2192"/>
                    <a:pt x="3942" y="2203"/>
                  </a:cubicBezTo>
                  <a:cubicBezTo>
                    <a:pt x="3943" y="2243"/>
                    <a:pt x="3944" y="2282"/>
                    <a:pt x="3944" y="2319"/>
                  </a:cubicBezTo>
                  <a:cubicBezTo>
                    <a:pt x="3945" y="2462"/>
                    <a:pt x="3945" y="2587"/>
                    <a:pt x="3945" y="2690"/>
                  </a:cubicBezTo>
                  <a:cubicBezTo>
                    <a:pt x="3945" y="2906"/>
                    <a:pt x="3945" y="3029"/>
                    <a:pt x="3945" y="3029"/>
                  </a:cubicBezTo>
                  <a:cubicBezTo>
                    <a:pt x="3982" y="2788"/>
                    <a:pt x="4021" y="2583"/>
                    <a:pt x="4062" y="2416"/>
                  </a:cubicBezTo>
                  <a:cubicBezTo>
                    <a:pt x="4071" y="2343"/>
                    <a:pt x="4076" y="2176"/>
                    <a:pt x="4077" y="2116"/>
                  </a:cubicBezTo>
                  <a:cubicBezTo>
                    <a:pt x="4080" y="2077"/>
                    <a:pt x="4077" y="2028"/>
                    <a:pt x="4076" y="1981"/>
                  </a:cubicBezTo>
                  <a:cubicBezTo>
                    <a:pt x="4076" y="1933"/>
                    <a:pt x="4070" y="1888"/>
                    <a:pt x="4067" y="18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62">
              <a:extLst>
                <a:ext uri="{FF2B5EF4-FFF2-40B4-BE49-F238E27FC236}">
                  <a16:creationId xmlns:a16="http://schemas.microsoft.com/office/drawing/2014/main" id="{D9644582-AF47-4928-AA3F-D79D8B4C6D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4076" y="6049963"/>
              <a:ext cx="4763" cy="4763"/>
            </a:xfrm>
            <a:custGeom>
              <a:avLst/>
              <a:gdLst>
                <a:gd name="T0" fmla="*/ 0 w 83"/>
                <a:gd name="T1" fmla="*/ 0 h 78"/>
                <a:gd name="T2" fmla="*/ 83 w 83"/>
                <a:gd name="T3" fmla="*/ 78 h 78"/>
                <a:gd name="T4" fmla="*/ 51 w 83"/>
                <a:gd name="T5" fmla="*/ 48 h 78"/>
                <a:gd name="T6" fmla="*/ 0 w 83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78">
                  <a:moveTo>
                    <a:pt x="0" y="0"/>
                  </a:moveTo>
                  <a:cubicBezTo>
                    <a:pt x="22" y="21"/>
                    <a:pt x="50" y="47"/>
                    <a:pt x="83" y="78"/>
                  </a:cubicBezTo>
                  <a:cubicBezTo>
                    <a:pt x="72" y="68"/>
                    <a:pt x="62" y="58"/>
                    <a:pt x="51" y="48"/>
                  </a:cubicBezTo>
                  <a:cubicBezTo>
                    <a:pt x="34" y="31"/>
                    <a:pt x="17" y="1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63">
              <a:extLst>
                <a:ext uri="{FF2B5EF4-FFF2-40B4-BE49-F238E27FC236}">
                  <a16:creationId xmlns:a16="http://schemas.microsoft.com/office/drawing/2014/main" id="{0900CB55-BB56-4A74-9B94-A7BCB8E5AC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4401" y="6107113"/>
              <a:ext cx="9525" cy="9525"/>
            </a:xfrm>
            <a:custGeom>
              <a:avLst/>
              <a:gdLst>
                <a:gd name="T0" fmla="*/ 37 w 185"/>
                <a:gd name="T1" fmla="*/ 34 h 169"/>
                <a:gd name="T2" fmla="*/ 185 w 185"/>
                <a:gd name="T3" fmla="*/ 169 h 169"/>
                <a:gd name="T4" fmla="*/ 0 w 185"/>
                <a:gd name="T5" fmla="*/ 0 h 169"/>
                <a:gd name="T6" fmla="*/ 37 w 185"/>
                <a:gd name="T7" fmla="*/ 3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5" h="169">
                  <a:moveTo>
                    <a:pt x="37" y="34"/>
                  </a:moveTo>
                  <a:cubicBezTo>
                    <a:pt x="86" y="79"/>
                    <a:pt x="136" y="124"/>
                    <a:pt x="185" y="169"/>
                  </a:cubicBezTo>
                  <a:cubicBezTo>
                    <a:pt x="106" y="97"/>
                    <a:pt x="38" y="35"/>
                    <a:pt x="0" y="0"/>
                  </a:cubicBezTo>
                  <a:cubicBezTo>
                    <a:pt x="12" y="11"/>
                    <a:pt x="24" y="23"/>
                    <a:pt x="37" y="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64">
              <a:extLst>
                <a:ext uri="{FF2B5EF4-FFF2-40B4-BE49-F238E27FC236}">
                  <a16:creationId xmlns:a16="http://schemas.microsoft.com/office/drawing/2014/main" id="{3D6863B8-988A-431F-8589-1614AE59DB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6938" y="6091238"/>
              <a:ext cx="17463" cy="15875"/>
            </a:xfrm>
            <a:custGeom>
              <a:avLst/>
              <a:gdLst>
                <a:gd name="T0" fmla="*/ 287 w 321"/>
                <a:gd name="T1" fmla="*/ 268 h 299"/>
                <a:gd name="T2" fmla="*/ 321 w 321"/>
                <a:gd name="T3" fmla="*/ 299 h 299"/>
                <a:gd name="T4" fmla="*/ 0 w 321"/>
                <a:gd name="T5" fmla="*/ 0 h 299"/>
                <a:gd name="T6" fmla="*/ 287 w 321"/>
                <a:gd name="T7" fmla="*/ 268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1" h="299">
                  <a:moveTo>
                    <a:pt x="287" y="268"/>
                  </a:moveTo>
                  <a:cubicBezTo>
                    <a:pt x="287" y="268"/>
                    <a:pt x="299" y="280"/>
                    <a:pt x="321" y="299"/>
                  </a:cubicBezTo>
                  <a:cubicBezTo>
                    <a:pt x="213" y="200"/>
                    <a:pt x="106" y="100"/>
                    <a:pt x="0" y="0"/>
                  </a:cubicBezTo>
                  <a:cubicBezTo>
                    <a:pt x="163" y="154"/>
                    <a:pt x="287" y="268"/>
                    <a:pt x="287" y="26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65">
              <a:extLst>
                <a:ext uri="{FF2B5EF4-FFF2-40B4-BE49-F238E27FC236}">
                  <a16:creationId xmlns:a16="http://schemas.microsoft.com/office/drawing/2014/main" id="{2A7F5A67-5E98-49BE-96E4-1BD411C75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3926" y="6116638"/>
              <a:ext cx="11113" cy="11113"/>
            </a:xfrm>
            <a:custGeom>
              <a:avLst/>
              <a:gdLst>
                <a:gd name="T0" fmla="*/ 149 w 204"/>
                <a:gd name="T1" fmla="*/ 135 h 185"/>
                <a:gd name="T2" fmla="*/ 204 w 204"/>
                <a:gd name="T3" fmla="*/ 185 h 185"/>
                <a:gd name="T4" fmla="*/ 0 w 204"/>
                <a:gd name="T5" fmla="*/ 0 h 185"/>
                <a:gd name="T6" fmla="*/ 149 w 204"/>
                <a:gd name="T7" fmla="*/ 13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185">
                  <a:moveTo>
                    <a:pt x="149" y="135"/>
                  </a:moveTo>
                  <a:cubicBezTo>
                    <a:pt x="167" y="152"/>
                    <a:pt x="186" y="168"/>
                    <a:pt x="204" y="185"/>
                  </a:cubicBezTo>
                  <a:cubicBezTo>
                    <a:pt x="136" y="123"/>
                    <a:pt x="68" y="62"/>
                    <a:pt x="0" y="0"/>
                  </a:cubicBezTo>
                  <a:cubicBezTo>
                    <a:pt x="47" y="43"/>
                    <a:pt x="98" y="89"/>
                    <a:pt x="149" y="13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66">
              <a:extLst>
                <a:ext uri="{FF2B5EF4-FFF2-40B4-BE49-F238E27FC236}">
                  <a16:creationId xmlns:a16="http://schemas.microsoft.com/office/drawing/2014/main" id="{08257060-9A54-40BC-B556-55B2976AD7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5351" y="6091238"/>
              <a:ext cx="1588" cy="0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0 h 10"/>
                <a:gd name="T4" fmla="*/ 11 w 11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cubicBezTo>
                    <a:pt x="7" y="7"/>
                    <a:pt x="3" y="3"/>
                    <a:pt x="0" y="0"/>
                  </a:cubicBezTo>
                  <a:cubicBezTo>
                    <a:pt x="3" y="3"/>
                    <a:pt x="7" y="7"/>
                    <a:pt x="11" y="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9BDA83E4-1ED5-4579-9FEB-E499874530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5038" y="6127750"/>
              <a:ext cx="11113" cy="9525"/>
            </a:xfrm>
            <a:custGeom>
              <a:avLst/>
              <a:gdLst>
                <a:gd name="T0" fmla="*/ 15 w 196"/>
                <a:gd name="T1" fmla="*/ 13 h 174"/>
                <a:gd name="T2" fmla="*/ 196 w 196"/>
                <a:gd name="T3" fmla="*/ 174 h 174"/>
                <a:gd name="T4" fmla="*/ 0 w 196"/>
                <a:gd name="T5" fmla="*/ 0 h 174"/>
                <a:gd name="T6" fmla="*/ 15 w 196"/>
                <a:gd name="T7" fmla="*/ 1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6" h="174">
                  <a:moveTo>
                    <a:pt x="15" y="13"/>
                  </a:moveTo>
                  <a:cubicBezTo>
                    <a:pt x="75" y="67"/>
                    <a:pt x="135" y="121"/>
                    <a:pt x="196" y="174"/>
                  </a:cubicBezTo>
                  <a:cubicBezTo>
                    <a:pt x="139" y="124"/>
                    <a:pt x="71" y="63"/>
                    <a:pt x="0" y="0"/>
                  </a:cubicBezTo>
                  <a:cubicBezTo>
                    <a:pt x="5" y="4"/>
                    <a:pt x="10" y="9"/>
                    <a:pt x="15" y="1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F3FAFE97-EF1C-4521-B29E-3CEA017AE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3613" y="6153150"/>
              <a:ext cx="6350" cy="4763"/>
            </a:xfrm>
            <a:custGeom>
              <a:avLst/>
              <a:gdLst>
                <a:gd name="T0" fmla="*/ 107 w 107"/>
                <a:gd name="T1" fmla="*/ 97 h 97"/>
                <a:gd name="T2" fmla="*/ 0 w 107"/>
                <a:gd name="T3" fmla="*/ 0 h 97"/>
                <a:gd name="T4" fmla="*/ 107 w 107"/>
                <a:gd name="T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97">
                  <a:moveTo>
                    <a:pt x="107" y="97"/>
                  </a:moveTo>
                  <a:cubicBezTo>
                    <a:pt x="72" y="65"/>
                    <a:pt x="36" y="32"/>
                    <a:pt x="0" y="0"/>
                  </a:cubicBezTo>
                  <a:cubicBezTo>
                    <a:pt x="32" y="29"/>
                    <a:pt x="68" y="61"/>
                    <a:pt x="107" y="9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674C82A7-FD53-47C7-B4B4-F3181F98E7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3613" y="61531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F8186D00-4043-48A1-A55A-2ADD7E9E1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4688" y="5919788"/>
              <a:ext cx="14288" cy="7938"/>
            </a:xfrm>
            <a:custGeom>
              <a:avLst/>
              <a:gdLst>
                <a:gd name="T0" fmla="*/ 0 w 267"/>
                <a:gd name="T1" fmla="*/ 0 h 135"/>
                <a:gd name="T2" fmla="*/ 267 w 267"/>
                <a:gd name="T3" fmla="*/ 135 h 135"/>
                <a:gd name="T4" fmla="*/ 7 w 267"/>
                <a:gd name="T5" fmla="*/ 3 h 135"/>
                <a:gd name="T6" fmla="*/ 0 w 267"/>
                <a:gd name="T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7" h="135">
                  <a:moveTo>
                    <a:pt x="0" y="0"/>
                  </a:moveTo>
                  <a:cubicBezTo>
                    <a:pt x="67" y="33"/>
                    <a:pt x="160" y="80"/>
                    <a:pt x="267" y="135"/>
                  </a:cubicBezTo>
                  <a:cubicBezTo>
                    <a:pt x="159" y="79"/>
                    <a:pt x="71" y="35"/>
                    <a:pt x="7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id="{B5FCDC28-22F8-4AAA-87E0-2EAA7835D7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58976" y="5927725"/>
              <a:ext cx="23813" cy="12700"/>
            </a:xfrm>
            <a:custGeom>
              <a:avLst/>
              <a:gdLst>
                <a:gd name="T0" fmla="*/ 78 w 445"/>
                <a:gd name="T1" fmla="*/ 42 h 249"/>
                <a:gd name="T2" fmla="*/ 445 w 445"/>
                <a:gd name="T3" fmla="*/ 249 h 249"/>
                <a:gd name="T4" fmla="*/ 0 w 445"/>
                <a:gd name="T5" fmla="*/ 0 h 249"/>
                <a:gd name="T6" fmla="*/ 78 w 445"/>
                <a:gd name="T7" fmla="*/ 4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249">
                  <a:moveTo>
                    <a:pt x="78" y="42"/>
                  </a:moveTo>
                  <a:cubicBezTo>
                    <a:pt x="185" y="100"/>
                    <a:pt x="309" y="169"/>
                    <a:pt x="445" y="249"/>
                  </a:cubicBezTo>
                  <a:cubicBezTo>
                    <a:pt x="292" y="157"/>
                    <a:pt x="135" y="71"/>
                    <a:pt x="0" y="0"/>
                  </a:cubicBezTo>
                  <a:cubicBezTo>
                    <a:pt x="25" y="14"/>
                    <a:pt x="50" y="27"/>
                    <a:pt x="78" y="4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72">
              <a:extLst>
                <a:ext uri="{FF2B5EF4-FFF2-40B4-BE49-F238E27FC236}">
                  <a16:creationId xmlns:a16="http://schemas.microsoft.com/office/drawing/2014/main" id="{89B75D52-E64C-4674-ABF3-8C23F3A598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2788" y="5940425"/>
              <a:ext cx="1588" cy="1588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cubicBezTo>
                    <a:pt x="2" y="2"/>
                    <a:pt x="1" y="1"/>
                    <a:pt x="0" y="0"/>
                  </a:cubicBezTo>
                  <a:cubicBezTo>
                    <a:pt x="1" y="1"/>
                    <a:pt x="2" y="2"/>
                    <a:pt x="4" y="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73">
              <a:extLst>
                <a:ext uri="{FF2B5EF4-FFF2-40B4-BE49-F238E27FC236}">
                  <a16:creationId xmlns:a16="http://schemas.microsoft.com/office/drawing/2014/main" id="{A9A6A47B-2D8B-4885-9106-1AB2A005CC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38338" y="5916613"/>
              <a:ext cx="6350" cy="3175"/>
            </a:xfrm>
            <a:custGeom>
              <a:avLst/>
              <a:gdLst>
                <a:gd name="T0" fmla="*/ 113 w 113"/>
                <a:gd name="T1" fmla="*/ 54 h 54"/>
                <a:gd name="T2" fmla="*/ 0 w 113"/>
                <a:gd name="T3" fmla="*/ 0 h 54"/>
                <a:gd name="T4" fmla="*/ 113 w 113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3" h="54">
                  <a:moveTo>
                    <a:pt x="113" y="54"/>
                  </a:moveTo>
                  <a:cubicBezTo>
                    <a:pt x="44" y="20"/>
                    <a:pt x="3" y="1"/>
                    <a:pt x="0" y="0"/>
                  </a:cubicBezTo>
                  <a:cubicBezTo>
                    <a:pt x="5" y="2"/>
                    <a:pt x="43" y="21"/>
                    <a:pt x="113" y="5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74">
              <a:extLst>
                <a:ext uri="{FF2B5EF4-FFF2-40B4-BE49-F238E27FC236}">
                  <a16:creationId xmlns:a16="http://schemas.microsoft.com/office/drawing/2014/main" id="{9E73DA36-E62A-4021-B951-F9708A1EBE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7713" y="5962650"/>
              <a:ext cx="0" cy="0"/>
            </a:xfrm>
            <a:custGeom>
              <a:avLst/>
              <a:gdLst>
                <a:gd name="T0" fmla="*/ 7 w 7"/>
                <a:gd name="T1" fmla="*/ 6 h 6"/>
                <a:gd name="T2" fmla="*/ 0 w 7"/>
                <a:gd name="T3" fmla="*/ 0 h 6"/>
                <a:gd name="T4" fmla="*/ 7 w 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7" y="6"/>
                  </a:moveTo>
                  <a:cubicBezTo>
                    <a:pt x="5" y="4"/>
                    <a:pt x="2" y="2"/>
                    <a:pt x="0" y="0"/>
                  </a:cubicBezTo>
                  <a:cubicBezTo>
                    <a:pt x="2" y="2"/>
                    <a:pt x="4" y="4"/>
                    <a:pt x="7" y="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75">
              <a:extLst>
                <a:ext uri="{FF2B5EF4-FFF2-40B4-BE49-F238E27FC236}">
                  <a16:creationId xmlns:a16="http://schemas.microsoft.com/office/drawing/2014/main" id="{F3822012-C9A3-4EA3-8BB2-759F5DAEC3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7888" y="6073775"/>
              <a:ext cx="17463" cy="17463"/>
            </a:xfrm>
            <a:custGeom>
              <a:avLst/>
              <a:gdLst>
                <a:gd name="T0" fmla="*/ 58 w 312"/>
                <a:gd name="T1" fmla="*/ 55 h 297"/>
                <a:gd name="T2" fmla="*/ 312 w 312"/>
                <a:gd name="T3" fmla="*/ 297 h 297"/>
                <a:gd name="T4" fmla="*/ 0 w 312"/>
                <a:gd name="T5" fmla="*/ 0 h 297"/>
                <a:gd name="T6" fmla="*/ 58 w 312"/>
                <a:gd name="T7" fmla="*/ 55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2" h="297">
                  <a:moveTo>
                    <a:pt x="58" y="55"/>
                  </a:moveTo>
                  <a:cubicBezTo>
                    <a:pt x="145" y="139"/>
                    <a:pt x="233" y="222"/>
                    <a:pt x="312" y="297"/>
                  </a:cubicBezTo>
                  <a:cubicBezTo>
                    <a:pt x="207" y="198"/>
                    <a:pt x="103" y="99"/>
                    <a:pt x="0" y="0"/>
                  </a:cubicBezTo>
                  <a:cubicBezTo>
                    <a:pt x="19" y="18"/>
                    <a:pt x="38" y="37"/>
                    <a:pt x="58" y="5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76">
              <a:extLst>
                <a:ext uri="{FF2B5EF4-FFF2-40B4-BE49-F238E27FC236}">
                  <a16:creationId xmlns:a16="http://schemas.microsoft.com/office/drawing/2014/main" id="{560724C9-9552-48E2-8A46-F55C2079F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8188" y="5956300"/>
              <a:ext cx="0" cy="0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77">
              <a:extLst>
                <a:ext uri="{FF2B5EF4-FFF2-40B4-BE49-F238E27FC236}">
                  <a16:creationId xmlns:a16="http://schemas.microsoft.com/office/drawing/2014/main" id="{E1C6E061-AAEE-406B-A649-9AEF1639C4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8188" y="5956300"/>
              <a:ext cx="9525" cy="6350"/>
            </a:xfrm>
            <a:custGeom>
              <a:avLst/>
              <a:gdLst>
                <a:gd name="T0" fmla="*/ 157 w 157"/>
                <a:gd name="T1" fmla="*/ 105 h 105"/>
                <a:gd name="T2" fmla="*/ 0 w 157"/>
                <a:gd name="T3" fmla="*/ 0 h 105"/>
                <a:gd name="T4" fmla="*/ 157 w 157"/>
                <a:gd name="T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7" h="105">
                  <a:moveTo>
                    <a:pt x="157" y="105"/>
                  </a:moveTo>
                  <a:cubicBezTo>
                    <a:pt x="111" y="74"/>
                    <a:pt x="58" y="38"/>
                    <a:pt x="0" y="0"/>
                  </a:cubicBezTo>
                  <a:cubicBezTo>
                    <a:pt x="51" y="34"/>
                    <a:pt x="103" y="69"/>
                    <a:pt x="157" y="10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78">
              <a:extLst>
                <a:ext uri="{FF2B5EF4-FFF2-40B4-BE49-F238E27FC236}">
                  <a16:creationId xmlns:a16="http://schemas.microsoft.com/office/drawing/2014/main" id="{239CF9EE-6D93-4DD3-B969-2C50519B30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281613"/>
              <a:ext cx="2520950" cy="1239838"/>
            </a:xfrm>
            <a:custGeom>
              <a:avLst/>
              <a:gdLst>
                <a:gd name="T0" fmla="*/ 39183 w 45551"/>
                <a:gd name="T1" fmla="*/ 21316 h 22405"/>
                <a:gd name="T2" fmla="*/ 44873 w 45551"/>
                <a:gd name="T3" fmla="*/ 22030 h 22405"/>
                <a:gd name="T4" fmla="*/ 45547 w 45551"/>
                <a:gd name="T5" fmla="*/ 17343 h 22405"/>
                <a:gd name="T6" fmla="*/ 44525 w 45551"/>
                <a:gd name="T7" fmla="*/ 2837 h 22405"/>
                <a:gd name="T8" fmla="*/ 45501 w 45551"/>
                <a:gd name="T9" fmla="*/ 4057 h 22405"/>
                <a:gd name="T10" fmla="*/ 44575 w 45551"/>
                <a:gd name="T11" fmla="*/ 1387 h 22405"/>
                <a:gd name="T12" fmla="*/ 41811 w 45551"/>
                <a:gd name="T13" fmla="*/ 298 h 22405"/>
                <a:gd name="T14" fmla="*/ 37685 w 45551"/>
                <a:gd name="T15" fmla="*/ 706 h 22405"/>
                <a:gd name="T16" fmla="*/ 30319 w 45551"/>
                <a:gd name="T17" fmla="*/ 6618 h 22405"/>
                <a:gd name="T18" fmla="*/ 24079 w 45551"/>
                <a:gd name="T19" fmla="*/ 10660 h 22405"/>
                <a:gd name="T20" fmla="*/ 15030 w 45551"/>
                <a:gd name="T21" fmla="*/ 8210 h 22405"/>
                <a:gd name="T22" fmla="*/ 8586 w 45551"/>
                <a:gd name="T23" fmla="*/ 605 h 22405"/>
                <a:gd name="T24" fmla="*/ 5396 w 45551"/>
                <a:gd name="T25" fmla="*/ 41 h 22405"/>
                <a:gd name="T26" fmla="*/ 750 w 45551"/>
                <a:gd name="T27" fmla="*/ 1380 h 22405"/>
                <a:gd name="T28" fmla="*/ 926 w 45551"/>
                <a:gd name="T29" fmla="*/ 21117 h 22405"/>
                <a:gd name="T30" fmla="*/ 3223 w 45551"/>
                <a:gd name="T31" fmla="*/ 22385 h 22405"/>
                <a:gd name="T32" fmla="*/ 6504 w 45551"/>
                <a:gd name="T33" fmla="*/ 21232 h 22405"/>
                <a:gd name="T34" fmla="*/ 6550 w 45551"/>
                <a:gd name="T35" fmla="*/ 12493 h 22405"/>
                <a:gd name="T36" fmla="*/ 9599 w 45551"/>
                <a:gd name="T37" fmla="*/ 11132 h 22405"/>
                <a:gd name="T38" fmla="*/ 17055 w 45551"/>
                <a:gd name="T39" fmla="*/ 17099 h 22405"/>
                <a:gd name="T40" fmla="*/ 21033 w 45551"/>
                <a:gd name="T41" fmla="*/ 20754 h 22405"/>
                <a:gd name="T42" fmla="*/ 19910 w 45551"/>
                <a:gd name="T43" fmla="*/ 19341 h 22405"/>
                <a:gd name="T44" fmla="*/ 27063 w 45551"/>
                <a:gd name="T45" fmla="*/ 17027 h 22405"/>
                <a:gd name="T46" fmla="*/ 35409 w 45551"/>
                <a:gd name="T47" fmla="*/ 12229 h 22405"/>
                <a:gd name="T48" fmla="*/ 34388 w 45551"/>
                <a:gd name="T49" fmla="*/ 13030 h 22405"/>
                <a:gd name="T50" fmla="*/ 36087 w 45551"/>
                <a:gd name="T51" fmla="*/ 12549 h 22405"/>
                <a:gd name="T52" fmla="*/ 37591 w 45551"/>
                <a:gd name="T53" fmla="*/ 13181 h 22405"/>
                <a:gd name="T54" fmla="*/ 38260 w 45551"/>
                <a:gd name="T55" fmla="*/ 14887 h 22405"/>
                <a:gd name="T56" fmla="*/ 37813 w 45551"/>
                <a:gd name="T57" fmla="*/ 12947 h 22405"/>
                <a:gd name="T58" fmla="*/ 34654 w 45551"/>
                <a:gd name="T59" fmla="*/ 11959 h 22405"/>
                <a:gd name="T60" fmla="*/ 31652 w 45551"/>
                <a:gd name="T61" fmla="*/ 12615 h 22405"/>
                <a:gd name="T62" fmla="*/ 24263 w 45551"/>
                <a:gd name="T63" fmla="*/ 19281 h 22405"/>
                <a:gd name="T64" fmla="*/ 21289 w 45551"/>
                <a:gd name="T65" fmla="*/ 19379 h 22405"/>
                <a:gd name="T66" fmla="*/ 16963 w 45551"/>
                <a:gd name="T67" fmla="*/ 15517 h 22405"/>
                <a:gd name="T68" fmla="*/ 16043 w 45551"/>
                <a:gd name="T69" fmla="*/ 15481 h 22405"/>
                <a:gd name="T70" fmla="*/ 11818 w 45551"/>
                <a:gd name="T71" fmla="*/ 11636 h 22405"/>
                <a:gd name="T72" fmla="*/ 9151 w 45551"/>
                <a:gd name="T73" fmla="*/ 10933 h 22405"/>
                <a:gd name="T74" fmla="*/ 6009 w 45551"/>
                <a:gd name="T75" fmla="*/ 13293 h 22405"/>
                <a:gd name="T76" fmla="*/ 6170 w 45551"/>
                <a:gd name="T77" fmla="*/ 21013 h 22405"/>
                <a:gd name="T78" fmla="*/ 3886 w 45551"/>
                <a:gd name="T79" fmla="*/ 20888 h 22405"/>
                <a:gd name="T80" fmla="*/ 2429 w 45551"/>
                <a:gd name="T81" fmla="*/ 20064 h 22405"/>
                <a:gd name="T82" fmla="*/ 2264 w 45551"/>
                <a:gd name="T83" fmla="*/ 20009 h 22405"/>
                <a:gd name="T84" fmla="*/ 4077 w 45551"/>
                <a:gd name="T85" fmla="*/ 21038 h 22405"/>
                <a:gd name="T86" fmla="*/ 3639 w 45551"/>
                <a:gd name="T87" fmla="*/ 21657 h 22405"/>
                <a:gd name="T88" fmla="*/ 645 w 45551"/>
                <a:gd name="T89" fmla="*/ 19856 h 22405"/>
                <a:gd name="T90" fmla="*/ 1826 w 45551"/>
                <a:gd name="T91" fmla="*/ 9901 h 22405"/>
                <a:gd name="T92" fmla="*/ 5476 w 45551"/>
                <a:gd name="T93" fmla="*/ 300 h 22405"/>
                <a:gd name="T94" fmla="*/ 9267 w 45551"/>
                <a:gd name="T95" fmla="*/ 1906 h 22405"/>
                <a:gd name="T96" fmla="*/ 17106 w 45551"/>
                <a:gd name="T97" fmla="*/ 10010 h 22405"/>
                <a:gd name="T98" fmla="*/ 23111 w 45551"/>
                <a:gd name="T99" fmla="*/ 11223 h 22405"/>
                <a:gd name="T100" fmla="*/ 26996 w 45551"/>
                <a:gd name="T101" fmla="*/ 9771 h 22405"/>
                <a:gd name="T102" fmla="*/ 37978 w 45551"/>
                <a:gd name="T103" fmla="*/ 907 h 22405"/>
                <a:gd name="T104" fmla="*/ 41406 w 45551"/>
                <a:gd name="T105" fmla="*/ 1457 h 22405"/>
                <a:gd name="T106" fmla="*/ 43378 w 45551"/>
                <a:gd name="T107" fmla="*/ 1891 h 22405"/>
                <a:gd name="T108" fmla="*/ 43994 w 45551"/>
                <a:gd name="T109" fmla="*/ 2765 h 22405"/>
                <a:gd name="T110" fmla="*/ 44714 w 45551"/>
                <a:gd name="T111" fmla="*/ 20584 h 22405"/>
                <a:gd name="T112" fmla="*/ 42167 w 45551"/>
                <a:gd name="T113" fmla="*/ 21998 h 22405"/>
                <a:gd name="T114" fmla="*/ 40565 w 45551"/>
                <a:gd name="T115" fmla="*/ 21902 h 22405"/>
                <a:gd name="T116" fmla="*/ 39154 w 45551"/>
                <a:gd name="T117" fmla="*/ 21144 h 22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551" h="22405">
                  <a:moveTo>
                    <a:pt x="38746" y="20885"/>
                  </a:moveTo>
                  <a:cubicBezTo>
                    <a:pt x="38746" y="20885"/>
                    <a:pt x="38798" y="20943"/>
                    <a:pt x="38850" y="21000"/>
                  </a:cubicBezTo>
                  <a:cubicBezTo>
                    <a:pt x="38874" y="21028"/>
                    <a:pt x="38908" y="21061"/>
                    <a:pt x="38929" y="21083"/>
                  </a:cubicBezTo>
                  <a:cubicBezTo>
                    <a:pt x="38952" y="21106"/>
                    <a:pt x="38967" y="21122"/>
                    <a:pt x="38967" y="21122"/>
                  </a:cubicBezTo>
                  <a:cubicBezTo>
                    <a:pt x="39027" y="21181"/>
                    <a:pt x="39027" y="21181"/>
                    <a:pt x="39027" y="21181"/>
                  </a:cubicBezTo>
                  <a:cubicBezTo>
                    <a:pt x="39072" y="21219"/>
                    <a:pt x="39072" y="21219"/>
                    <a:pt x="39072" y="21219"/>
                  </a:cubicBezTo>
                  <a:cubicBezTo>
                    <a:pt x="39116" y="21257"/>
                    <a:pt x="39116" y="21257"/>
                    <a:pt x="39116" y="21257"/>
                  </a:cubicBezTo>
                  <a:cubicBezTo>
                    <a:pt x="39139" y="21276"/>
                    <a:pt x="39139" y="21276"/>
                    <a:pt x="39139" y="21276"/>
                  </a:cubicBezTo>
                  <a:cubicBezTo>
                    <a:pt x="39144" y="21281"/>
                    <a:pt x="39144" y="21281"/>
                    <a:pt x="39144" y="21281"/>
                  </a:cubicBezTo>
                  <a:cubicBezTo>
                    <a:pt x="39146" y="21282"/>
                    <a:pt x="39146" y="21282"/>
                    <a:pt x="39146" y="21282"/>
                  </a:cubicBezTo>
                  <a:cubicBezTo>
                    <a:pt x="39146" y="21282"/>
                    <a:pt x="39146" y="21282"/>
                    <a:pt x="39146" y="21282"/>
                  </a:cubicBezTo>
                  <a:cubicBezTo>
                    <a:pt x="39164" y="21300"/>
                    <a:pt x="39164" y="21300"/>
                    <a:pt x="39164" y="21300"/>
                  </a:cubicBezTo>
                  <a:cubicBezTo>
                    <a:pt x="39164" y="21300"/>
                    <a:pt x="39164" y="21300"/>
                    <a:pt x="39164" y="21300"/>
                  </a:cubicBezTo>
                  <a:cubicBezTo>
                    <a:pt x="39168" y="21303"/>
                    <a:pt x="39168" y="21303"/>
                    <a:pt x="39168" y="21303"/>
                  </a:cubicBezTo>
                  <a:cubicBezTo>
                    <a:pt x="39183" y="21316"/>
                    <a:pt x="39183" y="21316"/>
                    <a:pt x="39183" y="21316"/>
                  </a:cubicBezTo>
                  <a:cubicBezTo>
                    <a:pt x="39304" y="21414"/>
                    <a:pt x="39304" y="21414"/>
                    <a:pt x="39304" y="21414"/>
                  </a:cubicBezTo>
                  <a:cubicBezTo>
                    <a:pt x="39346" y="21446"/>
                    <a:pt x="39389" y="21477"/>
                    <a:pt x="39432" y="21509"/>
                  </a:cubicBezTo>
                  <a:cubicBezTo>
                    <a:pt x="39607" y="21633"/>
                    <a:pt x="39797" y="21747"/>
                    <a:pt x="40000" y="21844"/>
                  </a:cubicBezTo>
                  <a:cubicBezTo>
                    <a:pt x="40525" y="22096"/>
                    <a:pt x="41121" y="22224"/>
                    <a:pt x="41710" y="22251"/>
                  </a:cubicBezTo>
                  <a:cubicBezTo>
                    <a:pt x="41788" y="22254"/>
                    <a:pt x="41866" y="22256"/>
                    <a:pt x="41944" y="22258"/>
                  </a:cubicBezTo>
                  <a:cubicBezTo>
                    <a:pt x="42013" y="22258"/>
                    <a:pt x="42083" y="22257"/>
                    <a:pt x="42152" y="22257"/>
                  </a:cubicBezTo>
                  <a:cubicBezTo>
                    <a:pt x="42283" y="22254"/>
                    <a:pt x="42414" y="22251"/>
                    <a:pt x="42546" y="22248"/>
                  </a:cubicBezTo>
                  <a:cubicBezTo>
                    <a:pt x="42812" y="22244"/>
                    <a:pt x="43082" y="22242"/>
                    <a:pt x="43354" y="22242"/>
                  </a:cubicBezTo>
                  <a:cubicBezTo>
                    <a:pt x="43544" y="22243"/>
                    <a:pt x="43731" y="22244"/>
                    <a:pt x="43918" y="22245"/>
                  </a:cubicBezTo>
                  <a:cubicBezTo>
                    <a:pt x="44057" y="22247"/>
                    <a:pt x="44057" y="22247"/>
                    <a:pt x="44057" y="22247"/>
                  </a:cubicBezTo>
                  <a:cubicBezTo>
                    <a:pt x="44126" y="22248"/>
                    <a:pt x="44126" y="22248"/>
                    <a:pt x="44126" y="22248"/>
                  </a:cubicBezTo>
                  <a:cubicBezTo>
                    <a:pt x="44144" y="22248"/>
                    <a:pt x="44144" y="22248"/>
                    <a:pt x="44144" y="22248"/>
                  </a:cubicBezTo>
                  <a:cubicBezTo>
                    <a:pt x="44175" y="22248"/>
                    <a:pt x="44175" y="22248"/>
                    <a:pt x="44175" y="22248"/>
                  </a:cubicBezTo>
                  <a:cubicBezTo>
                    <a:pt x="44241" y="22246"/>
                    <a:pt x="44241" y="22246"/>
                    <a:pt x="44241" y="22246"/>
                  </a:cubicBezTo>
                  <a:cubicBezTo>
                    <a:pt x="44416" y="22237"/>
                    <a:pt x="44655" y="22187"/>
                    <a:pt x="44873" y="22030"/>
                  </a:cubicBezTo>
                  <a:cubicBezTo>
                    <a:pt x="44981" y="21953"/>
                    <a:pt x="45071" y="21853"/>
                    <a:pt x="45140" y="21751"/>
                  </a:cubicBezTo>
                  <a:cubicBezTo>
                    <a:pt x="45172" y="21701"/>
                    <a:pt x="45204" y="21648"/>
                    <a:pt x="45225" y="21600"/>
                  </a:cubicBezTo>
                  <a:cubicBezTo>
                    <a:pt x="45236" y="21575"/>
                    <a:pt x="45249" y="21549"/>
                    <a:pt x="45258" y="21526"/>
                  </a:cubicBezTo>
                  <a:cubicBezTo>
                    <a:pt x="45283" y="21455"/>
                    <a:pt x="45283" y="21455"/>
                    <a:pt x="45283" y="21455"/>
                  </a:cubicBezTo>
                  <a:cubicBezTo>
                    <a:pt x="45300" y="21406"/>
                    <a:pt x="45308" y="21366"/>
                    <a:pt x="45320" y="21321"/>
                  </a:cubicBezTo>
                  <a:cubicBezTo>
                    <a:pt x="45329" y="21278"/>
                    <a:pt x="45336" y="21238"/>
                    <a:pt x="45342" y="21197"/>
                  </a:cubicBezTo>
                  <a:cubicBezTo>
                    <a:pt x="45348" y="21153"/>
                    <a:pt x="45352" y="21107"/>
                    <a:pt x="45356" y="21064"/>
                  </a:cubicBezTo>
                  <a:cubicBezTo>
                    <a:pt x="45360" y="20997"/>
                    <a:pt x="45360" y="20997"/>
                    <a:pt x="45360" y="20997"/>
                  </a:cubicBezTo>
                  <a:cubicBezTo>
                    <a:pt x="45363" y="20903"/>
                    <a:pt x="45367" y="20809"/>
                    <a:pt x="45370" y="20715"/>
                  </a:cubicBezTo>
                  <a:cubicBezTo>
                    <a:pt x="45374" y="20629"/>
                    <a:pt x="45378" y="20543"/>
                    <a:pt x="45382" y="20457"/>
                  </a:cubicBezTo>
                  <a:cubicBezTo>
                    <a:pt x="45414" y="19778"/>
                    <a:pt x="45462" y="19154"/>
                    <a:pt x="45524" y="18619"/>
                  </a:cubicBezTo>
                  <a:cubicBezTo>
                    <a:pt x="45551" y="18388"/>
                    <a:pt x="45551" y="18388"/>
                    <a:pt x="45551" y="18388"/>
                  </a:cubicBezTo>
                  <a:cubicBezTo>
                    <a:pt x="45551" y="17376"/>
                    <a:pt x="45551" y="17376"/>
                    <a:pt x="45551" y="17376"/>
                  </a:cubicBezTo>
                  <a:cubicBezTo>
                    <a:pt x="45551" y="17309"/>
                    <a:pt x="45551" y="17309"/>
                    <a:pt x="45551" y="17309"/>
                  </a:cubicBezTo>
                  <a:cubicBezTo>
                    <a:pt x="45547" y="17343"/>
                    <a:pt x="45547" y="17343"/>
                    <a:pt x="45547" y="17343"/>
                  </a:cubicBezTo>
                  <a:cubicBezTo>
                    <a:pt x="45360" y="18960"/>
                    <a:pt x="45360" y="18960"/>
                    <a:pt x="45360" y="18960"/>
                  </a:cubicBezTo>
                  <a:cubicBezTo>
                    <a:pt x="45350" y="19041"/>
                    <a:pt x="45340" y="19120"/>
                    <a:pt x="45330" y="19199"/>
                  </a:cubicBezTo>
                  <a:cubicBezTo>
                    <a:pt x="45240" y="19854"/>
                    <a:pt x="45128" y="20212"/>
                    <a:pt x="45010" y="20212"/>
                  </a:cubicBezTo>
                  <a:cubicBezTo>
                    <a:pt x="44878" y="20212"/>
                    <a:pt x="44754" y="19768"/>
                    <a:pt x="44661" y="18960"/>
                  </a:cubicBezTo>
                  <a:cubicBezTo>
                    <a:pt x="44077" y="13919"/>
                    <a:pt x="44077" y="13919"/>
                    <a:pt x="44077" y="13919"/>
                  </a:cubicBezTo>
                  <a:cubicBezTo>
                    <a:pt x="43984" y="13111"/>
                    <a:pt x="43933" y="12038"/>
                    <a:pt x="43933" y="10896"/>
                  </a:cubicBezTo>
                  <a:cubicBezTo>
                    <a:pt x="43933" y="10563"/>
                    <a:pt x="43937" y="10236"/>
                    <a:pt x="43946" y="9919"/>
                  </a:cubicBezTo>
                  <a:cubicBezTo>
                    <a:pt x="43966" y="9151"/>
                    <a:pt x="44011" y="8445"/>
                    <a:pt x="44077" y="7873"/>
                  </a:cubicBezTo>
                  <a:cubicBezTo>
                    <a:pt x="44077" y="7873"/>
                    <a:pt x="44223" y="6613"/>
                    <a:pt x="44369" y="5353"/>
                  </a:cubicBezTo>
                  <a:cubicBezTo>
                    <a:pt x="44405" y="5038"/>
                    <a:pt x="44442" y="4723"/>
                    <a:pt x="44476" y="4427"/>
                  </a:cubicBezTo>
                  <a:cubicBezTo>
                    <a:pt x="44493" y="4279"/>
                    <a:pt x="44510" y="4137"/>
                    <a:pt x="44525" y="4001"/>
                  </a:cubicBezTo>
                  <a:cubicBezTo>
                    <a:pt x="44541" y="3866"/>
                    <a:pt x="44553" y="3742"/>
                    <a:pt x="44559" y="3624"/>
                  </a:cubicBezTo>
                  <a:cubicBezTo>
                    <a:pt x="44572" y="3390"/>
                    <a:pt x="44562" y="3193"/>
                    <a:pt x="44552" y="3054"/>
                  </a:cubicBezTo>
                  <a:cubicBezTo>
                    <a:pt x="44544" y="2985"/>
                    <a:pt x="44538" y="2931"/>
                    <a:pt x="44534" y="2894"/>
                  </a:cubicBezTo>
                  <a:cubicBezTo>
                    <a:pt x="44528" y="2857"/>
                    <a:pt x="44525" y="2837"/>
                    <a:pt x="44525" y="2837"/>
                  </a:cubicBezTo>
                  <a:cubicBezTo>
                    <a:pt x="44510" y="2731"/>
                    <a:pt x="44490" y="2632"/>
                    <a:pt x="44470" y="2539"/>
                  </a:cubicBezTo>
                  <a:cubicBezTo>
                    <a:pt x="44400" y="2228"/>
                    <a:pt x="44313" y="1986"/>
                    <a:pt x="44256" y="1814"/>
                  </a:cubicBezTo>
                  <a:cubicBezTo>
                    <a:pt x="44228" y="1728"/>
                    <a:pt x="44208" y="1659"/>
                    <a:pt x="44201" y="1605"/>
                  </a:cubicBezTo>
                  <a:cubicBezTo>
                    <a:pt x="44192" y="1551"/>
                    <a:pt x="44197" y="1513"/>
                    <a:pt x="44219" y="1494"/>
                  </a:cubicBezTo>
                  <a:cubicBezTo>
                    <a:pt x="44243" y="1472"/>
                    <a:pt x="44292" y="1477"/>
                    <a:pt x="44358" y="1510"/>
                  </a:cubicBezTo>
                  <a:cubicBezTo>
                    <a:pt x="44421" y="1541"/>
                    <a:pt x="44506" y="1598"/>
                    <a:pt x="44600" y="1689"/>
                  </a:cubicBezTo>
                  <a:cubicBezTo>
                    <a:pt x="44695" y="1780"/>
                    <a:pt x="44801" y="1905"/>
                    <a:pt x="44906" y="2066"/>
                  </a:cubicBezTo>
                  <a:cubicBezTo>
                    <a:pt x="45012" y="2226"/>
                    <a:pt x="45114" y="2424"/>
                    <a:pt x="45200" y="2655"/>
                  </a:cubicBezTo>
                  <a:cubicBezTo>
                    <a:pt x="45200" y="2655"/>
                    <a:pt x="45208" y="2677"/>
                    <a:pt x="45223" y="2715"/>
                  </a:cubicBezTo>
                  <a:cubicBezTo>
                    <a:pt x="45236" y="2754"/>
                    <a:pt x="45254" y="2809"/>
                    <a:pt x="45276" y="2875"/>
                  </a:cubicBezTo>
                  <a:cubicBezTo>
                    <a:pt x="45298" y="2941"/>
                    <a:pt x="45318" y="3018"/>
                    <a:pt x="45342" y="3102"/>
                  </a:cubicBezTo>
                  <a:cubicBezTo>
                    <a:pt x="45361" y="3185"/>
                    <a:pt x="45385" y="3275"/>
                    <a:pt x="45401" y="3364"/>
                  </a:cubicBezTo>
                  <a:cubicBezTo>
                    <a:pt x="45420" y="3453"/>
                    <a:pt x="45436" y="3542"/>
                    <a:pt x="45448" y="3626"/>
                  </a:cubicBezTo>
                  <a:cubicBezTo>
                    <a:pt x="45462" y="3710"/>
                    <a:pt x="45470" y="3787"/>
                    <a:pt x="45478" y="3854"/>
                  </a:cubicBezTo>
                  <a:cubicBezTo>
                    <a:pt x="45492" y="3976"/>
                    <a:pt x="45501" y="4057"/>
                    <a:pt x="45501" y="4057"/>
                  </a:cubicBezTo>
                  <a:cubicBezTo>
                    <a:pt x="45551" y="4483"/>
                    <a:pt x="45551" y="4483"/>
                    <a:pt x="45551" y="4483"/>
                  </a:cubicBezTo>
                  <a:cubicBezTo>
                    <a:pt x="45551" y="4483"/>
                    <a:pt x="45551" y="4278"/>
                    <a:pt x="45551" y="4073"/>
                  </a:cubicBezTo>
                  <a:cubicBezTo>
                    <a:pt x="45551" y="4021"/>
                    <a:pt x="45551" y="3969"/>
                    <a:pt x="45550" y="3920"/>
                  </a:cubicBezTo>
                  <a:cubicBezTo>
                    <a:pt x="45549" y="3864"/>
                    <a:pt x="45549" y="3811"/>
                    <a:pt x="45548" y="3765"/>
                  </a:cubicBezTo>
                  <a:cubicBezTo>
                    <a:pt x="45547" y="3720"/>
                    <a:pt x="45545" y="3682"/>
                    <a:pt x="45544" y="3655"/>
                  </a:cubicBezTo>
                  <a:cubicBezTo>
                    <a:pt x="45542" y="3629"/>
                    <a:pt x="45541" y="3613"/>
                    <a:pt x="45541" y="3613"/>
                  </a:cubicBezTo>
                  <a:cubicBezTo>
                    <a:pt x="45541" y="3613"/>
                    <a:pt x="45540" y="3593"/>
                    <a:pt x="45538" y="3563"/>
                  </a:cubicBezTo>
                  <a:cubicBezTo>
                    <a:pt x="45537" y="3533"/>
                    <a:pt x="45535" y="3493"/>
                    <a:pt x="45530" y="3452"/>
                  </a:cubicBezTo>
                  <a:cubicBezTo>
                    <a:pt x="45523" y="3371"/>
                    <a:pt x="45515" y="3290"/>
                    <a:pt x="45515" y="3290"/>
                  </a:cubicBezTo>
                  <a:cubicBezTo>
                    <a:pt x="45515" y="3290"/>
                    <a:pt x="45498" y="3216"/>
                    <a:pt x="45467" y="3087"/>
                  </a:cubicBezTo>
                  <a:cubicBezTo>
                    <a:pt x="45432" y="2957"/>
                    <a:pt x="45383" y="2773"/>
                    <a:pt x="45296" y="2555"/>
                  </a:cubicBezTo>
                  <a:cubicBezTo>
                    <a:pt x="45211" y="2338"/>
                    <a:pt x="45092" y="2087"/>
                    <a:pt x="44928" y="1839"/>
                  </a:cubicBezTo>
                  <a:cubicBezTo>
                    <a:pt x="44890" y="1776"/>
                    <a:pt x="44842" y="1716"/>
                    <a:pt x="44799" y="1654"/>
                  </a:cubicBezTo>
                  <a:cubicBezTo>
                    <a:pt x="44752" y="1593"/>
                    <a:pt x="44703" y="1533"/>
                    <a:pt x="44653" y="1474"/>
                  </a:cubicBezTo>
                  <a:cubicBezTo>
                    <a:pt x="44575" y="1387"/>
                    <a:pt x="44575" y="1387"/>
                    <a:pt x="44575" y="1387"/>
                  </a:cubicBezTo>
                  <a:cubicBezTo>
                    <a:pt x="44535" y="1344"/>
                    <a:pt x="44535" y="1344"/>
                    <a:pt x="44535" y="1344"/>
                  </a:cubicBezTo>
                  <a:cubicBezTo>
                    <a:pt x="44490" y="1298"/>
                    <a:pt x="44490" y="1298"/>
                    <a:pt x="44490" y="1298"/>
                  </a:cubicBezTo>
                  <a:cubicBezTo>
                    <a:pt x="44398" y="1208"/>
                    <a:pt x="44398" y="1208"/>
                    <a:pt x="44398" y="1208"/>
                  </a:cubicBezTo>
                  <a:cubicBezTo>
                    <a:pt x="44390" y="1200"/>
                    <a:pt x="44383" y="1194"/>
                    <a:pt x="44378" y="1189"/>
                  </a:cubicBezTo>
                  <a:cubicBezTo>
                    <a:pt x="44360" y="1174"/>
                    <a:pt x="44360" y="1174"/>
                    <a:pt x="44360" y="1174"/>
                  </a:cubicBezTo>
                  <a:cubicBezTo>
                    <a:pt x="44324" y="1144"/>
                    <a:pt x="44324" y="1144"/>
                    <a:pt x="44324" y="1144"/>
                  </a:cubicBezTo>
                  <a:cubicBezTo>
                    <a:pt x="44206" y="1038"/>
                    <a:pt x="44083" y="949"/>
                    <a:pt x="43957" y="863"/>
                  </a:cubicBezTo>
                  <a:cubicBezTo>
                    <a:pt x="43829" y="782"/>
                    <a:pt x="43701" y="707"/>
                    <a:pt x="43572" y="647"/>
                  </a:cubicBezTo>
                  <a:cubicBezTo>
                    <a:pt x="43316" y="524"/>
                    <a:pt x="43067" y="446"/>
                    <a:pt x="42856" y="398"/>
                  </a:cubicBezTo>
                  <a:cubicBezTo>
                    <a:pt x="42750" y="372"/>
                    <a:pt x="42653" y="357"/>
                    <a:pt x="42567" y="343"/>
                  </a:cubicBezTo>
                  <a:cubicBezTo>
                    <a:pt x="42481" y="332"/>
                    <a:pt x="42407" y="321"/>
                    <a:pt x="42346" y="317"/>
                  </a:cubicBezTo>
                  <a:cubicBezTo>
                    <a:pt x="42285" y="312"/>
                    <a:pt x="42237" y="308"/>
                    <a:pt x="42204" y="306"/>
                  </a:cubicBezTo>
                  <a:cubicBezTo>
                    <a:pt x="42172" y="305"/>
                    <a:pt x="42155" y="304"/>
                    <a:pt x="42155" y="304"/>
                  </a:cubicBezTo>
                  <a:cubicBezTo>
                    <a:pt x="42080" y="302"/>
                    <a:pt x="42004" y="297"/>
                    <a:pt x="41927" y="299"/>
                  </a:cubicBezTo>
                  <a:cubicBezTo>
                    <a:pt x="41811" y="298"/>
                    <a:pt x="41811" y="298"/>
                    <a:pt x="41811" y="298"/>
                  </a:cubicBezTo>
                  <a:cubicBezTo>
                    <a:pt x="41689" y="302"/>
                    <a:pt x="41689" y="302"/>
                    <a:pt x="41689" y="302"/>
                  </a:cubicBezTo>
                  <a:cubicBezTo>
                    <a:pt x="41603" y="303"/>
                    <a:pt x="41534" y="310"/>
                    <a:pt x="41458" y="315"/>
                  </a:cubicBezTo>
                  <a:cubicBezTo>
                    <a:pt x="41395" y="319"/>
                    <a:pt x="41395" y="319"/>
                    <a:pt x="41395" y="319"/>
                  </a:cubicBezTo>
                  <a:cubicBezTo>
                    <a:pt x="41338" y="323"/>
                    <a:pt x="41338" y="323"/>
                    <a:pt x="41338" y="323"/>
                  </a:cubicBezTo>
                  <a:cubicBezTo>
                    <a:pt x="41224" y="333"/>
                    <a:pt x="41224" y="333"/>
                    <a:pt x="41224" y="333"/>
                  </a:cubicBezTo>
                  <a:cubicBezTo>
                    <a:pt x="40916" y="356"/>
                    <a:pt x="40590" y="376"/>
                    <a:pt x="40250" y="393"/>
                  </a:cubicBezTo>
                  <a:cubicBezTo>
                    <a:pt x="39911" y="409"/>
                    <a:pt x="39557" y="421"/>
                    <a:pt x="39194" y="430"/>
                  </a:cubicBezTo>
                  <a:cubicBezTo>
                    <a:pt x="39011" y="433"/>
                    <a:pt x="38827" y="436"/>
                    <a:pt x="38642" y="439"/>
                  </a:cubicBezTo>
                  <a:cubicBezTo>
                    <a:pt x="38502" y="441"/>
                    <a:pt x="38502" y="441"/>
                    <a:pt x="38502" y="441"/>
                  </a:cubicBezTo>
                  <a:cubicBezTo>
                    <a:pt x="38424" y="442"/>
                    <a:pt x="38424" y="442"/>
                    <a:pt x="38424" y="442"/>
                  </a:cubicBezTo>
                  <a:cubicBezTo>
                    <a:pt x="38395" y="443"/>
                    <a:pt x="38366" y="445"/>
                    <a:pt x="38337" y="448"/>
                  </a:cubicBezTo>
                  <a:cubicBezTo>
                    <a:pt x="38220" y="459"/>
                    <a:pt x="38102" y="487"/>
                    <a:pt x="37990" y="532"/>
                  </a:cubicBezTo>
                  <a:cubicBezTo>
                    <a:pt x="37965" y="542"/>
                    <a:pt x="37925" y="559"/>
                    <a:pt x="37909" y="567"/>
                  </a:cubicBezTo>
                  <a:cubicBezTo>
                    <a:pt x="37876" y="583"/>
                    <a:pt x="37852" y="597"/>
                    <a:pt x="37825" y="613"/>
                  </a:cubicBezTo>
                  <a:cubicBezTo>
                    <a:pt x="37774" y="643"/>
                    <a:pt x="37729" y="675"/>
                    <a:pt x="37685" y="706"/>
                  </a:cubicBezTo>
                  <a:cubicBezTo>
                    <a:pt x="37599" y="770"/>
                    <a:pt x="37522" y="836"/>
                    <a:pt x="37448" y="903"/>
                  </a:cubicBezTo>
                  <a:cubicBezTo>
                    <a:pt x="37411" y="936"/>
                    <a:pt x="37376" y="969"/>
                    <a:pt x="37339" y="1004"/>
                  </a:cubicBezTo>
                  <a:cubicBezTo>
                    <a:pt x="37314" y="1028"/>
                    <a:pt x="37314" y="1028"/>
                    <a:pt x="37314" y="1028"/>
                  </a:cubicBezTo>
                  <a:cubicBezTo>
                    <a:pt x="37295" y="1046"/>
                    <a:pt x="37295" y="1046"/>
                    <a:pt x="37295" y="1046"/>
                  </a:cubicBezTo>
                  <a:cubicBezTo>
                    <a:pt x="37244" y="1092"/>
                    <a:pt x="37244" y="1092"/>
                    <a:pt x="37244" y="1092"/>
                  </a:cubicBezTo>
                  <a:cubicBezTo>
                    <a:pt x="37176" y="1153"/>
                    <a:pt x="37107" y="1214"/>
                    <a:pt x="37039" y="1275"/>
                  </a:cubicBezTo>
                  <a:cubicBezTo>
                    <a:pt x="36768" y="1516"/>
                    <a:pt x="36500" y="1748"/>
                    <a:pt x="36241" y="1967"/>
                  </a:cubicBezTo>
                  <a:cubicBezTo>
                    <a:pt x="35721" y="2406"/>
                    <a:pt x="35232" y="2796"/>
                    <a:pt x="34797" y="3115"/>
                  </a:cubicBezTo>
                  <a:cubicBezTo>
                    <a:pt x="31698" y="5394"/>
                    <a:pt x="31698" y="5394"/>
                    <a:pt x="31698" y="5394"/>
                  </a:cubicBezTo>
                  <a:cubicBezTo>
                    <a:pt x="31589" y="5474"/>
                    <a:pt x="31589" y="5474"/>
                    <a:pt x="31589" y="5474"/>
                  </a:cubicBezTo>
                  <a:cubicBezTo>
                    <a:pt x="31589" y="5474"/>
                    <a:pt x="31322" y="5723"/>
                    <a:pt x="31054" y="5971"/>
                  </a:cubicBezTo>
                  <a:cubicBezTo>
                    <a:pt x="30923" y="6092"/>
                    <a:pt x="30800" y="6206"/>
                    <a:pt x="30701" y="6292"/>
                  </a:cubicBezTo>
                  <a:cubicBezTo>
                    <a:pt x="30604" y="6378"/>
                    <a:pt x="30539" y="6433"/>
                    <a:pt x="30539" y="6433"/>
                  </a:cubicBezTo>
                  <a:cubicBezTo>
                    <a:pt x="30539" y="6433"/>
                    <a:pt x="30511" y="6456"/>
                    <a:pt x="30470" y="6491"/>
                  </a:cubicBezTo>
                  <a:cubicBezTo>
                    <a:pt x="30429" y="6526"/>
                    <a:pt x="30375" y="6573"/>
                    <a:pt x="30319" y="6618"/>
                  </a:cubicBezTo>
                  <a:cubicBezTo>
                    <a:pt x="30264" y="6663"/>
                    <a:pt x="30208" y="6708"/>
                    <a:pt x="30167" y="6742"/>
                  </a:cubicBezTo>
                  <a:cubicBezTo>
                    <a:pt x="30125" y="6776"/>
                    <a:pt x="30097" y="6798"/>
                    <a:pt x="30097" y="6798"/>
                  </a:cubicBezTo>
                  <a:cubicBezTo>
                    <a:pt x="30110" y="6795"/>
                    <a:pt x="30123" y="6794"/>
                    <a:pt x="30135" y="6792"/>
                  </a:cubicBezTo>
                  <a:cubicBezTo>
                    <a:pt x="30215" y="6783"/>
                    <a:pt x="30268" y="6794"/>
                    <a:pt x="30296" y="6828"/>
                  </a:cubicBezTo>
                  <a:cubicBezTo>
                    <a:pt x="30332" y="6873"/>
                    <a:pt x="30321" y="6957"/>
                    <a:pt x="30259" y="7074"/>
                  </a:cubicBezTo>
                  <a:cubicBezTo>
                    <a:pt x="30198" y="7192"/>
                    <a:pt x="30088" y="7344"/>
                    <a:pt x="29927" y="7523"/>
                  </a:cubicBezTo>
                  <a:cubicBezTo>
                    <a:pt x="29763" y="7706"/>
                    <a:pt x="29545" y="7915"/>
                    <a:pt x="29269" y="8143"/>
                  </a:cubicBezTo>
                  <a:cubicBezTo>
                    <a:pt x="29269" y="8143"/>
                    <a:pt x="29249" y="8160"/>
                    <a:pt x="29211" y="8191"/>
                  </a:cubicBezTo>
                  <a:cubicBezTo>
                    <a:pt x="29172" y="8223"/>
                    <a:pt x="29117" y="8269"/>
                    <a:pt x="29044" y="8326"/>
                  </a:cubicBezTo>
                  <a:cubicBezTo>
                    <a:pt x="28899" y="8441"/>
                    <a:pt x="28689" y="8602"/>
                    <a:pt x="28429" y="8788"/>
                  </a:cubicBezTo>
                  <a:cubicBezTo>
                    <a:pt x="28298" y="8879"/>
                    <a:pt x="28156" y="8978"/>
                    <a:pt x="28003" y="9078"/>
                  </a:cubicBezTo>
                  <a:cubicBezTo>
                    <a:pt x="27849" y="9179"/>
                    <a:pt x="27685" y="9284"/>
                    <a:pt x="27513" y="9386"/>
                  </a:cubicBezTo>
                  <a:cubicBezTo>
                    <a:pt x="27168" y="9590"/>
                    <a:pt x="26782" y="9786"/>
                    <a:pt x="26382" y="9957"/>
                  </a:cubicBezTo>
                  <a:cubicBezTo>
                    <a:pt x="25983" y="10128"/>
                    <a:pt x="25570" y="10273"/>
                    <a:pt x="25175" y="10389"/>
                  </a:cubicBezTo>
                  <a:cubicBezTo>
                    <a:pt x="24780" y="10506"/>
                    <a:pt x="24403" y="10594"/>
                    <a:pt x="24079" y="10660"/>
                  </a:cubicBezTo>
                  <a:cubicBezTo>
                    <a:pt x="23997" y="10676"/>
                    <a:pt x="23919" y="10691"/>
                    <a:pt x="23845" y="10706"/>
                  </a:cubicBezTo>
                  <a:cubicBezTo>
                    <a:pt x="23770" y="10718"/>
                    <a:pt x="23700" y="10731"/>
                    <a:pt x="23633" y="10742"/>
                  </a:cubicBezTo>
                  <a:cubicBezTo>
                    <a:pt x="23501" y="10766"/>
                    <a:pt x="23382" y="10782"/>
                    <a:pt x="23285" y="10796"/>
                  </a:cubicBezTo>
                  <a:cubicBezTo>
                    <a:pt x="23187" y="10811"/>
                    <a:pt x="23110" y="10822"/>
                    <a:pt x="23061" y="10827"/>
                  </a:cubicBezTo>
                  <a:cubicBezTo>
                    <a:pt x="23011" y="10834"/>
                    <a:pt x="22984" y="10837"/>
                    <a:pt x="22984" y="10837"/>
                  </a:cubicBezTo>
                  <a:cubicBezTo>
                    <a:pt x="22435" y="10906"/>
                    <a:pt x="21783" y="10936"/>
                    <a:pt x="21071" y="10887"/>
                  </a:cubicBezTo>
                  <a:cubicBezTo>
                    <a:pt x="20360" y="10837"/>
                    <a:pt x="19587" y="10709"/>
                    <a:pt x="18816" y="10463"/>
                  </a:cubicBezTo>
                  <a:cubicBezTo>
                    <a:pt x="18623" y="10402"/>
                    <a:pt x="18433" y="10336"/>
                    <a:pt x="18248" y="10262"/>
                  </a:cubicBezTo>
                  <a:cubicBezTo>
                    <a:pt x="18110" y="10207"/>
                    <a:pt x="18110" y="10207"/>
                    <a:pt x="18110" y="10207"/>
                  </a:cubicBezTo>
                  <a:cubicBezTo>
                    <a:pt x="17969" y="10146"/>
                    <a:pt x="17969" y="10146"/>
                    <a:pt x="17969" y="10146"/>
                  </a:cubicBezTo>
                  <a:cubicBezTo>
                    <a:pt x="17829" y="10085"/>
                    <a:pt x="17829" y="10085"/>
                    <a:pt x="17829" y="10085"/>
                  </a:cubicBezTo>
                  <a:cubicBezTo>
                    <a:pt x="17705" y="10026"/>
                    <a:pt x="17705" y="10026"/>
                    <a:pt x="17705" y="10026"/>
                  </a:cubicBezTo>
                  <a:cubicBezTo>
                    <a:pt x="17357" y="9860"/>
                    <a:pt x="17037" y="9683"/>
                    <a:pt x="16733" y="9499"/>
                  </a:cubicBezTo>
                  <a:cubicBezTo>
                    <a:pt x="16127" y="9129"/>
                    <a:pt x="15608" y="8735"/>
                    <a:pt x="15196" y="8362"/>
                  </a:cubicBezTo>
                  <a:cubicBezTo>
                    <a:pt x="15196" y="8362"/>
                    <a:pt x="15113" y="8286"/>
                    <a:pt x="15030" y="8210"/>
                  </a:cubicBezTo>
                  <a:cubicBezTo>
                    <a:pt x="14948" y="8133"/>
                    <a:pt x="14867" y="8056"/>
                    <a:pt x="14867" y="8056"/>
                  </a:cubicBezTo>
                  <a:cubicBezTo>
                    <a:pt x="14867" y="8056"/>
                    <a:pt x="14680" y="7877"/>
                    <a:pt x="14500" y="7693"/>
                  </a:cubicBezTo>
                  <a:cubicBezTo>
                    <a:pt x="14409" y="7601"/>
                    <a:pt x="14320" y="7508"/>
                    <a:pt x="14255" y="7437"/>
                  </a:cubicBezTo>
                  <a:cubicBezTo>
                    <a:pt x="14189" y="7367"/>
                    <a:pt x="14145" y="7320"/>
                    <a:pt x="14145" y="7320"/>
                  </a:cubicBezTo>
                  <a:cubicBezTo>
                    <a:pt x="14145" y="7320"/>
                    <a:pt x="14086" y="7256"/>
                    <a:pt x="13984" y="7142"/>
                  </a:cubicBezTo>
                  <a:cubicBezTo>
                    <a:pt x="13931" y="7085"/>
                    <a:pt x="13874" y="7017"/>
                    <a:pt x="13806" y="6939"/>
                  </a:cubicBezTo>
                  <a:cubicBezTo>
                    <a:pt x="13738" y="6860"/>
                    <a:pt x="13661" y="6770"/>
                    <a:pt x="13577" y="6673"/>
                  </a:cubicBezTo>
                  <a:cubicBezTo>
                    <a:pt x="13246" y="6284"/>
                    <a:pt x="12805" y="5765"/>
                    <a:pt x="12364" y="5247"/>
                  </a:cubicBezTo>
                  <a:cubicBezTo>
                    <a:pt x="11482" y="4210"/>
                    <a:pt x="10600" y="3173"/>
                    <a:pt x="10600" y="3173"/>
                  </a:cubicBezTo>
                  <a:cubicBezTo>
                    <a:pt x="9901" y="2352"/>
                    <a:pt x="9582" y="1829"/>
                    <a:pt x="9702" y="1701"/>
                  </a:cubicBezTo>
                  <a:cubicBezTo>
                    <a:pt x="9736" y="1664"/>
                    <a:pt x="9805" y="1661"/>
                    <a:pt x="9908" y="1691"/>
                  </a:cubicBezTo>
                  <a:cubicBezTo>
                    <a:pt x="9908" y="1691"/>
                    <a:pt x="9822" y="1611"/>
                    <a:pt x="9692" y="1492"/>
                  </a:cubicBezTo>
                  <a:cubicBezTo>
                    <a:pt x="9519" y="1310"/>
                    <a:pt x="9271" y="1081"/>
                    <a:pt x="8999" y="880"/>
                  </a:cubicBezTo>
                  <a:cubicBezTo>
                    <a:pt x="8930" y="832"/>
                    <a:pt x="8862" y="781"/>
                    <a:pt x="8793" y="735"/>
                  </a:cubicBezTo>
                  <a:cubicBezTo>
                    <a:pt x="8722" y="691"/>
                    <a:pt x="8653" y="647"/>
                    <a:pt x="8586" y="605"/>
                  </a:cubicBezTo>
                  <a:cubicBezTo>
                    <a:pt x="8449" y="527"/>
                    <a:pt x="8321" y="453"/>
                    <a:pt x="8206" y="400"/>
                  </a:cubicBezTo>
                  <a:cubicBezTo>
                    <a:pt x="8150" y="373"/>
                    <a:pt x="8098" y="347"/>
                    <a:pt x="8051" y="325"/>
                  </a:cubicBezTo>
                  <a:cubicBezTo>
                    <a:pt x="8004" y="305"/>
                    <a:pt x="7964" y="288"/>
                    <a:pt x="7930" y="274"/>
                  </a:cubicBezTo>
                  <a:cubicBezTo>
                    <a:pt x="7862" y="246"/>
                    <a:pt x="7824" y="229"/>
                    <a:pt x="7824" y="229"/>
                  </a:cubicBezTo>
                  <a:cubicBezTo>
                    <a:pt x="7824" y="229"/>
                    <a:pt x="7807" y="224"/>
                    <a:pt x="7774" y="215"/>
                  </a:cubicBezTo>
                  <a:cubicBezTo>
                    <a:pt x="7742" y="206"/>
                    <a:pt x="7695" y="194"/>
                    <a:pt x="7634" y="179"/>
                  </a:cubicBezTo>
                  <a:cubicBezTo>
                    <a:pt x="7514" y="146"/>
                    <a:pt x="7341" y="110"/>
                    <a:pt x="7135" y="76"/>
                  </a:cubicBezTo>
                  <a:cubicBezTo>
                    <a:pt x="7031" y="62"/>
                    <a:pt x="6920" y="43"/>
                    <a:pt x="6802" y="34"/>
                  </a:cubicBezTo>
                  <a:cubicBezTo>
                    <a:pt x="6744" y="28"/>
                    <a:pt x="6684" y="23"/>
                    <a:pt x="6622" y="17"/>
                  </a:cubicBezTo>
                  <a:cubicBezTo>
                    <a:pt x="6561" y="13"/>
                    <a:pt x="6498" y="11"/>
                    <a:pt x="6435" y="8"/>
                  </a:cubicBezTo>
                  <a:cubicBezTo>
                    <a:pt x="6308" y="0"/>
                    <a:pt x="6178" y="2"/>
                    <a:pt x="6047" y="2"/>
                  </a:cubicBezTo>
                  <a:cubicBezTo>
                    <a:pt x="5916" y="3"/>
                    <a:pt x="5769" y="10"/>
                    <a:pt x="5642" y="18"/>
                  </a:cubicBezTo>
                  <a:cubicBezTo>
                    <a:pt x="5582" y="24"/>
                    <a:pt x="5522" y="29"/>
                    <a:pt x="5463" y="35"/>
                  </a:cubicBezTo>
                  <a:cubicBezTo>
                    <a:pt x="5419" y="39"/>
                    <a:pt x="5419" y="39"/>
                    <a:pt x="5419" y="39"/>
                  </a:cubicBezTo>
                  <a:cubicBezTo>
                    <a:pt x="5396" y="41"/>
                    <a:pt x="5396" y="41"/>
                    <a:pt x="5396" y="41"/>
                  </a:cubicBezTo>
                  <a:cubicBezTo>
                    <a:pt x="5385" y="43"/>
                    <a:pt x="5385" y="43"/>
                    <a:pt x="5385" y="43"/>
                  </a:cubicBezTo>
                  <a:cubicBezTo>
                    <a:pt x="5382" y="43"/>
                    <a:pt x="5382" y="43"/>
                    <a:pt x="5382" y="43"/>
                  </a:cubicBezTo>
                  <a:cubicBezTo>
                    <a:pt x="5381" y="43"/>
                    <a:pt x="5381" y="43"/>
                    <a:pt x="5381" y="43"/>
                  </a:cubicBezTo>
                  <a:cubicBezTo>
                    <a:pt x="5354" y="43"/>
                    <a:pt x="5373" y="43"/>
                    <a:pt x="5367" y="43"/>
                  </a:cubicBezTo>
                  <a:cubicBezTo>
                    <a:pt x="5361" y="44"/>
                    <a:pt x="5361" y="44"/>
                    <a:pt x="5361" y="44"/>
                  </a:cubicBezTo>
                  <a:cubicBezTo>
                    <a:pt x="5273" y="54"/>
                    <a:pt x="5273" y="54"/>
                    <a:pt x="5273" y="54"/>
                  </a:cubicBezTo>
                  <a:cubicBezTo>
                    <a:pt x="5156" y="67"/>
                    <a:pt x="5041" y="81"/>
                    <a:pt x="4929" y="94"/>
                  </a:cubicBezTo>
                  <a:cubicBezTo>
                    <a:pt x="4706" y="119"/>
                    <a:pt x="4498" y="143"/>
                    <a:pt x="4320" y="164"/>
                  </a:cubicBezTo>
                  <a:cubicBezTo>
                    <a:pt x="3963" y="205"/>
                    <a:pt x="3725" y="233"/>
                    <a:pt x="3725" y="233"/>
                  </a:cubicBezTo>
                  <a:cubicBezTo>
                    <a:pt x="3174" y="297"/>
                    <a:pt x="3174" y="297"/>
                    <a:pt x="3174" y="297"/>
                  </a:cubicBezTo>
                  <a:cubicBezTo>
                    <a:pt x="2278" y="400"/>
                    <a:pt x="2278" y="400"/>
                    <a:pt x="2278" y="400"/>
                  </a:cubicBezTo>
                  <a:cubicBezTo>
                    <a:pt x="2011" y="431"/>
                    <a:pt x="1721" y="459"/>
                    <a:pt x="1413" y="482"/>
                  </a:cubicBezTo>
                  <a:cubicBezTo>
                    <a:pt x="1320" y="489"/>
                    <a:pt x="1212" y="504"/>
                    <a:pt x="1105" y="554"/>
                  </a:cubicBezTo>
                  <a:cubicBezTo>
                    <a:pt x="999" y="602"/>
                    <a:pt x="897" y="691"/>
                    <a:pt x="840" y="795"/>
                  </a:cubicBezTo>
                  <a:cubicBezTo>
                    <a:pt x="725" y="1003"/>
                    <a:pt x="742" y="1216"/>
                    <a:pt x="750" y="1380"/>
                  </a:cubicBezTo>
                  <a:cubicBezTo>
                    <a:pt x="782" y="2060"/>
                    <a:pt x="799" y="2795"/>
                    <a:pt x="799" y="3552"/>
                  </a:cubicBezTo>
                  <a:cubicBezTo>
                    <a:pt x="799" y="5067"/>
                    <a:pt x="731" y="6491"/>
                    <a:pt x="607" y="7562"/>
                  </a:cubicBezTo>
                  <a:cubicBezTo>
                    <a:pt x="9" y="12737"/>
                    <a:pt x="9" y="12737"/>
                    <a:pt x="9" y="12737"/>
                  </a:cubicBezTo>
                  <a:cubicBezTo>
                    <a:pt x="0" y="12815"/>
                    <a:pt x="0" y="12815"/>
                    <a:pt x="0" y="12815"/>
                  </a:cubicBezTo>
                  <a:cubicBezTo>
                    <a:pt x="0" y="13534"/>
                    <a:pt x="0" y="13534"/>
                    <a:pt x="0" y="13534"/>
                  </a:cubicBezTo>
                  <a:cubicBezTo>
                    <a:pt x="0" y="13534"/>
                    <a:pt x="0" y="15859"/>
                    <a:pt x="0" y="18184"/>
                  </a:cubicBezTo>
                  <a:cubicBezTo>
                    <a:pt x="0" y="18293"/>
                    <a:pt x="0" y="18293"/>
                    <a:pt x="0" y="18293"/>
                  </a:cubicBezTo>
                  <a:cubicBezTo>
                    <a:pt x="1" y="18417"/>
                    <a:pt x="1" y="18417"/>
                    <a:pt x="1" y="18417"/>
                  </a:cubicBezTo>
                  <a:cubicBezTo>
                    <a:pt x="2" y="18502"/>
                    <a:pt x="5" y="18589"/>
                    <a:pt x="11" y="18675"/>
                  </a:cubicBezTo>
                  <a:cubicBezTo>
                    <a:pt x="20" y="18847"/>
                    <a:pt x="41" y="19022"/>
                    <a:pt x="68" y="19196"/>
                  </a:cubicBezTo>
                  <a:cubicBezTo>
                    <a:pt x="127" y="19544"/>
                    <a:pt x="221" y="19894"/>
                    <a:pt x="367" y="20222"/>
                  </a:cubicBezTo>
                  <a:cubicBezTo>
                    <a:pt x="438" y="20386"/>
                    <a:pt x="524" y="20543"/>
                    <a:pt x="615" y="20692"/>
                  </a:cubicBezTo>
                  <a:cubicBezTo>
                    <a:pt x="663" y="20766"/>
                    <a:pt x="710" y="20839"/>
                    <a:pt x="761" y="20908"/>
                  </a:cubicBezTo>
                  <a:cubicBezTo>
                    <a:pt x="787" y="20942"/>
                    <a:pt x="813" y="20976"/>
                    <a:pt x="838" y="21010"/>
                  </a:cubicBezTo>
                  <a:cubicBezTo>
                    <a:pt x="862" y="21042"/>
                    <a:pt x="897" y="21082"/>
                    <a:pt x="926" y="21117"/>
                  </a:cubicBezTo>
                  <a:cubicBezTo>
                    <a:pt x="972" y="21170"/>
                    <a:pt x="972" y="21170"/>
                    <a:pt x="972" y="21170"/>
                  </a:cubicBezTo>
                  <a:cubicBezTo>
                    <a:pt x="986" y="21186"/>
                    <a:pt x="1005" y="21209"/>
                    <a:pt x="1014" y="21217"/>
                  </a:cubicBezTo>
                  <a:cubicBezTo>
                    <a:pt x="1035" y="21239"/>
                    <a:pt x="1056" y="21261"/>
                    <a:pt x="1077" y="21283"/>
                  </a:cubicBezTo>
                  <a:cubicBezTo>
                    <a:pt x="1108" y="21316"/>
                    <a:pt x="1108" y="21316"/>
                    <a:pt x="1108" y="21316"/>
                  </a:cubicBezTo>
                  <a:cubicBezTo>
                    <a:pt x="1131" y="21340"/>
                    <a:pt x="1131" y="21340"/>
                    <a:pt x="1131" y="21340"/>
                  </a:cubicBezTo>
                  <a:cubicBezTo>
                    <a:pt x="1136" y="21345"/>
                    <a:pt x="1136" y="21345"/>
                    <a:pt x="1136" y="21345"/>
                  </a:cubicBezTo>
                  <a:cubicBezTo>
                    <a:pt x="1147" y="21355"/>
                    <a:pt x="1147" y="21355"/>
                    <a:pt x="1147" y="21355"/>
                  </a:cubicBezTo>
                  <a:cubicBezTo>
                    <a:pt x="1169" y="21376"/>
                    <a:pt x="1169" y="21376"/>
                    <a:pt x="1169" y="21376"/>
                  </a:cubicBezTo>
                  <a:cubicBezTo>
                    <a:pt x="1198" y="21403"/>
                    <a:pt x="1227" y="21430"/>
                    <a:pt x="1255" y="21457"/>
                  </a:cubicBezTo>
                  <a:cubicBezTo>
                    <a:pt x="1313" y="21510"/>
                    <a:pt x="1373" y="21559"/>
                    <a:pt x="1432" y="21608"/>
                  </a:cubicBezTo>
                  <a:cubicBezTo>
                    <a:pt x="1492" y="21653"/>
                    <a:pt x="1551" y="21700"/>
                    <a:pt x="1611" y="21741"/>
                  </a:cubicBezTo>
                  <a:cubicBezTo>
                    <a:pt x="1851" y="21908"/>
                    <a:pt x="2088" y="22031"/>
                    <a:pt x="2302" y="22121"/>
                  </a:cubicBezTo>
                  <a:cubicBezTo>
                    <a:pt x="2516" y="22210"/>
                    <a:pt x="2706" y="22266"/>
                    <a:pt x="2862" y="22308"/>
                  </a:cubicBezTo>
                  <a:cubicBezTo>
                    <a:pt x="2940" y="22328"/>
                    <a:pt x="3009" y="22343"/>
                    <a:pt x="3070" y="22356"/>
                  </a:cubicBezTo>
                  <a:cubicBezTo>
                    <a:pt x="3130" y="22368"/>
                    <a:pt x="3181" y="22377"/>
                    <a:pt x="3223" y="22385"/>
                  </a:cubicBezTo>
                  <a:cubicBezTo>
                    <a:pt x="3265" y="22393"/>
                    <a:pt x="3297" y="22398"/>
                    <a:pt x="3318" y="22400"/>
                  </a:cubicBezTo>
                  <a:cubicBezTo>
                    <a:pt x="3339" y="22403"/>
                    <a:pt x="3350" y="22405"/>
                    <a:pt x="3350" y="22405"/>
                  </a:cubicBezTo>
                  <a:cubicBezTo>
                    <a:pt x="3122" y="22326"/>
                    <a:pt x="2954" y="22238"/>
                    <a:pt x="2848" y="22158"/>
                  </a:cubicBezTo>
                  <a:cubicBezTo>
                    <a:pt x="2743" y="22079"/>
                    <a:pt x="2700" y="22012"/>
                    <a:pt x="2715" y="21962"/>
                  </a:cubicBezTo>
                  <a:cubicBezTo>
                    <a:pt x="2715" y="21961"/>
                    <a:pt x="2715" y="21961"/>
                    <a:pt x="2715" y="21961"/>
                  </a:cubicBezTo>
                  <a:cubicBezTo>
                    <a:pt x="2727" y="21924"/>
                    <a:pt x="2771" y="21901"/>
                    <a:pt x="2842" y="21882"/>
                  </a:cubicBezTo>
                  <a:cubicBezTo>
                    <a:pt x="2970" y="21851"/>
                    <a:pt x="3187" y="21843"/>
                    <a:pt x="3478" y="21823"/>
                  </a:cubicBezTo>
                  <a:cubicBezTo>
                    <a:pt x="3551" y="21819"/>
                    <a:pt x="3628" y="21811"/>
                    <a:pt x="3710" y="21805"/>
                  </a:cubicBezTo>
                  <a:cubicBezTo>
                    <a:pt x="3791" y="21798"/>
                    <a:pt x="3883" y="21788"/>
                    <a:pt x="3971" y="21778"/>
                  </a:cubicBezTo>
                  <a:cubicBezTo>
                    <a:pt x="4063" y="21766"/>
                    <a:pt x="4155" y="21754"/>
                    <a:pt x="4248" y="21742"/>
                  </a:cubicBezTo>
                  <a:cubicBezTo>
                    <a:pt x="4347" y="21729"/>
                    <a:pt x="4447" y="21717"/>
                    <a:pt x="4548" y="21704"/>
                  </a:cubicBezTo>
                  <a:cubicBezTo>
                    <a:pt x="4548" y="21704"/>
                    <a:pt x="4976" y="21655"/>
                    <a:pt x="5618" y="21581"/>
                  </a:cubicBezTo>
                  <a:cubicBezTo>
                    <a:pt x="5778" y="21562"/>
                    <a:pt x="5952" y="21542"/>
                    <a:pt x="6136" y="21521"/>
                  </a:cubicBezTo>
                  <a:cubicBezTo>
                    <a:pt x="6225" y="21511"/>
                    <a:pt x="6313" y="21485"/>
                    <a:pt x="6380" y="21436"/>
                  </a:cubicBezTo>
                  <a:cubicBezTo>
                    <a:pt x="6447" y="21386"/>
                    <a:pt x="6487" y="21314"/>
                    <a:pt x="6504" y="21232"/>
                  </a:cubicBezTo>
                  <a:cubicBezTo>
                    <a:pt x="6513" y="21191"/>
                    <a:pt x="6516" y="21146"/>
                    <a:pt x="6516" y="21102"/>
                  </a:cubicBezTo>
                  <a:cubicBezTo>
                    <a:pt x="6516" y="21079"/>
                    <a:pt x="6515" y="21059"/>
                    <a:pt x="6514" y="21036"/>
                  </a:cubicBezTo>
                  <a:cubicBezTo>
                    <a:pt x="6511" y="21012"/>
                    <a:pt x="6510" y="20981"/>
                    <a:pt x="6507" y="20963"/>
                  </a:cubicBezTo>
                  <a:cubicBezTo>
                    <a:pt x="6495" y="20860"/>
                    <a:pt x="6483" y="20755"/>
                    <a:pt x="6470" y="20650"/>
                  </a:cubicBezTo>
                  <a:cubicBezTo>
                    <a:pt x="6446" y="20439"/>
                    <a:pt x="6421" y="20226"/>
                    <a:pt x="6397" y="20012"/>
                  </a:cubicBezTo>
                  <a:cubicBezTo>
                    <a:pt x="6199" y="18301"/>
                    <a:pt x="6001" y="16590"/>
                    <a:pt x="6001" y="16590"/>
                  </a:cubicBezTo>
                  <a:cubicBezTo>
                    <a:pt x="5970" y="16322"/>
                    <a:pt x="5942" y="16032"/>
                    <a:pt x="5919" y="15725"/>
                  </a:cubicBezTo>
                  <a:cubicBezTo>
                    <a:pt x="5907" y="15571"/>
                    <a:pt x="5896" y="15412"/>
                    <a:pt x="5886" y="15250"/>
                  </a:cubicBezTo>
                  <a:cubicBezTo>
                    <a:pt x="5881" y="15168"/>
                    <a:pt x="5876" y="15086"/>
                    <a:pt x="5871" y="15003"/>
                  </a:cubicBezTo>
                  <a:cubicBezTo>
                    <a:pt x="5865" y="14877"/>
                    <a:pt x="5865" y="14877"/>
                    <a:pt x="5865" y="14877"/>
                  </a:cubicBezTo>
                  <a:cubicBezTo>
                    <a:pt x="5861" y="14726"/>
                    <a:pt x="5861" y="14726"/>
                    <a:pt x="5861" y="14726"/>
                  </a:cubicBezTo>
                  <a:cubicBezTo>
                    <a:pt x="5860" y="14524"/>
                    <a:pt x="5872" y="14314"/>
                    <a:pt x="5902" y="14099"/>
                  </a:cubicBezTo>
                  <a:cubicBezTo>
                    <a:pt x="5933" y="13883"/>
                    <a:pt x="5984" y="13662"/>
                    <a:pt x="6058" y="13443"/>
                  </a:cubicBezTo>
                  <a:cubicBezTo>
                    <a:pt x="6132" y="13223"/>
                    <a:pt x="6230" y="13004"/>
                    <a:pt x="6351" y="12796"/>
                  </a:cubicBezTo>
                  <a:cubicBezTo>
                    <a:pt x="6412" y="12692"/>
                    <a:pt x="6479" y="12591"/>
                    <a:pt x="6550" y="12493"/>
                  </a:cubicBezTo>
                  <a:cubicBezTo>
                    <a:pt x="6588" y="12444"/>
                    <a:pt x="6619" y="12399"/>
                    <a:pt x="6665" y="12345"/>
                  </a:cubicBezTo>
                  <a:cubicBezTo>
                    <a:pt x="6730" y="12268"/>
                    <a:pt x="6730" y="12268"/>
                    <a:pt x="6730" y="12268"/>
                  </a:cubicBezTo>
                  <a:cubicBezTo>
                    <a:pt x="6763" y="12230"/>
                    <a:pt x="6763" y="12230"/>
                    <a:pt x="6763" y="12230"/>
                  </a:cubicBezTo>
                  <a:cubicBezTo>
                    <a:pt x="6788" y="12203"/>
                    <a:pt x="6788" y="12203"/>
                    <a:pt x="6788" y="12203"/>
                  </a:cubicBezTo>
                  <a:cubicBezTo>
                    <a:pt x="6845" y="12142"/>
                    <a:pt x="6845" y="12142"/>
                    <a:pt x="6845" y="12142"/>
                  </a:cubicBezTo>
                  <a:cubicBezTo>
                    <a:pt x="6888" y="12096"/>
                    <a:pt x="6888" y="12096"/>
                    <a:pt x="6888" y="12096"/>
                  </a:cubicBezTo>
                  <a:cubicBezTo>
                    <a:pt x="6926" y="12059"/>
                    <a:pt x="6926" y="12059"/>
                    <a:pt x="6926" y="12059"/>
                  </a:cubicBezTo>
                  <a:cubicBezTo>
                    <a:pt x="6977" y="12009"/>
                    <a:pt x="7027" y="11960"/>
                    <a:pt x="7082" y="11914"/>
                  </a:cubicBezTo>
                  <a:cubicBezTo>
                    <a:pt x="7265" y="11758"/>
                    <a:pt x="7492" y="11601"/>
                    <a:pt x="7761" y="11469"/>
                  </a:cubicBezTo>
                  <a:cubicBezTo>
                    <a:pt x="8030" y="11335"/>
                    <a:pt x="8341" y="11235"/>
                    <a:pt x="8670" y="11176"/>
                  </a:cubicBezTo>
                  <a:cubicBezTo>
                    <a:pt x="8835" y="11150"/>
                    <a:pt x="9005" y="11129"/>
                    <a:pt x="9176" y="11125"/>
                  </a:cubicBezTo>
                  <a:cubicBezTo>
                    <a:pt x="9258" y="11120"/>
                    <a:pt x="9360" y="11122"/>
                    <a:pt x="9448" y="11123"/>
                  </a:cubicBezTo>
                  <a:cubicBezTo>
                    <a:pt x="9484" y="11125"/>
                    <a:pt x="9520" y="11127"/>
                    <a:pt x="9557" y="11130"/>
                  </a:cubicBezTo>
                  <a:cubicBezTo>
                    <a:pt x="9585" y="11131"/>
                    <a:pt x="9585" y="11131"/>
                    <a:pt x="9585" y="11131"/>
                  </a:cubicBezTo>
                  <a:cubicBezTo>
                    <a:pt x="9599" y="11132"/>
                    <a:pt x="9599" y="11132"/>
                    <a:pt x="9599" y="11132"/>
                  </a:cubicBezTo>
                  <a:cubicBezTo>
                    <a:pt x="9602" y="11132"/>
                    <a:pt x="9602" y="11132"/>
                    <a:pt x="9602" y="11132"/>
                  </a:cubicBezTo>
                  <a:cubicBezTo>
                    <a:pt x="9617" y="11132"/>
                    <a:pt x="9617" y="11132"/>
                    <a:pt x="9617" y="11132"/>
                  </a:cubicBezTo>
                  <a:cubicBezTo>
                    <a:pt x="9618" y="11132"/>
                    <a:pt x="9618" y="11132"/>
                    <a:pt x="9618" y="11132"/>
                  </a:cubicBezTo>
                  <a:cubicBezTo>
                    <a:pt x="9620" y="11133"/>
                    <a:pt x="9620" y="11133"/>
                    <a:pt x="9620" y="11133"/>
                  </a:cubicBezTo>
                  <a:cubicBezTo>
                    <a:pt x="9628" y="11133"/>
                    <a:pt x="9628" y="11133"/>
                    <a:pt x="9628" y="11133"/>
                  </a:cubicBezTo>
                  <a:cubicBezTo>
                    <a:pt x="9692" y="11139"/>
                    <a:pt x="9692" y="11139"/>
                    <a:pt x="9692" y="11139"/>
                  </a:cubicBezTo>
                  <a:cubicBezTo>
                    <a:pt x="10034" y="11168"/>
                    <a:pt x="10387" y="11236"/>
                    <a:pt x="10734" y="11345"/>
                  </a:cubicBezTo>
                  <a:cubicBezTo>
                    <a:pt x="10999" y="11428"/>
                    <a:pt x="11260" y="11535"/>
                    <a:pt x="11513" y="11662"/>
                  </a:cubicBezTo>
                  <a:cubicBezTo>
                    <a:pt x="11764" y="11791"/>
                    <a:pt x="11996" y="11933"/>
                    <a:pt x="12226" y="12083"/>
                  </a:cubicBezTo>
                  <a:cubicBezTo>
                    <a:pt x="12375" y="12182"/>
                    <a:pt x="12521" y="12285"/>
                    <a:pt x="12665" y="12392"/>
                  </a:cubicBezTo>
                  <a:cubicBezTo>
                    <a:pt x="12803" y="12495"/>
                    <a:pt x="12939" y="12602"/>
                    <a:pt x="13071" y="12713"/>
                  </a:cubicBezTo>
                  <a:cubicBezTo>
                    <a:pt x="13251" y="12862"/>
                    <a:pt x="13425" y="13020"/>
                    <a:pt x="13590" y="13178"/>
                  </a:cubicBezTo>
                  <a:cubicBezTo>
                    <a:pt x="14104" y="13669"/>
                    <a:pt x="14578" y="14186"/>
                    <a:pt x="14997" y="14697"/>
                  </a:cubicBezTo>
                  <a:cubicBezTo>
                    <a:pt x="15390" y="15179"/>
                    <a:pt x="15772" y="15630"/>
                    <a:pt x="16127" y="16033"/>
                  </a:cubicBezTo>
                  <a:cubicBezTo>
                    <a:pt x="16481" y="16431"/>
                    <a:pt x="16793" y="16798"/>
                    <a:pt x="17055" y="17099"/>
                  </a:cubicBezTo>
                  <a:cubicBezTo>
                    <a:pt x="17072" y="17123"/>
                    <a:pt x="17072" y="17123"/>
                    <a:pt x="17072" y="17123"/>
                  </a:cubicBezTo>
                  <a:cubicBezTo>
                    <a:pt x="17331" y="17421"/>
                    <a:pt x="17581" y="17709"/>
                    <a:pt x="17798" y="17959"/>
                  </a:cubicBezTo>
                  <a:cubicBezTo>
                    <a:pt x="17806" y="17968"/>
                    <a:pt x="17814" y="17977"/>
                    <a:pt x="17822" y="17987"/>
                  </a:cubicBezTo>
                  <a:cubicBezTo>
                    <a:pt x="17822" y="17987"/>
                    <a:pt x="18056" y="18256"/>
                    <a:pt x="18301" y="18518"/>
                  </a:cubicBezTo>
                  <a:cubicBezTo>
                    <a:pt x="18544" y="18781"/>
                    <a:pt x="18799" y="19036"/>
                    <a:pt x="18799" y="19036"/>
                  </a:cubicBezTo>
                  <a:cubicBezTo>
                    <a:pt x="18799" y="19036"/>
                    <a:pt x="18847" y="19084"/>
                    <a:pt x="18918" y="19156"/>
                  </a:cubicBezTo>
                  <a:cubicBezTo>
                    <a:pt x="18991" y="19226"/>
                    <a:pt x="19088" y="19320"/>
                    <a:pt x="19185" y="19415"/>
                  </a:cubicBezTo>
                  <a:cubicBezTo>
                    <a:pt x="19286" y="19511"/>
                    <a:pt x="19391" y="19605"/>
                    <a:pt x="19471" y="19676"/>
                  </a:cubicBezTo>
                  <a:cubicBezTo>
                    <a:pt x="19551" y="19745"/>
                    <a:pt x="19605" y="19791"/>
                    <a:pt x="19605" y="19791"/>
                  </a:cubicBezTo>
                  <a:cubicBezTo>
                    <a:pt x="19605" y="19791"/>
                    <a:pt x="19921" y="20061"/>
                    <a:pt x="20274" y="20302"/>
                  </a:cubicBezTo>
                  <a:cubicBezTo>
                    <a:pt x="20363" y="20362"/>
                    <a:pt x="20452" y="20421"/>
                    <a:pt x="20538" y="20475"/>
                  </a:cubicBezTo>
                  <a:cubicBezTo>
                    <a:pt x="20623" y="20526"/>
                    <a:pt x="20702" y="20574"/>
                    <a:pt x="20770" y="20615"/>
                  </a:cubicBezTo>
                  <a:cubicBezTo>
                    <a:pt x="20810" y="20637"/>
                    <a:pt x="20846" y="20657"/>
                    <a:pt x="20879" y="20675"/>
                  </a:cubicBezTo>
                  <a:cubicBezTo>
                    <a:pt x="20910" y="20691"/>
                    <a:pt x="20938" y="20706"/>
                    <a:pt x="20961" y="20717"/>
                  </a:cubicBezTo>
                  <a:cubicBezTo>
                    <a:pt x="21007" y="20740"/>
                    <a:pt x="21033" y="20754"/>
                    <a:pt x="21033" y="20754"/>
                  </a:cubicBezTo>
                  <a:cubicBezTo>
                    <a:pt x="21033" y="20754"/>
                    <a:pt x="21110" y="20784"/>
                    <a:pt x="21189" y="20810"/>
                  </a:cubicBezTo>
                  <a:cubicBezTo>
                    <a:pt x="21267" y="20838"/>
                    <a:pt x="21347" y="20861"/>
                    <a:pt x="21347" y="20861"/>
                  </a:cubicBezTo>
                  <a:cubicBezTo>
                    <a:pt x="21347" y="20861"/>
                    <a:pt x="21408" y="20879"/>
                    <a:pt x="21499" y="20905"/>
                  </a:cubicBezTo>
                  <a:cubicBezTo>
                    <a:pt x="21591" y="20929"/>
                    <a:pt x="21714" y="20960"/>
                    <a:pt x="21838" y="20983"/>
                  </a:cubicBezTo>
                  <a:cubicBezTo>
                    <a:pt x="22087" y="21032"/>
                    <a:pt x="22338" y="21052"/>
                    <a:pt x="22338" y="21052"/>
                  </a:cubicBezTo>
                  <a:cubicBezTo>
                    <a:pt x="22338" y="21052"/>
                    <a:pt x="22208" y="21029"/>
                    <a:pt x="22081" y="20998"/>
                  </a:cubicBezTo>
                  <a:cubicBezTo>
                    <a:pt x="21953" y="20968"/>
                    <a:pt x="21828" y="20930"/>
                    <a:pt x="21828" y="20930"/>
                  </a:cubicBezTo>
                  <a:cubicBezTo>
                    <a:pt x="21828" y="20930"/>
                    <a:pt x="21737" y="20905"/>
                    <a:pt x="21605" y="20858"/>
                  </a:cubicBezTo>
                  <a:cubicBezTo>
                    <a:pt x="21473" y="20812"/>
                    <a:pt x="21299" y="20743"/>
                    <a:pt x="21133" y="20663"/>
                  </a:cubicBezTo>
                  <a:cubicBezTo>
                    <a:pt x="20969" y="20585"/>
                    <a:pt x="20800" y="20489"/>
                    <a:pt x="20704" y="20429"/>
                  </a:cubicBezTo>
                  <a:cubicBezTo>
                    <a:pt x="20645" y="20394"/>
                    <a:pt x="20599" y="20365"/>
                    <a:pt x="20569" y="20346"/>
                  </a:cubicBezTo>
                  <a:cubicBezTo>
                    <a:pt x="20537" y="20326"/>
                    <a:pt x="20519" y="20314"/>
                    <a:pt x="20519" y="20314"/>
                  </a:cubicBezTo>
                  <a:cubicBezTo>
                    <a:pt x="20122" y="20056"/>
                    <a:pt x="19861" y="19816"/>
                    <a:pt x="19709" y="19638"/>
                  </a:cubicBezTo>
                  <a:cubicBezTo>
                    <a:pt x="19573" y="19478"/>
                    <a:pt x="19525" y="19366"/>
                    <a:pt x="19562" y="19316"/>
                  </a:cubicBezTo>
                  <a:cubicBezTo>
                    <a:pt x="19599" y="19265"/>
                    <a:pt x="19717" y="19278"/>
                    <a:pt x="19910" y="19341"/>
                  </a:cubicBezTo>
                  <a:cubicBezTo>
                    <a:pt x="20072" y="19393"/>
                    <a:pt x="20286" y="19479"/>
                    <a:pt x="20554" y="19583"/>
                  </a:cubicBezTo>
                  <a:cubicBezTo>
                    <a:pt x="20646" y="19619"/>
                    <a:pt x="20740" y="19654"/>
                    <a:pt x="20835" y="19691"/>
                  </a:cubicBezTo>
                  <a:cubicBezTo>
                    <a:pt x="20835" y="19691"/>
                    <a:pt x="20910" y="19719"/>
                    <a:pt x="21041" y="19763"/>
                  </a:cubicBezTo>
                  <a:cubicBezTo>
                    <a:pt x="21173" y="19807"/>
                    <a:pt x="21362" y="19866"/>
                    <a:pt x="21592" y="19910"/>
                  </a:cubicBezTo>
                  <a:cubicBezTo>
                    <a:pt x="21821" y="19954"/>
                    <a:pt x="22091" y="19983"/>
                    <a:pt x="22377" y="19977"/>
                  </a:cubicBezTo>
                  <a:cubicBezTo>
                    <a:pt x="22661" y="19971"/>
                    <a:pt x="22965" y="19932"/>
                    <a:pt x="23251" y="19860"/>
                  </a:cubicBezTo>
                  <a:cubicBezTo>
                    <a:pt x="23539" y="19788"/>
                    <a:pt x="23811" y="19679"/>
                    <a:pt x="24049" y="19553"/>
                  </a:cubicBezTo>
                  <a:cubicBezTo>
                    <a:pt x="24109" y="19521"/>
                    <a:pt x="24157" y="19493"/>
                    <a:pt x="24224" y="19455"/>
                  </a:cubicBezTo>
                  <a:cubicBezTo>
                    <a:pt x="24276" y="19423"/>
                    <a:pt x="24336" y="19386"/>
                    <a:pt x="24388" y="19352"/>
                  </a:cubicBezTo>
                  <a:cubicBezTo>
                    <a:pt x="24496" y="19283"/>
                    <a:pt x="24595" y="19215"/>
                    <a:pt x="24685" y="19150"/>
                  </a:cubicBezTo>
                  <a:cubicBezTo>
                    <a:pt x="24866" y="19019"/>
                    <a:pt x="25010" y="18902"/>
                    <a:pt x="25110" y="18819"/>
                  </a:cubicBezTo>
                  <a:cubicBezTo>
                    <a:pt x="25209" y="18735"/>
                    <a:pt x="25265" y="18685"/>
                    <a:pt x="25265" y="18685"/>
                  </a:cubicBezTo>
                  <a:cubicBezTo>
                    <a:pt x="25466" y="18508"/>
                    <a:pt x="25689" y="18301"/>
                    <a:pt x="25937" y="18075"/>
                  </a:cubicBezTo>
                  <a:cubicBezTo>
                    <a:pt x="26184" y="17849"/>
                    <a:pt x="26446" y="17606"/>
                    <a:pt x="26718" y="17351"/>
                  </a:cubicBezTo>
                  <a:cubicBezTo>
                    <a:pt x="26833" y="17244"/>
                    <a:pt x="26947" y="17136"/>
                    <a:pt x="27063" y="17027"/>
                  </a:cubicBezTo>
                  <a:cubicBezTo>
                    <a:pt x="27183" y="16916"/>
                    <a:pt x="27304" y="16804"/>
                    <a:pt x="27427" y="16691"/>
                  </a:cubicBezTo>
                  <a:cubicBezTo>
                    <a:pt x="27638" y="16499"/>
                    <a:pt x="27848" y="16312"/>
                    <a:pt x="28054" y="16133"/>
                  </a:cubicBezTo>
                  <a:cubicBezTo>
                    <a:pt x="28157" y="16044"/>
                    <a:pt x="28260" y="15956"/>
                    <a:pt x="28362" y="15869"/>
                  </a:cubicBezTo>
                  <a:cubicBezTo>
                    <a:pt x="28465" y="15782"/>
                    <a:pt x="28567" y="15696"/>
                    <a:pt x="28670" y="15610"/>
                  </a:cubicBezTo>
                  <a:cubicBezTo>
                    <a:pt x="29062" y="15297"/>
                    <a:pt x="29426" y="15009"/>
                    <a:pt x="29747" y="14768"/>
                  </a:cubicBezTo>
                  <a:cubicBezTo>
                    <a:pt x="29747" y="14768"/>
                    <a:pt x="29810" y="14721"/>
                    <a:pt x="29919" y="14639"/>
                  </a:cubicBezTo>
                  <a:cubicBezTo>
                    <a:pt x="30030" y="14554"/>
                    <a:pt x="30187" y="14434"/>
                    <a:pt x="30376" y="14289"/>
                  </a:cubicBezTo>
                  <a:cubicBezTo>
                    <a:pt x="30764" y="13993"/>
                    <a:pt x="31295" y="13619"/>
                    <a:pt x="31843" y="13282"/>
                  </a:cubicBezTo>
                  <a:cubicBezTo>
                    <a:pt x="31912" y="13240"/>
                    <a:pt x="31980" y="13199"/>
                    <a:pt x="32049" y="13157"/>
                  </a:cubicBezTo>
                  <a:cubicBezTo>
                    <a:pt x="32119" y="13116"/>
                    <a:pt x="32187" y="13075"/>
                    <a:pt x="32257" y="13036"/>
                  </a:cubicBezTo>
                  <a:cubicBezTo>
                    <a:pt x="32396" y="12957"/>
                    <a:pt x="32533" y="12883"/>
                    <a:pt x="32668" y="12814"/>
                  </a:cubicBezTo>
                  <a:cubicBezTo>
                    <a:pt x="32938" y="12677"/>
                    <a:pt x="33194" y="12563"/>
                    <a:pt x="33416" y="12473"/>
                  </a:cubicBezTo>
                  <a:cubicBezTo>
                    <a:pt x="33861" y="12294"/>
                    <a:pt x="34166" y="12209"/>
                    <a:pt x="34166" y="12209"/>
                  </a:cubicBezTo>
                  <a:cubicBezTo>
                    <a:pt x="34555" y="12097"/>
                    <a:pt x="34868" y="12075"/>
                    <a:pt x="35079" y="12092"/>
                  </a:cubicBezTo>
                  <a:cubicBezTo>
                    <a:pt x="35290" y="12110"/>
                    <a:pt x="35401" y="12164"/>
                    <a:pt x="35409" y="12229"/>
                  </a:cubicBezTo>
                  <a:cubicBezTo>
                    <a:pt x="35416" y="12288"/>
                    <a:pt x="35342" y="12354"/>
                    <a:pt x="35205" y="12434"/>
                  </a:cubicBezTo>
                  <a:cubicBezTo>
                    <a:pt x="35067" y="12515"/>
                    <a:pt x="34865" y="12613"/>
                    <a:pt x="34616" y="12751"/>
                  </a:cubicBezTo>
                  <a:cubicBezTo>
                    <a:pt x="34559" y="12783"/>
                    <a:pt x="34499" y="12817"/>
                    <a:pt x="34437" y="12854"/>
                  </a:cubicBezTo>
                  <a:cubicBezTo>
                    <a:pt x="34437" y="12854"/>
                    <a:pt x="34418" y="12865"/>
                    <a:pt x="34385" y="12885"/>
                  </a:cubicBezTo>
                  <a:cubicBezTo>
                    <a:pt x="34351" y="12906"/>
                    <a:pt x="34302" y="12937"/>
                    <a:pt x="34243" y="12973"/>
                  </a:cubicBezTo>
                  <a:cubicBezTo>
                    <a:pt x="34208" y="12994"/>
                    <a:pt x="34182" y="13012"/>
                    <a:pt x="34149" y="13034"/>
                  </a:cubicBezTo>
                  <a:cubicBezTo>
                    <a:pt x="34116" y="13056"/>
                    <a:pt x="34081" y="13079"/>
                    <a:pt x="34045" y="13102"/>
                  </a:cubicBezTo>
                  <a:cubicBezTo>
                    <a:pt x="33973" y="13151"/>
                    <a:pt x="33897" y="13205"/>
                    <a:pt x="33821" y="13259"/>
                  </a:cubicBezTo>
                  <a:cubicBezTo>
                    <a:pt x="33520" y="13475"/>
                    <a:pt x="33242" y="13719"/>
                    <a:pt x="33242" y="13719"/>
                  </a:cubicBezTo>
                  <a:cubicBezTo>
                    <a:pt x="33219" y="13739"/>
                    <a:pt x="33219" y="13739"/>
                    <a:pt x="33219" y="13739"/>
                  </a:cubicBezTo>
                  <a:cubicBezTo>
                    <a:pt x="33269" y="13705"/>
                    <a:pt x="33269" y="13705"/>
                    <a:pt x="33269" y="13705"/>
                  </a:cubicBezTo>
                  <a:cubicBezTo>
                    <a:pt x="33269" y="13705"/>
                    <a:pt x="33460" y="13578"/>
                    <a:pt x="33657" y="13464"/>
                  </a:cubicBezTo>
                  <a:cubicBezTo>
                    <a:pt x="33854" y="13348"/>
                    <a:pt x="34057" y="13244"/>
                    <a:pt x="34057" y="13244"/>
                  </a:cubicBezTo>
                  <a:cubicBezTo>
                    <a:pt x="34227" y="13130"/>
                    <a:pt x="34227" y="13130"/>
                    <a:pt x="34227" y="13130"/>
                  </a:cubicBezTo>
                  <a:cubicBezTo>
                    <a:pt x="34267" y="13102"/>
                    <a:pt x="34346" y="13057"/>
                    <a:pt x="34388" y="13030"/>
                  </a:cubicBezTo>
                  <a:cubicBezTo>
                    <a:pt x="34438" y="12999"/>
                    <a:pt x="34489" y="12970"/>
                    <a:pt x="34542" y="12941"/>
                  </a:cubicBezTo>
                  <a:cubicBezTo>
                    <a:pt x="34648" y="12884"/>
                    <a:pt x="34761" y="12830"/>
                    <a:pt x="34880" y="12782"/>
                  </a:cubicBezTo>
                  <a:cubicBezTo>
                    <a:pt x="35117" y="12686"/>
                    <a:pt x="35379" y="12614"/>
                    <a:pt x="35659" y="12577"/>
                  </a:cubicBezTo>
                  <a:cubicBezTo>
                    <a:pt x="35694" y="12572"/>
                    <a:pt x="35731" y="12567"/>
                    <a:pt x="35762" y="12565"/>
                  </a:cubicBezTo>
                  <a:cubicBezTo>
                    <a:pt x="35810" y="12560"/>
                    <a:pt x="35810" y="12560"/>
                    <a:pt x="35810" y="12560"/>
                  </a:cubicBezTo>
                  <a:cubicBezTo>
                    <a:pt x="35825" y="12558"/>
                    <a:pt x="35851" y="12557"/>
                    <a:pt x="35871" y="12556"/>
                  </a:cubicBezTo>
                  <a:cubicBezTo>
                    <a:pt x="35936" y="12552"/>
                    <a:pt x="35936" y="12552"/>
                    <a:pt x="35936" y="12552"/>
                  </a:cubicBezTo>
                  <a:cubicBezTo>
                    <a:pt x="35941" y="12552"/>
                    <a:pt x="35941" y="12552"/>
                    <a:pt x="35941" y="12552"/>
                  </a:cubicBezTo>
                  <a:cubicBezTo>
                    <a:pt x="35943" y="12552"/>
                    <a:pt x="35943" y="12552"/>
                    <a:pt x="35943" y="12552"/>
                  </a:cubicBezTo>
                  <a:cubicBezTo>
                    <a:pt x="35923" y="12552"/>
                    <a:pt x="35938" y="12552"/>
                    <a:pt x="35933" y="12552"/>
                  </a:cubicBezTo>
                  <a:cubicBezTo>
                    <a:pt x="35934" y="12552"/>
                    <a:pt x="35934" y="12552"/>
                    <a:pt x="35934" y="12552"/>
                  </a:cubicBezTo>
                  <a:cubicBezTo>
                    <a:pt x="35941" y="12552"/>
                    <a:pt x="35941" y="12552"/>
                    <a:pt x="35941" y="12552"/>
                  </a:cubicBezTo>
                  <a:cubicBezTo>
                    <a:pt x="35954" y="12551"/>
                    <a:pt x="35954" y="12551"/>
                    <a:pt x="35954" y="12551"/>
                  </a:cubicBezTo>
                  <a:cubicBezTo>
                    <a:pt x="35981" y="12551"/>
                    <a:pt x="35981" y="12551"/>
                    <a:pt x="35981" y="12551"/>
                  </a:cubicBezTo>
                  <a:cubicBezTo>
                    <a:pt x="36016" y="12550"/>
                    <a:pt x="36052" y="12548"/>
                    <a:pt x="36087" y="12549"/>
                  </a:cubicBezTo>
                  <a:cubicBezTo>
                    <a:pt x="36230" y="12549"/>
                    <a:pt x="36370" y="12563"/>
                    <a:pt x="36507" y="12587"/>
                  </a:cubicBezTo>
                  <a:cubicBezTo>
                    <a:pt x="36782" y="12638"/>
                    <a:pt x="37042" y="12741"/>
                    <a:pt x="37273" y="12904"/>
                  </a:cubicBezTo>
                  <a:cubicBezTo>
                    <a:pt x="37315" y="12932"/>
                    <a:pt x="37355" y="12964"/>
                    <a:pt x="37395" y="12996"/>
                  </a:cubicBezTo>
                  <a:cubicBezTo>
                    <a:pt x="37416" y="13013"/>
                    <a:pt x="37430" y="13027"/>
                    <a:pt x="37447" y="13041"/>
                  </a:cubicBezTo>
                  <a:cubicBezTo>
                    <a:pt x="37471" y="13063"/>
                    <a:pt x="37471" y="13063"/>
                    <a:pt x="37471" y="13063"/>
                  </a:cubicBezTo>
                  <a:cubicBezTo>
                    <a:pt x="37484" y="13073"/>
                    <a:pt x="37484" y="13073"/>
                    <a:pt x="37484" y="13073"/>
                  </a:cubicBezTo>
                  <a:cubicBezTo>
                    <a:pt x="37501" y="13090"/>
                    <a:pt x="37501" y="13090"/>
                    <a:pt x="37501" y="13090"/>
                  </a:cubicBezTo>
                  <a:cubicBezTo>
                    <a:pt x="37573" y="13161"/>
                    <a:pt x="37573" y="13161"/>
                    <a:pt x="37573" y="13161"/>
                  </a:cubicBezTo>
                  <a:cubicBezTo>
                    <a:pt x="37590" y="13179"/>
                    <a:pt x="37590" y="13179"/>
                    <a:pt x="37590" y="13179"/>
                  </a:cubicBezTo>
                  <a:cubicBezTo>
                    <a:pt x="37585" y="13174"/>
                    <a:pt x="37603" y="13192"/>
                    <a:pt x="37579" y="13167"/>
                  </a:cubicBezTo>
                  <a:cubicBezTo>
                    <a:pt x="37579" y="13168"/>
                    <a:pt x="37579" y="13168"/>
                    <a:pt x="37579" y="13168"/>
                  </a:cubicBezTo>
                  <a:cubicBezTo>
                    <a:pt x="37580" y="13169"/>
                    <a:pt x="37580" y="13169"/>
                    <a:pt x="37580" y="13169"/>
                  </a:cubicBezTo>
                  <a:cubicBezTo>
                    <a:pt x="37581" y="13170"/>
                    <a:pt x="37581" y="13170"/>
                    <a:pt x="37581" y="13170"/>
                  </a:cubicBezTo>
                  <a:cubicBezTo>
                    <a:pt x="37585" y="13174"/>
                    <a:pt x="37585" y="13174"/>
                    <a:pt x="37585" y="13174"/>
                  </a:cubicBezTo>
                  <a:cubicBezTo>
                    <a:pt x="37591" y="13181"/>
                    <a:pt x="37591" y="13181"/>
                    <a:pt x="37591" y="13181"/>
                  </a:cubicBezTo>
                  <a:cubicBezTo>
                    <a:pt x="37617" y="13210"/>
                    <a:pt x="37617" y="13210"/>
                    <a:pt x="37617" y="13210"/>
                  </a:cubicBezTo>
                  <a:cubicBezTo>
                    <a:pt x="37652" y="13247"/>
                    <a:pt x="37683" y="13287"/>
                    <a:pt x="37715" y="13326"/>
                  </a:cubicBezTo>
                  <a:cubicBezTo>
                    <a:pt x="37837" y="13486"/>
                    <a:pt x="37932" y="13656"/>
                    <a:pt x="37999" y="13835"/>
                  </a:cubicBezTo>
                  <a:cubicBezTo>
                    <a:pt x="38064" y="14014"/>
                    <a:pt x="38107" y="14199"/>
                    <a:pt x="38124" y="14388"/>
                  </a:cubicBezTo>
                  <a:cubicBezTo>
                    <a:pt x="38127" y="14436"/>
                    <a:pt x="38133" y="14481"/>
                    <a:pt x="38133" y="14529"/>
                  </a:cubicBezTo>
                  <a:cubicBezTo>
                    <a:pt x="38134" y="14576"/>
                    <a:pt x="38137" y="14625"/>
                    <a:pt x="38134" y="14664"/>
                  </a:cubicBezTo>
                  <a:cubicBezTo>
                    <a:pt x="38133" y="14724"/>
                    <a:pt x="38128" y="14891"/>
                    <a:pt x="38119" y="14964"/>
                  </a:cubicBezTo>
                  <a:cubicBezTo>
                    <a:pt x="38093" y="15312"/>
                    <a:pt x="38063" y="15640"/>
                    <a:pt x="38029" y="15940"/>
                  </a:cubicBezTo>
                  <a:cubicBezTo>
                    <a:pt x="38002" y="16170"/>
                    <a:pt x="38002" y="16170"/>
                    <a:pt x="38002" y="16170"/>
                  </a:cubicBezTo>
                  <a:cubicBezTo>
                    <a:pt x="38002" y="18318"/>
                    <a:pt x="38002" y="18318"/>
                    <a:pt x="38002" y="18318"/>
                  </a:cubicBezTo>
                  <a:cubicBezTo>
                    <a:pt x="38029" y="17300"/>
                    <a:pt x="38089" y="16365"/>
                    <a:pt x="38177" y="15606"/>
                  </a:cubicBezTo>
                  <a:cubicBezTo>
                    <a:pt x="38177" y="15606"/>
                    <a:pt x="38209" y="15326"/>
                    <a:pt x="38242" y="15045"/>
                  </a:cubicBezTo>
                  <a:cubicBezTo>
                    <a:pt x="38246" y="15010"/>
                    <a:pt x="38250" y="14974"/>
                    <a:pt x="38254" y="14940"/>
                  </a:cubicBezTo>
                  <a:cubicBezTo>
                    <a:pt x="38256" y="14923"/>
                    <a:pt x="38258" y="14906"/>
                    <a:pt x="38260" y="14889"/>
                  </a:cubicBezTo>
                  <a:cubicBezTo>
                    <a:pt x="38260" y="14887"/>
                    <a:pt x="38260" y="14887"/>
                    <a:pt x="38260" y="14887"/>
                  </a:cubicBezTo>
                  <a:cubicBezTo>
                    <a:pt x="38260" y="14886"/>
                    <a:pt x="38260" y="14886"/>
                    <a:pt x="38260" y="14886"/>
                  </a:cubicBezTo>
                  <a:cubicBezTo>
                    <a:pt x="38260" y="14883"/>
                    <a:pt x="38260" y="14911"/>
                    <a:pt x="38260" y="14899"/>
                  </a:cubicBezTo>
                  <a:cubicBezTo>
                    <a:pt x="38260" y="14898"/>
                    <a:pt x="38260" y="14898"/>
                    <a:pt x="38260" y="14898"/>
                  </a:cubicBezTo>
                  <a:cubicBezTo>
                    <a:pt x="38261" y="14895"/>
                    <a:pt x="38261" y="14895"/>
                    <a:pt x="38261" y="14895"/>
                  </a:cubicBezTo>
                  <a:cubicBezTo>
                    <a:pt x="38261" y="14889"/>
                    <a:pt x="38261" y="14889"/>
                    <a:pt x="38261" y="14889"/>
                  </a:cubicBezTo>
                  <a:cubicBezTo>
                    <a:pt x="38262" y="14876"/>
                    <a:pt x="38262" y="14876"/>
                    <a:pt x="38262" y="14876"/>
                  </a:cubicBezTo>
                  <a:cubicBezTo>
                    <a:pt x="38265" y="14851"/>
                    <a:pt x="38265" y="14851"/>
                    <a:pt x="38265" y="14851"/>
                  </a:cubicBezTo>
                  <a:cubicBezTo>
                    <a:pt x="38270" y="14791"/>
                    <a:pt x="38276" y="14734"/>
                    <a:pt x="38280" y="14686"/>
                  </a:cubicBezTo>
                  <a:cubicBezTo>
                    <a:pt x="38289" y="14607"/>
                    <a:pt x="38289" y="14545"/>
                    <a:pt x="38289" y="14545"/>
                  </a:cubicBezTo>
                  <a:cubicBezTo>
                    <a:pt x="38289" y="14545"/>
                    <a:pt x="38297" y="14430"/>
                    <a:pt x="38286" y="14260"/>
                  </a:cubicBezTo>
                  <a:cubicBezTo>
                    <a:pt x="38277" y="14089"/>
                    <a:pt x="38245" y="13865"/>
                    <a:pt x="38175" y="13648"/>
                  </a:cubicBezTo>
                  <a:cubicBezTo>
                    <a:pt x="38108" y="13430"/>
                    <a:pt x="37999" y="13224"/>
                    <a:pt x="37901" y="13074"/>
                  </a:cubicBezTo>
                  <a:cubicBezTo>
                    <a:pt x="37878" y="13036"/>
                    <a:pt x="37852" y="13004"/>
                    <a:pt x="37832" y="12974"/>
                  </a:cubicBezTo>
                  <a:cubicBezTo>
                    <a:pt x="37827" y="12966"/>
                    <a:pt x="37822" y="12959"/>
                    <a:pt x="37817" y="12952"/>
                  </a:cubicBezTo>
                  <a:cubicBezTo>
                    <a:pt x="37813" y="12947"/>
                    <a:pt x="37813" y="12947"/>
                    <a:pt x="37813" y="12947"/>
                  </a:cubicBezTo>
                  <a:cubicBezTo>
                    <a:pt x="37811" y="12944"/>
                    <a:pt x="37811" y="12944"/>
                    <a:pt x="37811" y="12944"/>
                  </a:cubicBezTo>
                  <a:cubicBezTo>
                    <a:pt x="37810" y="12943"/>
                    <a:pt x="37810" y="12943"/>
                    <a:pt x="37810" y="12943"/>
                  </a:cubicBezTo>
                  <a:cubicBezTo>
                    <a:pt x="37810" y="12942"/>
                    <a:pt x="37810" y="12942"/>
                    <a:pt x="37810" y="12942"/>
                  </a:cubicBezTo>
                  <a:cubicBezTo>
                    <a:pt x="37810" y="12942"/>
                    <a:pt x="37810" y="12942"/>
                    <a:pt x="37810" y="12942"/>
                  </a:cubicBezTo>
                  <a:cubicBezTo>
                    <a:pt x="37812" y="12945"/>
                    <a:pt x="37803" y="12935"/>
                    <a:pt x="37816" y="12948"/>
                  </a:cubicBezTo>
                  <a:cubicBezTo>
                    <a:pt x="37807" y="12938"/>
                    <a:pt x="37807" y="12938"/>
                    <a:pt x="37807" y="12938"/>
                  </a:cubicBezTo>
                  <a:cubicBezTo>
                    <a:pt x="37796" y="12924"/>
                    <a:pt x="37785" y="12911"/>
                    <a:pt x="37776" y="12899"/>
                  </a:cubicBezTo>
                  <a:cubicBezTo>
                    <a:pt x="37739" y="12854"/>
                    <a:pt x="37717" y="12827"/>
                    <a:pt x="37717" y="12827"/>
                  </a:cubicBezTo>
                  <a:cubicBezTo>
                    <a:pt x="37717" y="12827"/>
                    <a:pt x="37687" y="12793"/>
                    <a:pt x="37634" y="12732"/>
                  </a:cubicBezTo>
                  <a:cubicBezTo>
                    <a:pt x="37575" y="12670"/>
                    <a:pt x="37489" y="12580"/>
                    <a:pt x="37372" y="12488"/>
                  </a:cubicBezTo>
                  <a:cubicBezTo>
                    <a:pt x="37256" y="12395"/>
                    <a:pt x="37109" y="12296"/>
                    <a:pt x="36937" y="12210"/>
                  </a:cubicBezTo>
                  <a:cubicBezTo>
                    <a:pt x="36766" y="12124"/>
                    <a:pt x="36568" y="12051"/>
                    <a:pt x="36362" y="12000"/>
                  </a:cubicBezTo>
                  <a:cubicBezTo>
                    <a:pt x="35948" y="11897"/>
                    <a:pt x="35501" y="11879"/>
                    <a:pt x="35169" y="11900"/>
                  </a:cubicBezTo>
                  <a:cubicBezTo>
                    <a:pt x="35003" y="11909"/>
                    <a:pt x="34864" y="11926"/>
                    <a:pt x="34767" y="11941"/>
                  </a:cubicBezTo>
                  <a:cubicBezTo>
                    <a:pt x="34718" y="11948"/>
                    <a:pt x="34680" y="11955"/>
                    <a:pt x="34654" y="11959"/>
                  </a:cubicBezTo>
                  <a:cubicBezTo>
                    <a:pt x="34628" y="11964"/>
                    <a:pt x="34614" y="11966"/>
                    <a:pt x="34614" y="11966"/>
                  </a:cubicBezTo>
                  <a:cubicBezTo>
                    <a:pt x="34346" y="12016"/>
                    <a:pt x="34108" y="12077"/>
                    <a:pt x="33902" y="12134"/>
                  </a:cubicBezTo>
                  <a:cubicBezTo>
                    <a:pt x="33698" y="12189"/>
                    <a:pt x="33520" y="12237"/>
                    <a:pt x="33375" y="12271"/>
                  </a:cubicBezTo>
                  <a:cubicBezTo>
                    <a:pt x="33083" y="12338"/>
                    <a:pt x="32907" y="12348"/>
                    <a:pt x="32862" y="12272"/>
                  </a:cubicBezTo>
                  <a:cubicBezTo>
                    <a:pt x="32825" y="12210"/>
                    <a:pt x="32880" y="12094"/>
                    <a:pt x="33030" y="11934"/>
                  </a:cubicBezTo>
                  <a:cubicBezTo>
                    <a:pt x="33106" y="11853"/>
                    <a:pt x="33205" y="11763"/>
                    <a:pt x="33330" y="11665"/>
                  </a:cubicBezTo>
                  <a:cubicBezTo>
                    <a:pt x="33362" y="11641"/>
                    <a:pt x="33393" y="11616"/>
                    <a:pt x="33430" y="11590"/>
                  </a:cubicBezTo>
                  <a:cubicBezTo>
                    <a:pt x="33467" y="11564"/>
                    <a:pt x="33504" y="11538"/>
                    <a:pt x="33542" y="11511"/>
                  </a:cubicBezTo>
                  <a:cubicBezTo>
                    <a:pt x="33604" y="11466"/>
                    <a:pt x="33699" y="11406"/>
                    <a:pt x="33793" y="11351"/>
                  </a:cubicBezTo>
                  <a:cubicBezTo>
                    <a:pt x="33793" y="11351"/>
                    <a:pt x="33762" y="11363"/>
                    <a:pt x="33706" y="11389"/>
                  </a:cubicBezTo>
                  <a:cubicBezTo>
                    <a:pt x="33678" y="11401"/>
                    <a:pt x="33643" y="11417"/>
                    <a:pt x="33602" y="11435"/>
                  </a:cubicBezTo>
                  <a:cubicBezTo>
                    <a:pt x="33567" y="11452"/>
                    <a:pt x="33526" y="11471"/>
                    <a:pt x="33480" y="11493"/>
                  </a:cubicBezTo>
                  <a:cubicBezTo>
                    <a:pt x="33376" y="11542"/>
                    <a:pt x="33262" y="11599"/>
                    <a:pt x="33129" y="11669"/>
                  </a:cubicBezTo>
                  <a:cubicBezTo>
                    <a:pt x="32996" y="11739"/>
                    <a:pt x="32849" y="11820"/>
                    <a:pt x="32690" y="11914"/>
                  </a:cubicBezTo>
                  <a:cubicBezTo>
                    <a:pt x="32373" y="12101"/>
                    <a:pt x="32019" y="12335"/>
                    <a:pt x="31652" y="12615"/>
                  </a:cubicBezTo>
                  <a:cubicBezTo>
                    <a:pt x="31307" y="12878"/>
                    <a:pt x="30940" y="13178"/>
                    <a:pt x="30590" y="13489"/>
                  </a:cubicBezTo>
                  <a:cubicBezTo>
                    <a:pt x="30415" y="13644"/>
                    <a:pt x="30242" y="13803"/>
                    <a:pt x="30075" y="13963"/>
                  </a:cubicBezTo>
                  <a:cubicBezTo>
                    <a:pt x="29917" y="14115"/>
                    <a:pt x="29761" y="14265"/>
                    <a:pt x="29611" y="14410"/>
                  </a:cubicBezTo>
                  <a:cubicBezTo>
                    <a:pt x="29314" y="14694"/>
                    <a:pt x="29034" y="14953"/>
                    <a:pt x="28792" y="15172"/>
                  </a:cubicBezTo>
                  <a:cubicBezTo>
                    <a:pt x="28666" y="15285"/>
                    <a:pt x="28551" y="15388"/>
                    <a:pt x="28449" y="15479"/>
                  </a:cubicBezTo>
                  <a:cubicBezTo>
                    <a:pt x="28348" y="15571"/>
                    <a:pt x="28261" y="15650"/>
                    <a:pt x="28189" y="15716"/>
                  </a:cubicBezTo>
                  <a:cubicBezTo>
                    <a:pt x="28044" y="15848"/>
                    <a:pt x="27962" y="15923"/>
                    <a:pt x="27962" y="15923"/>
                  </a:cubicBezTo>
                  <a:cubicBezTo>
                    <a:pt x="27155" y="16657"/>
                    <a:pt x="27155" y="16657"/>
                    <a:pt x="27155" y="16657"/>
                  </a:cubicBezTo>
                  <a:cubicBezTo>
                    <a:pt x="26665" y="17102"/>
                    <a:pt x="26665" y="17102"/>
                    <a:pt x="26665" y="17102"/>
                  </a:cubicBezTo>
                  <a:cubicBezTo>
                    <a:pt x="26665" y="17102"/>
                    <a:pt x="26294" y="17529"/>
                    <a:pt x="25898" y="17933"/>
                  </a:cubicBezTo>
                  <a:cubicBezTo>
                    <a:pt x="25799" y="18035"/>
                    <a:pt x="25699" y="18135"/>
                    <a:pt x="25604" y="18228"/>
                  </a:cubicBezTo>
                  <a:cubicBezTo>
                    <a:pt x="25509" y="18322"/>
                    <a:pt x="25420" y="18406"/>
                    <a:pt x="25350" y="18473"/>
                  </a:cubicBezTo>
                  <a:cubicBezTo>
                    <a:pt x="25200" y="18611"/>
                    <a:pt x="25096" y="18699"/>
                    <a:pt x="25096" y="18699"/>
                  </a:cubicBezTo>
                  <a:cubicBezTo>
                    <a:pt x="24906" y="18861"/>
                    <a:pt x="24690" y="19022"/>
                    <a:pt x="24449" y="19171"/>
                  </a:cubicBezTo>
                  <a:cubicBezTo>
                    <a:pt x="24388" y="19208"/>
                    <a:pt x="24326" y="19245"/>
                    <a:pt x="24263" y="19281"/>
                  </a:cubicBezTo>
                  <a:cubicBezTo>
                    <a:pt x="24215" y="19307"/>
                    <a:pt x="24215" y="19307"/>
                    <a:pt x="24215" y="19307"/>
                  </a:cubicBezTo>
                  <a:cubicBezTo>
                    <a:pt x="24203" y="19314"/>
                    <a:pt x="24203" y="19314"/>
                    <a:pt x="24203" y="19314"/>
                  </a:cubicBezTo>
                  <a:cubicBezTo>
                    <a:pt x="24196" y="19317"/>
                    <a:pt x="24196" y="19317"/>
                    <a:pt x="24196" y="19317"/>
                  </a:cubicBezTo>
                  <a:cubicBezTo>
                    <a:pt x="24193" y="19319"/>
                    <a:pt x="24193" y="19319"/>
                    <a:pt x="24193" y="19319"/>
                  </a:cubicBezTo>
                  <a:cubicBezTo>
                    <a:pt x="24192" y="19319"/>
                    <a:pt x="24192" y="19319"/>
                    <a:pt x="24192" y="19319"/>
                  </a:cubicBezTo>
                  <a:cubicBezTo>
                    <a:pt x="24191" y="19320"/>
                    <a:pt x="24191" y="19320"/>
                    <a:pt x="24191" y="19320"/>
                  </a:cubicBezTo>
                  <a:cubicBezTo>
                    <a:pt x="24186" y="19322"/>
                    <a:pt x="24198" y="19317"/>
                    <a:pt x="24197" y="19318"/>
                  </a:cubicBezTo>
                  <a:cubicBezTo>
                    <a:pt x="24170" y="19331"/>
                    <a:pt x="24170" y="19331"/>
                    <a:pt x="24170" y="19331"/>
                  </a:cubicBezTo>
                  <a:cubicBezTo>
                    <a:pt x="24069" y="19382"/>
                    <a:pt x="24069" y="19382"/>
                    <a:pt x="24069" y="19382"/>
                  </a:cubicBezTo>
                  <a:cubicBezTo>
                    <a:pt x="23949" y="19441"/>
                    <a:pt x="23810" y="19499"/>
                    <a:pt x="23670" y="19543"/>
                  </a:cubicBezTo>
                  <a:cubicBezTo>
                    <a:pt x="23389" y="19635"/>
                    <a:pt x="23075" y="19688"/>
                    <a:pt x="22758" y="19694"/>
                  </a:cubicBezTo>
                  <a:cubicBezTo>
                    <a:pt x="22428" y="19701"/>
                    <a:pt x="22101" y="19661"/>
                    <a:pt x="21778" y="19566"/>
                  </a:cubicBezTo>
                  <a:cubicBezTo>
                    <a:pt x="21643" y="19527"/>
                    <a:pt x="21512" y="19479"/>
                    <a:pt x="21385" y="19423"/>
                  </a:cubicBezTo>
                  <a:cubicBezTo>
                    <a:pt x="21338" y="19402"/>
                    <a:pt x="21338" y="19402"/>
                    <a:pt x="21338" y="19402"/>
                  </a:cubicBezTo>
                  <a:cubicBezTo>
                    <a:pt x="21289" y="19379"/>
                    <a:pt x="21289" y="19379"/>
                    <a:pt x="21289" y="19379"/>
                  </a:cubicBezTo>
                  <a:cubicBezTo>
                    <a:pt x="21237" y="19354"/>
                    <a:pt x="21237" y="19354"/>
                    <a:pt x="21237" y="19354"/>
                  </a:cubicBezTo>
                  <a:cubicBezTo>
                    <a:pt x="21189" y="19331"/>
                    <a:pt x="21189" y="19331"/>
                    <a:pt x="21189" y="19331"/>
                  </a:cubicBezTo>
                  <a:cubicBezTo>
                    <a:pt x="21128" y="19301"/>
                    <a:pt x="21062" y="19266"/>
                    <a:pt x="21000" y="19232"/>
                  </a:cubicBezTo>
                  <a:cubicBezTo>
                    <a:pt x="20748" y="19095"/>
                    <a:pt x="20511" y="18941"/>
                    <a:pt x="20290" y="18778"/>
                  </a:cubicBezTo>
                  <a:cubicBezTo>
                    <a:pt x="20135" y="18664"/>
                    <a:pt x="19992" y="18547"/>
                    <a:pt x="19849" y="18424"/>
                  </a:cubicBezTo>
                  <a:cubicBezTo>
                    <a:pt x="19706" y="18301"/>
                    <a:pt x="19571" y="18179"/>
                    <a:pt x="19441" y="18056"/>
                  </a:cubicBezTo>
                  <a:cubicBezTo>
                    <a:pt x="19181" y="17811"/>
                    <a:pt x="18950" y="17571"/>
                    <a:pt x="18748" y="17342"/>
                  </a:cubicBezTo>
                  <a:cubicBezTo>
                    <a:pt x="17206" y="15575"/>
                    <a:pt x="17206" y="15575"/>
                    <a:pt x="17206" y="15575"/>
                  </a:cubicBezTo>
                  <a:cubicBezTo>
                    <a:pt x="17206" y="15575"/>
                    <a:pt x="17159" y="15532"/>
                    <a:pt x="17088" y="15467"/>
                  </a:cubicBezTo>
                  <a:cubicBezTo>
                    <a:pt x="17016" y="15402"/>
                    <a:pt x="16919" y="15316"/>
                    <a:pt x="16822" y="15229"/>
                  </a:cubicBezTo>
                  <a:cubicBezTo>
                    <a:pt x="16638" y="15062"/>
                    <a:pt x="16454" y="14894"/>
                    <a:pt x="16454" y="14894"/>
                  </a:cubicBezTo>
                  <a:cubicBezTo>
                    <a:pt x="16516" y="14967"/>
                    <a:pt x="16516" y="14967"/>
                    <a:pt x="16516" y="14967"/>
                  </a:cubicBezTo>
                  <a:cubicBezTo>
                    <a:pt x="16637" y="15107"/>
                    <a:pt x="16743" y="15235"/>
                    <a:pt x="16834" y="15349"/>
                  </a:cubicBezTo>
                  <a:cubicBezTo>
                    <a:pt x="16876" y="15404"/>
                    <a:pt x="16918" y="15458"/>
                    <a:pt x="16960" y="15512"/>
                  </a:cubicBezTo>
                  <a:cubicBezTo>
                    <a:pt x="16963" y="15517"/>
                    <a:pt x="16963" y="15517"/>
                    <a:pt x="16963" y="15517"/>
                  </a:cubicBezTo>
                  <a:cubicBezTo>
                    <a:pt x="16965" y="15519"/>
                    <a:pt x="16965" y="15519"/>
                    <a:pt x="16965" y="15519"/>
                  </a:cubicBezTo>
                  <a:cubicBezTo>
                    <a:pt x="16965" y="15520"/>
                    <a:pt x="16965" y="15520"/>
                    <a:pt x="16965" y="15520"/>
                  </a:cubicBezTo>
                  <a:cubicBezTo>
                    <a:pt x="16964" y="15518"/>
                    <a:pt x="16981" y="15534"/>
                    <a:pt x="16974" y="15527"/>
                  </a:cubicBezTo>
                  <a:cubicBezTo>
                    <a:pt x="16974" y="15528"/>
                    <a:pt x="16974" y="15528"/>
                    <a:pt x="16974" y="15528"/>
                  </a:cubicBezTo>
                  <a:cubicBezTo>
                    <a:pt x="16975" y="15529"/>
                    <a:pt x="16975" y="15529"/>
                    <a:pt x="16975" y="15529"/>
                  </a:cubicBezTo>
                  <a:cubicBezTo>
                    <a:pt x="16982" y="15539"/>
                    <a:pt x="16982" y="15539"/>
                    <a:pt x="16982" y="15539"/>
                  </a:cubicBezTo>
                  <a:cubicBezTo>
                    <a:pt x="16996" y="15558"/>
                    <a:pt x="16996" y="15558"/>
                    <a:pt x="16996" y="15558"/>
                  </a:cubicBezTo>
                  <a:cubicBezTo>
                    <a:pt x="17022" y="15595"/>
                    <a:pt x="17022" y="15595"/>
                    <a:pt x="17022" y="15595"/>
                  </a:cubicBezTo>
                  <a:cubicBezTo>
                    <a:pt x="17070" y="15666"/>
                    <a:pt x="17070" y="15666"/>
                    <a:pt x="17070" y="15666"/>
                  </a:cubicBezTo>
                  <a:cubicBezTo>
                    <a:pt x="17188" y="15848"/>
                    <a:pt x="17240" y="15975"/>
                    <a:pt x="17219" y="16038"/>
                  </a:cubicBezTo>
                  <a:cubicBezTo>
                    <a:pt x="17216" y="16047"/>
                    <a:pt x="17212" y="16055"/>
                    <a:pt x="17206" y="16062"/>
                  </a:cubicBezTo>
                  <a:cubicBezTo>
                    <a:pt x="17187" y="16082"/>
                    <a:pt x="17155" y="16089"/>
                    <a:pt x="17109" y="16083"/>
                  </a:cubicBezTo>
                  <a:cubicBezTo>
                    <a:pt x="17047" y="16076"/>
                    <a:pt x="16979" y="16073"/>
                    <a:pt x="16886" y="16045"/>
                  </a:cubicBezTo>
                  <a:cubicBezTo>
                    <a:pt x="16789" y="16016"/>
                    <a:pt x="16673" y="15961"/>
                    <a:pt x="16497" y="15844"/>
                  </a:cubicBezTo>
                  <a:cubicBezTo>
                    <a:pt x="16373" y="15761"/>
                    <a:pt x="16224" y="15645"/>
                    <a:pt x="16043" y="15481"/>
                  </a:cubicBezTo>
                  <a:cubicBezTo>
                    <a:pt x="15780" y="15244"/>
                    <a:pt x="15522" y="14990"/>
                    <a:pt x="15270" y="14724"/>
                  </a:cubicBezTo>
                  <a:cubicBezTo>
                    <a:pt x="15021" y="14457"/>
                    <a:pt x="14760" y="14177"/>
                    <a:pt x="14496" y="13904"/>
                  </a:cubicBezTo>
                  <a:cubicBezTo>
                    <a:pt x="14411" y="13817"/>
                    <a:pt x="14324" y="13729"/>
                    <a:pt x="14236" y="13639"/>
                  </a:cubicBezTo>
                  <a:cubicBezTo>
                    <a:pt x="14028" y="13428"/>
                    <a:pt x="13816" y="13220"/>
                    <a:pt x="13599" y="13014"/>
                  </a:cubicBezTo>
                  <a:cubicBezTo>
                    <a:pt x="13558" y="12975"/>
                    <a:pt x="13517" y="12937"/>
                    <a:pt x="13476" y="12898"/>
                  </a:cubicBezTo>
                  <a:cubicBezTo>
                    <a:pt x="13433" y="12859"/>
                    <a:pt x="13389" y="12820"/>
                    <a:pt x="13346" y="12781"/>
                  </a:cubicBezTo>
                  <a:cubicBezTo>
                    <a:pt x="13261" y="12704"/>
                    <a:pt x="13174" y="12629"/>
                    <a:pt x="13086" y="12555"/>
                  </a:cubicBezTo>
                  <a:cubicBezTo>
                    <a:pt x="12880" y="12381"/>
                    <a:pt x="12668" y="12214"/>
                    <a:pt x="12448" y="12056"/>
                  </a:cubicBezTo>
                  <a:cubicBezTo>
                    <a:pt x="12332" y="11972"/>
                    <a:pt x="12214" y="11890"/>
                    <a:pt x="12094" y="11812"/>
                  </a:cubicBezTo>
                  <a:cubicBezTo>
                    <a:pt x="11946" y="11716"/>
                    <a:pt x="11946" y="11716"/>
                    <a:pt x="11946" y="11716"/>
                  </a:cubicBezTo>
                  <a:cubicBezTo>
                    <a:pt x="11871" y="11669"/>
                    <a:pt x="11871" y="11669"/>
                    <a:pt x="11871" y="11669"/>
                  </a:cubicBezTo>
                  <a:cubicBezTo>
                    <a:pt x="11833" y="11645"/>
                    <a:pt x="11833" y="11645"/>
                    <a:pt x="11833" y="11645"/>
                  </a:cubicBezTo>
                  <a:cubicBezTo>
                    <a:pt x="11824" y="11640"/>
                    <a:pt x="11824" y="11640"/>
                    <a:pt x="11824" y="11640"/>
                  </a:cubicBezTo>
                  <a:cubicBezTo>
                    <a:pt x="11819" y="11637"/>
                    <a:pt x="11819" y="11637"/>
                    <a:pt x="11819" y="11637"/>
                  </a:cubicBezTo>
                  <a:cubicBezTo>
                    <a:pt x="11818" y="11636"/>
                    <a:pt x="11818" y="11636"/>
                    <a:pt x="11818" y="11636"/>
                  </a:cubicBezTo>
                  <a:cubicBezTo>
                    <a:pt x="11810" y="11633"/>
                    <a:pt x="11810" y="11633"/>
                    <a:pt x="11810" y="11633"/>
                  </a:cubicBezTo>
                  <a:cubicBezTo>
                    <a:pt x="11809" y="11632"/>
                    <a:pt x="11809" y="11632"/>
                    <a:pt x="11809" y="11632"/>
                  </a:cubicBezTo>
                  <a:cubicBezTo>
                    <a:pt x="11807" y="11631"/>
                    <a:pt x="11807" y="11631"/>
                    <a:pt x="11807" y="11631"/>
                  </a:cubicBezTo>
                  <a:cubicBezTo>
                    <a:pt x="11789" y="11620"/>
                    <a:pt x="11789" y="11620"/>
                    <a:pt x="11789" y="11620"/>
                  </a:cubicBezTo>
                  <a:cubicBezTo>
                    <a:pt x="11707" y="11567"/>
                    <a:pt x="11573" y="11495"/>
                    <a:pt x="11468" y="11441"/>
                  </a:cubicBezTo>
                  <a:cubicBezTo>
                    <a:pt x="11247" y="11327"/>
                    <a:pt x="11015" y="11230"/>
                    <a:pt x="10779" y="11148"/>
                  </a:cubicBezTo>
                  <a:cubicBezTo>
                    <a:pt x="10458" y="11038"/>
                    <a:pt x="10126" y="10960"/>
                    <a:pt x="9795" y="10917"/>
                  </a:cubicBezTo>
                  <a:cubicBezTo>
                    <a:pt x="9765" y="10911"/>
                    <a:pt x="9765" y="10911"/>
                    <a:pt x="9765" y="10911"/>
                  </a:cubicBezTo>
                  <a:cubicBezTo>
                    <a:pt x="9744" y="10911"/>
                    <a:pt x="9744" y="10911"/>
                    <a:pt x="9744" y="10911"/>
                  </a:cubicBezTo>
                  <a:cubicBezTo>
                    <a:pt x="9726" y="10909"/>
                    <a:pt x="9688" y="10908"/>
                    <a:pt x="9632" y="10908"/>
                  </a:cubicBezTo>
                  <a:cubicBezTo>
                    <a:pt x="9614" y="10908"/>
                    <a:pt x="9594" y="10908"/>
                    <a:pt x="9573" y="10908"/>
                  </a:cubicBezTo>
                  <a:cubicBezTo>
                    <a:pt x="9560" y="10909"/>
                    <a:pt x="9546" y="10909"/>
                    <a:pt x="9531" y="10910"/>
                  </a:cubicBezTo>
                  <a:cubicBezTo>
                    <a:pt x="9501" y="10911"/>
                    <a:pt x="9468" y="10912"/>
                    <a:pt x="9432" y="10913"/>
                  </a:cubicBezTo>
                  <a:cubicBezTo>
                    <a:pt x="9432" y="10913"/>
                    <a:pt x="9347" y="10918"/>
                    <a:pt x="9262" y="10923"/>
                  </a:cubicBezTo>
                  <a:cubicBezTo>
                    <a:pt x="9218" y="10926"/>
                    <a:pt x="9180" y="10930"/>
                    <a:pt x="9151" y="10933"/>
                  </a:cubicBezTo>
                  <a:cubicBezTo>
                    <a:pt x="9121" y="10937"/>
                    <a:pt x="9102" y="10939"/>
                    <a:pt x="9102" y="10939"/>
                  </a:cubicBezTo>
                  <a:cubicBezTo>
                    <a:pt x="9102" y="10939"/>
                    <a:pt x="9079" y="10941"/>
                    <a:pt x="9038" y="10946"/>
                  </a:cubicBezTo>
                  <a:cubicBezTo>
                    <a:pt x="8996" y="10951"/>
                    <a:pt x="8934" y="10961"/>
                    <a:pt x="8855" y="10974"/>
                  </a:cubicBezTo>
                  <a:cubicBezTo>
                    <a:pt x="8698" y="11002"/>
                    <a:pt x="8472" y="11049"/>
                    <a:pt x="8206" y="11145"/>
                  </a:cubicBezTo>
                  <a:cubicBezTo>
                    <a:pt x="7941" y="11241"/>
                    <a:pt x="7636" y="11385"/>
                    <a:pt x="7348" y="11592"/>
                  </a:cubicBezTo>
                  <a:cubicBezTo>
                    <a:pt x="7202" y="11693"/>
                    <a:pt x="7063" y="11810"/>
                    <a:pt x="6929" y="11935"/>
                  </a:cubicBezTo>
                  <a:cubicBezTo>
                    <a:pt x="6897" y="11967"/>
                    <a:pt x="6864" y="11999"/>
                    <a:pt x="6831" y="12031"/>
                  </a:cubicBezTo>
                  <a:cubicBezTo>
                    <a:pt x="6795" y="12068"/>
                    <a:pt x="6795" y="12068"/>
                    <a:pt x="6795" y="12068"/>
                  </a:cubicBezTo>
                  <a:cubicBezTo>
                    <a:pt x="6777" y="12088"/>
                    <a:pt x="6777" y="12088"/>
                    <a:pt x="6777" y="12088"/>
                  </a:cubicBezTo>
                  <a:cubicBezTo>
                    <a:pt x="6741" y="12126"/>
                    <a:pt x="6741" y="12126"/>
                    <a:pt x="6741" y="12126"/>
                  </a:cubicBezTo>
                  <a:cubicBezTo>
                    <a:pt x="6705" y="12165"/>
                    <a:pt x="6705" y="12165"/>
                    <a:pt x="6705" y="12165"/>
                  </a:cubicBezTo>
                  <a:cubicBezTo>
                    <a:pt x="6655" y="12223"/>
                    <a:pt x="6655" y="12223"/>
                    <a:pt x="6655" y="12223"/>
                  </a:cubicBezTo>
                  <a:cubicBezTo>
                    <a:pt x="6622" y="12262"/>
                    <a:pt x="6587" y="12303"/>
                    <a:pt x="6556" y="12342"/>
                  </a:cubicBezTo>
                  <a:cubicBezTo>
                    <a:pt x="6441" y="12489"/>
                    <a:pt x="6335" y="12645"/>
                    <a:pt x="6242" y="12805"/>
                  </a:cubicBezTo>
                  <a:cubicBezTo>
                    <a:pt x="6152" y="12967"/>
                    <a:pt x="6071" y="13130"/>
                    <a:pt x="6009" y="13293"/>
                  </a:cubicBezTo>
                  <a:cubicBezTo>
                    <a:pt x="5879" y="13619"/>
                    <a:pt x="5810" y="13933"/>
                    <a:pt x="5772" y="14198"/>
                  </a:cubicBezTo>
                  <a:cubicBezTo>
                    <a:pt x="5734" y="14463"/>
                    <a:pt x="5724" y="14681"/>
                    <a:pt x="5723" y="14831"/>
                  </a:cubicBezTo>
                  <a:cubicBezTo>
                    <a:pt x="5723" y="14961"/>
                    <a:pt x="5723" y="15036"/>
                    <a:pt x="5723" y="15036"/>
                  </a:cubicBezTo>
                  <a:cubicBezTo>
                    <a:pt x="5920" y="16746"/>
                    <a:pt x="5920" y="16746"/>
                    <a:pt x="5920" y="16746"/>
                  </a:cubicBezTo>
                  <a:cubicBezTo>
                    <a:pt x="6044" y="17817"/>
                    <a:pt x="6112" y="19241"/>
                    <a:pt x="6112" y="20756"/>
                  </a:cubicBezTo>
                  <a:cubicBezTo>
                    <a:pt x="6112" y="20898"/>
                    <a:pt x="6112" y="20898"/>
                    <a:pt x="6112" y="20898"/>
                  </a:cubicBezTo>
                  <a:cubicBezTo>
                    <a:pt x="6112" y="20969"/>
                    <a:pt x="6112" y="20969"/>
                    <a:pt x="6112" y="20969"/>
                  </a:cubicBezTo>
                  <a:cubicBezTo>
                    <a:pt x="6110" y="21024"/>
                    <a:pt x="6110" y="21024"/>
                    <a:pt x="6110" y="21024"/>
                  </a:cubicBezTo>
                  <a:cubicBezTo>
                    <a:pt x="6109" y="21037"/>
                    <a:pt x="6107" y="21038"/>
                    <a:pt x="6107" y="21045"/>
                  </a:cubicBezTo>
                  <a:cubicBezTo>
                    <a:pt x="6105" y="21053"/>
                    <a:pt x="6104" y="21063"/>
                    <a:pt x="6103" y="21069"/>
                  </a:cubicBezTo>
                  <a:cubicBezTo>
                    <a:pt x="6099" y="21081"/>
                    <a:pt x="6096" y="21089"/>
                    <a:pt x="6098" y="21083"/>
                  </a:cubicBezTo>
                  <a:cubicBezTo>
                    <a:pt x="6099" y="21079"/>
                    <a:pt x="6106" y="21067"/>
                    <a:pt x="6119" y="21051"/>
                  </a:cubicBezTo>
                  <a:cubicBezTo>
                    <a:pt x="6132" y="21037"/>
                    <a:pt x="6152" y="21025"/>
                    <a:pt x="6161" y="21019"/>
                  </a:cubicBezTo>
                  <a:cubicBezTo>
                    <a:pt x="6169" y="21017"/>
                    <a:pt x="6169" y="21014"/>
                    <a:pt x="6173" y="21014"/>
                  </a:cubicBezTo>
                  <a:cubicBezTo>
                    <a:pt x="6172" y="21013"/>
                    <a:pt x="6174" y="21013"/>
                    <a:pt x="6170" y="21013"/>
                  </a:cubicBezTo>
                  <a:cubicBezTo>
                    <a:pt x="6111" y="21012"/>
                    <a:pt x="6111" y="21012"/>
                    <a:pt x="6111" y="21012"/>
                  </a:cubicBezTo>
                  <a:cubicBezTo>
                    <a:pt x="5747" y="21003"/>
                    <a:pt x="5394" y="20991"/>
                    <a:pt x="5054" y="20975"/>
                  </a:cubicBezTo>
                  <a:cubicBezTo>
                    <a:pt x="4887" y="20966"/>
                    <a:pt x="4721" y="20957"/>
                    <a:pt x="4556" y="20947"/>
                  </a:cubicBezTo>
                  <a:cubicBezTo>
                    <a:pt x="4315" y="20932"/>
                    <a:pt x="4315" y="20932"/>
                    <a:pt x="4315" y="20932"/>
                  </a:cubicBezTo>
                  <a:cubicBezTo>
                    <a:pt x="4197" y="20923"/>
                    <a:pt x="4197" y="20923"/>
                    <a:pt x="4197" y="20923"/>
                  </a:cubicBezTo>
                  <a:cubicBezTo>
                    <a:pt x="4168" y="20921"/>
                    <a:pt x="4168" y="20921"/>
                    <a:pt x="4168" y="20921"/>
                  </a:cubicBezTo>
                  <a:cubicBezTo>
                    <a:pt x="4153" y="20920"/>
                    <a:pt x="4153" y="20920"/>
                    <a:pt x="4153" y="20920"/>
                  </a:cubicBezTo>
                  <a:cubicBezTo>
                    <a:pt x="4146" y="20919"/>
                    <a:pt x="4146" y="20919"/>
                    <a:pt x="4146" y="20919"/>
                  </a:cubicBezTo>
                  <a:cubicBezTo>
                    <a:pt x="4142" y="20919"/>
                    <a:pt x="4142" y="20919"/>
                    <a:pt x="4142" y="20919"/>
                  </a:cubicBezTo>
                  <a:cubicBezTo>
                    <a:pt x="4140" y="20919"/>
                    <a:pt x="4163" y="20919"/>
                    <a:pt x="4153" y="20919"/>
                  </a:cubicBezTo>
                  <a:cubicBezTo>
                    <a:pt x="4152" y="20919"/>
                    <a:pt x="4152" y="20919"/>
                    <a:pt x="4152" y="20919"/>
                  </a:cubicBezTo>
                  <a:cubicBezTo>
                    <a:pt x="4150" y="20919"/>
                    <a:pt x="4150" y="20919"/>
                    <a:pt x="4150" y="20919"/>
                  </a:cubicBezTo>
                  <a:cubicBezTo>
                    <a:pt x="4092" y="20914"/>
                    <a:pt x="4092" y="20914"/>
                    <a:pt x="4092" y="20914"/>
                  </a:cubicBezTo>
                  <a:cubicBezTo>
                    <a:pt x="3978" y="20902"/>
                    <a:pt x="3978" y="20902"/>
                    <a:pt x="3978" y="20902"/>
                  </a:cubicBezTo>
                  <a:cubicBezTo>
                    <a:pt x="3943" y="20898"/>
                    <a:pt x="3917" y="20893"/>
                    <a:pt x="3886" y="20888"/>
                  </a:cubicBezTo>
                  <a:cubicBezTo>
                    <a:pt x="3829" y="20879"/>
                    <a:pt x="3766" y="20866"/>
                    <a:pt x="3706" y="20853"/>
                  </a:cubicBezTo>
                  <a:cubicBezTo>
                    <a:pt x="3645" y="20841"/>
                    <a:pt x="3589" y="20824"/>
                    <a:pt x="3532" y="20809"/>
                  </a:cubicBezTo>
                  <a:cubicBezTo>
                    <a:pt x="3478" y="20791"/>
                    <a:pt x="3423" y="20776"/>
                    <a:pt x="3373" y="20756"/>
                  </a:cubicBezTo>
                  <a:cubicBezTo>
                    <a:pt x="3373" y="20756"/>
                    <a:pt x="3353" y="20748"/>
                    <a:pt x="3318" y="20734"/>
                  </a:cubicBezTo>
                  <a:cubicBezTo>
                    <a:pt x="3282" y="20722"/>
                    <a:pt x="3234" y="20699"/>
                    <a:pt x="3177" y="20674"/>
                  </a:cubicBezTo>
                  <a:cubicBezTo>
                    <a:pt x="3064" y="20620"/>
                    <a:pt x="2922" y="20541"/>
                    <a:pt x="2801" y="20447"/>
                  </a:cubicBezTo>
                  <a:cubicBezTo>
                    <a:pt x="2678" y="20355"/>
                    <a:pt x="2574" y="20250"/>
                    <a:pt x="2505" y="20165"/>
                  </a:cubicBezTo>
                  <a:cubicBezTo>
                    <a:pt x="2468" y="20125"/>
                    <a:pt x="2443" y="20086"/>
                    <a:pt x="2424" y="20061"/>
                  </a:cubicBezTo>
                  <a:cubicBezTo>
                    <a:pt x="2421" y="20058"/>
                    <a:pt x="2419" y="20055"/>
                    <a:pt x="2417" y="20052"/>
                  </a:cubicBezTo>
                  <a:cubicBezTo>
                    <a:pt x="2414" y="20048"/>
                    <a:pt x="2414" y="20048"/>
                    <a:pt x="2414" y="20048"/>
                  </a:cubicBezTo>
                  <a:cubicBezTo>
                    <a:pt x="2413" y="20048"/>
                    <a:pt x="2413" y="20048"/>
                    <a:pt x="2413" y="20048"/>
                  </a:cubicBezTo>
                  <a:cubicBezTo>
                    <a:pt x="2413" y="20048"/>
                    <a:pt x="2413" y="20048"/>
                    <a:pt x="2413" y="20048"/>
                  </a:cubicBezTo>
                  <a:cubicBezTo>
                    <a:pt x="2413" y="20047"/>
                    <a:pt x="2413" y="20047"/>
                    <a:pt x="2413" y="20047"/>
                  </a:cubicBezTo>
                  <a:cubicBezTo>
                    <a:pt x="2397" y="20031"/>
                    <a:pt x="2434" y="20069"/>
                    <a:pt x="2430" y="20065"/>
                  </a:cubicBezTo>
                  <a:cubicBezTo>
                    <a:pt x="2429" y="20064"/>
                    <a:pt x="2429" y="20064"/>
                    <a:pt x="2429" y="20064"/>
                  </a:cubicBezTo>
                  <a:cubicBezTo>
                    <a:pt x="2427" y="20061"/>
                    <a:pt x="2427" y="20061"/>
                    <a:pt x="2427" y="20061"/>
                  </a:cubicBezTo>
                  <a:cubicBezTo>
                    <a:pt x="2422" y="20054"/>
                    <a:pt x="2417" y="20047"/>
                    <a:pt x="2413" y="20042"/>
                  </a:cubicBezTo>
                  <a:cubicBezTo>
                    <a:pt x="2406" y="20032"/>
                    <a:pt x="2402" y="20027"/>
                    <a:pt x="2402" y="20027"/>
                  </a:cubicBezTo>
                  <a:cubicBezTo>
                    <a:pt x="2402" y="20027"/>
                    <a:pt x="2392" y="20017"/>
                    <a:pt x="2376" y="20000"/>
                  </a:cubicBezTo>
                  <a:cubicBezTo>
                    <a:pt x="2368" y="19991"/>
                    <a:pt x="2358" y="19980"/>
                    <a:pt x="2346" y="19968"/>
                  </a:cubicBezTo>
                  <a:cubicBezTo>
                    <a:pt x="2341" y="19963"/>
                    <a:pt x="2335" y="19957"/>
                    <a:pt x="2329" y="19950"/>
                  </a:cubicBezTo>
                  <a:cubicBezTo>
                    <a:pt x="2327" y="19947"/>
                    <a:pt x="2324" y="19943"/>
                    <a:pt x="2321" y="19939"/>
                  </a:cubicBezTo>
                  <a:cubicBezTo>
                    <a:pt x="2307" y="19921"/>
                    <a:pt x="2294" y="19908"/>
                    <a:pt x="2274" y="19882"/>
                  </a:cubicBezTo>
                  <a:cubicBezTo>
                    <a:pt x="2255" y="19854"/>
                    <a:pt x="2231" y="19827"/>
                    <a:pt x="2212" y="19797"/>
                  </a:cubicBezTo>
                  <a:cubicBezTo>
                    <a:pt x="2129" y="19679"/>
                    <a:pt x="2065" y="19544"/>
                    <a:pt x="2065" y="19544"/>
                  </a:cubicBezTo>
                  <a:cubicBezTo>
                    <a:pt x="2065" y="19544"/>
                    <a:pt x="2066" y="19553"/>
                    <a:pt x="2072" y="19567"/>
                  </a:cubicBezTo>
                  <a:cubicBezTo>
                    <a:pt x="2076" y="19581"/>
                    <a:pt x="2083" y="19602"/>
                    <a:pt x="2092" y="19629"/>
                  </a:cubicBezTo>
                  <a:cubicBezTo>
                    <a:pt x="2109" y="19684"/>
                    <a:pt x="2139" y="19758"/>
                    <a:pt x="2180" y="19848"/>
                  </a:cubicBezTo>
                  <a:cubicBezTo>
                    <a:pt x="2201" y="19888"/>
                    <a:pt x="2224" y="19932"/>
                    <a:pt x="2248" y="19978"/>
                  </a:cubicBezTo>
                  <a:cubicBezTo>
                    <a:pt x="2253" y="19988"/>
                    <a:pt x="2258" y="19998"/>
                    <a:pt x="2264" y="20009"/>
                  </a:cubicBezTo>
                  <a:cubicBezTo>
                    <a:pt x="2270" y="20020"/>
                    <a:pt x="2287" y="20041"/>
                    <a:pt x="2299" y="20057"/>
                  </a:cubicBezTo>
                  <a:cubicBezTo>
                    <a:pt x="2312" y="20074"/>
                    <a:pt x="2325" y="20092"/>
                    <a:pt x="2338" y="20109"/>
                  </a:cubicBezTo>
                  <a:cubicBezTo>
                    <a:pt x="2348" y="20122"/>
                    <a:pt x="2348" y="20122"/>
                    <a:pt x="2348" y="20122"/>
                  </a:cubicBezTo>
                  <a:cubicBezTo>
                    <a:pt x="2353" y="20129"/>
                    <a:pt x="2353" y="20129"/>
                    <a:pt x="2353" y="20129"/>
                  </a:cubicBezTo>
                  <a:cubicBezTo>
                    <a:pt x="2355" y="20132"/>
                    <a:pt x="2355" y="20132"/>
                    <a:pt x="2355" y="20132"/>
                  </a:cubicBezTo>
                  <a:cubicBezTo>
                    <a:pt x="2356" y="20134"/>
                    <a:pt x="2356" y="20134"/>
                    <a:pt x="2356" y="20134"/>
                  </a:cubicBezTo>
                  <a:cubicBezTo>
                    <a:pt x="2357" y="20135"/>
                    <a:pt x="2357" y="20135"/>
                    <a:pt x="2357" y="20135"/>
                  </a:cubicBezTo>
                  <a:cubicBezTo>
                    <a:pt x="2326" y="20103"/>
                    <a:pt x="2349" y="20126"/>
                    <a:pt x="2342" y="20119"/>
                  </a:cubicBezTo>
                  <a:cubicBezTo>
                    <a:pt x="2356" y="20138"/>
                    <a:pt x="2356" y="20138"/>
                    <a:pt x="2356" y="20138"/>
                  </a:cubicBezTo>
                  <a:cubicBezTo>
                    <a:pt x="2431" y="20240"/>
                    <a:pt x="2522" y="20342"/>
                    <a:pt x="2627" y="20434"/>
                  </a:cubicBezTo>
                  <a:cubicBezTo>
                    <a:pt x="2834" y="20619"/>
                    <a:pt x="3101" y="20763"/>
                    <a:pt x="3324" y="20844"/>
                  </a:cubicBezTo>
                  <a:cubicBezTo>
                    <a:pt x="3435" y="20886"/>
                    <a:pt x="3532" y="20915"/>
                    <a:pt x="3601" y="20934"/>
                  </a:cubicBezTo>
                  <a:cubicBezTo>
                    <a:pt x="3670" y="20954"/>
                    <a:pt x="3711" y="20962"/>
                    <a:pt x="3711" y="20962"/>
                  </a:cubicBezTo>
                  <a:cubicBezTo>
                    <a:pt x="3799" y="20983"/>
                    <a:pt x="3876" y="20999"/>
                    <a:pt x="3950" y="21016"/>
                  </a:cubicBezTo>
                  <a:cubicBezTo>
                    <a:pt x="3989" y="21024"/>
                    <a:pt x="4036" y="21031"/>
                    <a:pt x="4077" y="21038"/>
                  </a:cubicBezTo>
                  <a:cubicBezTo>
                    <a:pt x="4138" y="21049"/>
                    <a:pt x="4138" y="21049"/>
                    <a:pt x="4138" y="21049"/>
                  </a:cubicBezTo>
                  <a:cubicBezTo>
                    <a:pt x="4146" y="21051"/>
                    <a:pt x="4146" y="21051"/>
                    <a:pt x="4146" y="21051"/>
                  </a:cubicBezTo>
                  <a:cubicBezTo>
                    <a:pt x="4149" y="21051"/>
                    <a:pt x="4149" y="21051"/>
                    <a:pt x="4149" y="21051"/>
                  </a:cubicBezTo>
                  <a:cubicBezTo>
                    <a:pt x="4150" y="21051"/>
                    <a:pt x="4150" y="21051"/>
                    <a:pt x="4150" y="21051"/>
                  </a:cubicBezTo>
                  <a:cubicBezTo>
                    <a:pt x="4151" y="21052"/>
                    <a:pt x="4151" y="21052"/>
                    <a:pt x="4151" y="21052"/>
                  </a:cubicBezTo>
                  <a:cubicBezTo>
                    <a:pt x="4153" y="21052"/>
                    <a:pt x="4134" y="21051"/>
                    <a:pt x="4142" y="21052"/>
                  </a:cubicBezTo>
                  <a:cubicBezTo>
                    <a:pt x="4144" y="21052"/>
                    <a:pt x="4144" y="21052"/>
                    <a:pt x="4144" y="21052"/>
                  </a:cubicBezTo>
                  <a:cubicBezTo>
                    <a:pt x="4159" y="21054"/>
                    <a:pt x="4159" y="21054"/>
                    <a:pt x="4159" y="21054"/>
                  </a:cubicBezTo>
                  <a:cubicBezTo>
                    <a:pt x="4188" y="21059"/>
                    <a:pt x="4188" y="21059"/>
                    <a:pt x="4188" y="21059"/>
                  </a:cubicBezTo>
                  <a:cubicBezTo>
                    <a:pt x="4344" y="21086"/>
                    <a:pt x="4475" y="21115"/>
                    <a:pt x="4581" y="21144"/>
                  </a:cubicBezTo>
                  <a:cubicBezTo>
                    <a:pt x="4793" y="21203"/>
                    <a:pt x="4904" y="21267"/>
                    <a:pt x="4904" y="21334"/>
                  </a:cubicBezTo>
                  <a:cubicBezTo>
                    <a:pt x="4904" y="21400"/>
                    <a:pt x="4793" y="21464"/>
                    <a:pt x="4581" y="21523"/>
                  </a:cubicBezTo>
                  <a:cubicBezTo>
                    <a:pt x="4475" y="21552"/>
                    <a:pt x="4344" y="21581"/>
                    <a:pt x="4188" y="21608"/>
                  </a:cubicBezTo>
                  <a:cubicBezTo>
                    <a:pt x="4108" y="21621"/>
                    <a:pt x="4027" y="21632"/>
                    <a:pt x="3936" y="21642"/>
                  </a:cubicBezTo>
                  <a:cubicBezTo>
                    <a:pt x="3843" y="21650"/>
                    <a:pt x="3743" y="21657"/>
                    <a:pt x="3639" y="21657"/>
                  </a:cubicBezTo>
                  <a:cubicBezTo>
                    <a:pt x="3639" y="21657"/>
                    <a:pt x="3513" y="21661"/>
                    <a:pt x="3321" y="21648"/>
                  </a:cubicBezTo>
                  <a:cubicBezTo>
                    <a:pt x="3129" y="21636"/>
                    <a:pt x="2871" y="21602"/>
                    <a:pt x="2615" y="21530"/>
                  </a:cubicBezTo>
                  <a:cubicBezTo>
                    <a:pt x="2358" y="21460"/>
                    <a:pt x="2107" y="21350"/>
                    <a:pt x="1928" y="21247"/>
                  </a:cubicBezTo>
                  <a:cubicBezTo>
                    <a:pt x="1840" y="21195"/>
                    <a:pt x="1765" y="21150"/>
                    <a:pt x="1716" y="21114"/>
                  </a:cubicBezTo>
                  <a:cubicBezTo>
                    <a:pt x="1666" y="21080"/>
                    <a:pt x="1638" y="21060"/>
                    <a:pt x="1638" y="21060"/>
                  </a:cubicBezTo>
                  <a:cubicBezTo>
                    <a:pt x="1638" y="21060"/>
                    <a:pt x="1618" y="21045"/>
                    <a:pt x="1583" y="21018"/>
                  </a:cubicBezTo>
                  <a:cubicBezTo>
                    <a:pt x="1565" y="21004"/>
                    <a:pt x="1544" y="20988"/>
                    <a:pt x="1520" y="20969"/>
                  </a:cubicBezTo>
                  <a:cubicBezTo>
                    <a:pt x="1496" y="20949"/>
                    <a:pt x="1469" y="20927"/>
                    <a:pt x="1440" y="20902"/>
                  </a:cubicBezTo>
                  <a:cubicBezTo>
                    <a:pt x="1427" y="20891"/>
                    <a:pt x="1414" y="20880"/>
                    <a:pt x="1400" y="20869"/>
                  </a:cubicBezTo>
                  <a:cubicBezTo>
                    <a:pt x="1393" y="20863"/>
                    <a:pt x="1386" y="20857"/>
                    <a:pt x="1379" y="20851"/>
                  </a:cubicBezTo>
                  <a:cubicBezTo>
                    <a:pt x="1371" y="20843"/>
                    <a:pt x="1363" y="20835"/>
                    <a:pt x="1355" y="20827"/>
                  </a:cubicBezTo>
                  <a:cubicBezTo>
                    <a:pt x="1321" y="20794"/>
                    <a:pt x="1286" y="20760"/>
                    <a:pt x="1249" y="20724"/>
                  </a:cubicBezTo>
                  <a:cubicBezTo>
                    <a:pt x="1183" y="20654"/>
                    <a:pt x="1113" y="20579"/>
                    <a:pt x="1049" y="20498"/>
                  </a:cubicBezTo>
                  <a:cubicBezTo>
                    <a:pt x="919" y="20336"/>
                    <a:pt x="807" y="20160"/>
                    <a:pt x="732" y="20024"/>
                  </a:cubicBezTo>
                  <a:cubicBezTo>
                    <a:pt x="695" y="19955"/>
                    <a:pt x="666" y="19897"/>
                    <a:pt x="645" y="19856"/>
                  </a:cubicBezTo>
                  <a:cubicBezTo>
                    <a:pt x="626" y="19815"/>
                    <a:pt x="616" y="19792"/>
                    <a:pt x="616" y="19792"/>
                  </a:cubicBezTo>
                  <a:cubicBezTo>
                    <a:pt x="616" y="19792"/>
                    <a:pt x="563" y="19681"/>
                    <a:pt x="498" y="19508"/>
                  </a:cubicBezTo>
                  <a:cubicBezTo>
                    <a:pt x="436" y="19336"/>
                    <a:pt x="366" y="19102"/>
                    <a:pt x="319" y="18866"/>
                  </a:cubicBezTo>
                  <a:cubicBezTo>
                    <a:pt x="294" y="18748"/>
                    <a:pt x="276" y="18630"/>
                    <a:pt x="259" y="18519"/>
                  </a:cubicBezTo>
                  <a:cubicBezTo>
                    <a:pt x="246" y="18412"/>
                    <a:pt x="234" y="18313"/>
                    <a:pt x="224" y="18228"/>
                  </a:cubicBezTo>
                  <a:cubicBezTo>
                    <a:pt x="206" y="18070"/>
                    <a:pt x="194" y="17966"/>
                    <a:pt x="194" y="17966"/>
                  </a:cubicBezTo>
                  <a:cubicBezTo>
                    <a:pt x="101" y="17158"/>
                    <a:pt x="49" y="16085"/>
                    <a:pt x="49" y="14943"/>
                  </a:cubicBezTo>
                  <a:cubicBezTo>
                    <a:pt x="49" y="14641"/>
                    <a:pt x="53" y="14344"/>
                    <a:pt x="60" y="14056"/>
                  </a:cubicBezTo>
                  <a:cubicBezTo>
                    <a:pt x="66" y="13825"/>
                    <a:pt x="73" y="13600"/>
                    <a:pt x="83" y="13382"/>
                  </a:cubicBezTo>
                  <a:cubicBezTo>
                    <a:pt x="108" y="12841"/>
                    <a:pt x="145" y="12344"/>
                    <a:pt x="194" y="11920"/>
                  </a:cubicBezTo>
                  <a:cubicBezTo>
                    <a:pt x="777" y="6879"/>
                    <a:pt x="777" y="6879"/>
                    <a:pt x="777" y="6879"/>
                  </a:cubicBezTo>
                  <a:cubicBezTo>
                    <a:pt x="871" y="6071"/>
                    <a:pt x="995" y="5627"/>
                    <a:pt x="1127" y="5627"/>
                  </a:cubicBezTo>
                  <a:cubicBezTo>
                    <a:pt x="1259" y="5627"/>
                    <a:pt x="1383" y="6071"/>
                    <a:pt x="1476" y="6879"/>
                  </a:cubicBezTo>
                  <a:cubicBezTo>
                    <a:pt x="1742" y="9178"/>
                    <a:pt x="1742" y="9178"/>
                    <a:pt x="1742" y="9178"/>
                  </a:cubicBezTo>
                  <a:cubicBezTo>
                    <a:pt x="1826" y="9901"/>
                    <a:pt x="1826" y="9901"/>
                    <a:pt x="1826" y="9901"/>
                  </a:cubicBezTo>
                  <a:cubicBezTo>
                    <a:pt x="1826" y="7801"/>
                    <a:pt x="1826" y="7801"/>
                    <a:pt x="1826" y="7801"/>
                  </a:cubicBezTo>
                  <a:cubicBezTo>
                    <a:pt x="1809" y="7775"/>
                    <a:pt x="1792" y="7743"/>
                    <a:pt x="1776" y="7706"/>
                  </a:cubicBezTo>
                  <a:cubicBezTo>
                    <a:pt x="1665" y="7455"/>
                    <a:pt x="1563" y="6951"/>
                    <a:pt x="1479" y="6230"/>
                  </a:cubicBezTo>
                  <a:cubicBezTo>
                    <a:pt x="1479" y="6230"/>
                    <a:pt x="1281" y="4519"/>
                    <a:pt x="1083" y="2808"/>
                  </a:cubicBezTo>
                  <a:cubicBezTo>
                    <a:pt x="1034" y="2380"/>
                    <a:pt x="984" y="1952"/>
                    <a:pt x="938" y="1551"/>
                  </a:cubicBezTo>
                  <a:cubicBezTo>
                    <a:pt x="920" y="1351"/>
                    <a:pt x="871" y="1159"/>
                    <a:pt x="921" y="963"/>
                  </a:cubicBezTo>
                  <a:cubicBezTo>
                    <a:pt x="947" y="868"/>
                    <a:pt x="1003" y="772"/>
                    <a:pt x="1088" y="712"/>
                  </a:cubicBezTo>
                  <a:cubicBezTo>
                    <a:pt x="1172" y="648"/>
                    <a:pt x="1270" y="620"/>
                    <a:pt x="1359" y="606"/>
                  </a:cubicBezTo>
                  <a:cubicBezTo>
                    <a:pt x="2004" y="531"/>
                    <a:pt x="2434" y="481"/>
                    <a:pt x="2434" y="481"/>
                  </a:cubicBezTo>
                  <a:cubicBezTo>
                    <a:pt x="2738" y="445"/>
                    <a:pt x="3071" y="415"/>
                    <a:pt x="3426" y="389"/>
                  </a:cubicBezTo>
                  <a:cubicBezTo>
                    <a:pt x="3776" y="364"/>
                    <a:pt x="4147" y="342"/>
                    <a:pt x="4534" y="326"/>
                  </a:cubicBezTo>
                  <a:cubicBezTo>
                    <a:pt x="4687" y="321"/>
                    <a:pt x="4841" y="316"/>
                    <a:pt x="4995" y="310"/>
                  </a:cubicBezTo>
                  <a:cubicBezTo>
                    <a:pt x="5073" y="308"/>
                    <a:pt x="5152" y="306"/>
                    <a:pt x="5230" y="303"/>
                  </a:cubicBezTo>
                  <a:cubicBezTo>
                    <a:pt x="5349" y="301"/>
                    <a:pt x="5349" y="301"/>
                    <a:pt x="5349" y="301"/>
                  </a:cubicBezTo>
                  <a:cubicBezTo>
                    <a:pt x="5476" y="300"/>
                    <a:pt x="5476" y="300"/>
                    <a:pt x="5476" y="300"/>
                  </a:cubicBezTo>
                  <a:cubicBezTo>
                    <a:pt x="5596" y="300"/>
                    <a:pt x="5596" y="300"/>
                    <a:pt x="5596" y="300"/>
                  </a:cubicBezTo>
                  <a:cubicBezTo>
                    <a:pt x="5636" y="300"/>
                    <a:pt x="5677" y="300"/>
                    <a:pt x="5722" y="303"/>
                  </a:cubicBezTo>
                  <a:cubicBezTo>
                    <a:pt x="5809" y="307"/>
                    <a:pt x="5898" y="310"/>
                    <a:pt x="5986" y="316"/>
                  </a:cubicBezTo>
                  <a:cubicBezTo>
                    <a:pt x="6073" y="325"/>
                    <a:pt x="6159" y="333"/>
                    <a:pt x="6246" y="341"/>
                  </a:cubicBezTo>
                  <a:cubicBezTo>
                    <a:pt x="6333" y="354"/>
                    <a:pt x="6421" y="366"/>
                    <a:pt x="6508" y="379"/>
                  </a:cubicBezTo>
                  <a:cubicBezTo>
                    <a:pt x="6909" y="444"/>
                    <a:pt x="7301" y="557"/>
                    <a:pt x="7664" y="714"/>
                  </a:cubicBezTo>
                  <a:cubicBezTo>
                    <a:pt x="8028" y="870"/>
                    <a:pt x="8361" y="1071"/>
                    <a:pt x="8650" y="1302"/>
                  </a:cubicBezTo>
                  <a:cubicBezTo>
                    <a:pt x="8795" y="1416"/>
                    <a:pt x="8928" y="1538"/>
                    <a:pt x="9050" y="1664"/>
                  </a:cubicBezTo>
                  <a:cubicBezTo>
                    <a:pt x="9113" y="1725"/>
                    <a:pt x="9168" y="1792"/>
                    <a:pt x="9225" y="1856"/>
                  </a:cubicBezTo>
                  <a:cubicBezTo>
                    <a:pt x="9266" y="1903"/>
                    <a:pt x="9266" y="1903"/>
                    <a:pt x="9266" y="1903"/>
                  </a:cubicBezTo>
                  <a:cubicBezTo>
                    <a:pt x="9277" y="1915"/>
                    <a:pt x="9277" y="1915"/>
                    <a:pt x="9277" y="1915"/>
                  </a:cubicBezTo>
                  <a:cubicBezTo>
                    <a:pt x="9278" y="1917"/>
                    <a:pt x="9278" y="1917"/>
                    <a:pt x="9278" y="1917"/>
                  </a:cubicBezTo>
                  <a:cubicBezTo>
                    <a:pt x="9291" y="1930"/>
                    <a:pt x="9261" y="1900"/>
                    <a:pt x="9264" y="1903"/>
                  </a:cubicBezTo>
                  <a:cubicBezTo>
                    <a:pt x="9265" y="1904"/>
                    <a:pt x="9265" y="1904"/>
                    <a:pt x="9265" y="1904"/>
                  </a:cubicBezTo>
                  <a:cubicBezTo>
                    <a:pt x="9267" y="1906"/>
                    <a:pt x="9267" y="1906"/>
                    <a:pt x="9267" y="1906"/>
                  </a:cubicBezTo>
                  <a:cubicBezTo>
                    <a:pt x="9272" y="1912"/>
                    <a:pt x="9272" y="1912"/>
                    <a:pt x="9272" y="1912"/>
                  </a:cubicBezTo>
                  <a:cubicBezTo>
                    <a:pt x="9292" y="1933"/>
                    <a:pt x="9292" y="1933"/>
                    <a:pt x="9292" y="1933"/>
                  </a:cubicBezTo>
                  <a:cubicBezTo>
                    <a:pt x="9371" y="2019"/>
                    <a:pt x="9371" y="2019"/>
                    <a:pt x="9371" y="2019"/>
                  </a:cubicBezTo>
                  <a:cubicBezTo>
                    <a:pt x="9580" y="2247"/>
                    <a:pt x="9773" y="2464"/>
                    <a:pt x="9948" y="2670"/>
                  </a:cubicBezTo>
                  <a:cubicBezTo>
                    <a:pt x="13357" y="6676"/>
                    <a:pt x="13357" y="6676"/>
                    <a:pt x="13357" y="6676"/>
                  </a:cubicBezTo>
                  <a:cubicBezTo>
                    <a:pt x="13357" y="6676"/>
                    <a:pt x="13420" y="6750"/>
                    <a:pt x="13515" y="6861"/>
                  </a:cubicBezTo>
                  <a:cubicBezTo>
                    <a:pt x="13563" y="6918"/>
                    <a:pt x="13620" y="6983"/>
                    <a:pt x="13680" y="7054"/>
                  </a:cubicBezTo>
                  <a:cubicBezTo>
                    <a:pt x="13741" y="7123"/>
                    <a:pt x="13801" y="7195"/>
                    <a:pt x="13870" y="7271"/>
                  </a:cubicBezTo>
                  <a:cubicBezTo>
                    <a:pt x="14006" y="7423"/>
                    <a:pt x="14144" y="7569"/>
                    <a:pt x="14248" y="7678"/>
                  </a:cubicBezTo>
                  <a:cubicBezTo>
                    <a:pt x="14353" y="7786"/>
                    <a:pt x="14423" y="7858"/>
                    <a:pt x="14423" y="7858"/>
                  </a:cubicBezTo>
                  <a:cubicBezTo>
                    <a:pt x="14474" y="7910"/>
                    <a:pt x="14474" y="7910"/>
                    <a:pt x="14474" y="7910"/>
                  </a:cubicBezTo>
                  <a:cubicBezTo>
                    <a:pt x="15085" y="8521"/>
                    <a:pt x="15499" y="8926"/>
                    <a:pt x="15607" y="9154"/>
                  </a:cubicBezTo>
                  <a:cubicBezTo>
                    <a:pt x="15607" y="9154"/>
                    <a:pt x="15679" y="9200"/>
                    <a:pt x="15805" y="9280"/>
                  </a:cubicBezTo>
                  <a:cubicBezTo>
                    <a:pt x="15931" y="9359"/>
                    <a:pt x="16113" y="9470"/>
                    <a:pt x="16335" y="9598"/>
                  </a:cubicBezTo>
                  <a:cubicBezTo>
                    <a:pt x="16558" y="9723"/>
                    <a:pt x="16819" y="9868"/>
                    <a:pt x="17106" y="10010"/>
                  </a:cubicBezTo>
                  <a:cubicBezTo>
                    <a:pt x="17177" y="10047"/>
                    <a:pt x="17251" y="10081"/>
                    <a:pt x="17325" y="10117"/>
                  </a:cubicBezTo>
                  <a:cubicBezTo>
                    <a:pt x="17362" y="10135"/>
                    <a:pt x="17399" y="10153"/>
                    <a:pt x="17437" y="10171"/>
                  </a:cubicBezTo>
                  <a:cubicBezTo>
                    <a:pt x="17477" y="10190"/>
                    <a:pt x="17517" y="10208"/>
                    <a:pt x="17557" y="10226"/>
                  </a:cubicBezTo>
                  <a:cubicBezTo>
                    <a:pt x="17593" y="10243"/>
                    <a:pt x="17629" y="10259"/>
                    <a:pt x="17666" y="10275"/>
                  </a:cubicBezTo>
                  <a:cubicBezTo>
                    <a:pt x="17720" y="10300"/>
                    <a:pt x="17720" y="10300"/>
                    <a:pt x="17720" y="10300"/>
                  </a:cubicBezTo>
                  <a:cubicBezTo>
                    <a:pt x="17783" y="10326"/>
                    <a:pt x="17783" y="10326"/>
                    <a:pt x="17783" y="10326"/>
                  </a:cubicBezTo>
                  <a:cubicBezTo>
                    <a:pt x="17868" y="10362"/>
                    <a:pt x="17953" y="10397"/>
                    <a:pt x="18038" y="10432"/>
                  </a:cubicBezTo>
                  <a:cubicBezTo>
                    <a:pt x="18365" y="10561"/>
                    <a:pt x="18698" y="10672"/>
                    <a:pt x="19013" y="10765"/>
                  </a:cubicBezTo>
                  <a:cubicBezTo>
                    <a:pt x="19328" y="10856"/>
                    <a:pt x="19625" y="10926"/>
                    <a:pt x="19880" y="10979"/>
                  </a:cubicBezTo>
                  <a:cubicBezTo>
                    <a:pt x="20135" y="11032"/>
                    <a:pt x="20348" y="11069"/>
                    <a:pt x="20498" y="11092"/>
                  </a:cubicBezTo>
                  <a:cubicBezTo>
                    <a:pt x="20647" y="11117"/>
                    <a:pt x="20732" y="11126"/>
                    <a:pt x="20732" y="11126"/>
                  </a:cubicBezTo>
                  <a:cubicBezTo>
                    <a:pt x="21052" y="11161"/>
                    <a:pt x="21380" y="11181"/>
                    <a:pt x="21715" y="11200"/>
                  </a:cubicBezTo>
                  <a:cubicBezTo>
                    <a:pt x="22049" y="11215"/>
                    <a:pt x="22390" y="11224"/>
                    <a:pt x="22734" y="11225"/>
                  </a:cubicBezTo>
                  <a:cubicBezTo>
                    <a:pt x="22820" y="11225"/>
                    <a:pt x="22905" y="11224"/>
                    <a:pt x="22990" y="11224"/>
                  </a:cubicBezTo>
                  <a:cubicBezTo>
                    <a:pt x="23111" y="11223"/>
                    <a:pt x="23111" y="11223"/>
                    <a:pt x="23111" y="11223"/>
                  </a:cubicBezTo>
                  <a:cubicBezTo>
                    <a:pt x="23240" y="11220"/>
                    <a:pt x="23240" y="11220"/>
                    <a:pt x="23240" y="11220"/>
                  </a:cubicBezTo>
                  <a:cubicBezTo>
                    <a:pt x="23328" y="11218"/>
                    <a:pt x="23414" y="11216"/>
                    <a:pt x="23501" y="11215"/>
                  </a:cubicBezTo>
                  <a:cubicBezTo>
                    <a:pt x="23585" y="11211"/>
                    <a:pt x="23670" y="11208"/>
                    <a:pt x="23753" y="11204"/>
                  </a:cubicBezTo>
                  <a:cubicBezTo>
                    <a:pt x="24088" y="11190"/>
                    <a:pt x="24416" y="11168"/>
                    <a:pt x="24735" y="11137"/>
                  </a:cubicBezTo>
                  <a:cubicBezTo>
                    <a:pt x="24735" y="11137"/>
                    <a:pt x="25195" y="11080"/>
                    <a:pt x="25652" y="10983"/>
                  </a:cubicBezTo>
                  <a:cubicBezTo>
                    <a:pt x="25880" y="10936"/>
                    <a:pt x="26107" y="10881"/>
                    <a:pt x="26277" y="10837"/>
                  </a:cubicBezTo>
                  <a:cubicBezTo>
                    <a:pt x="26447" y="10790"/>
                    <a:pt x="26560" y="10758"/>
                    <a:pt x="26560" y="10758"/>
                  </a:cubicBezTo>
                  <a:cubicBezTo>
                    <a:pt x="26456" y="10776"/>
                    <a:pt x="26456" y="10776"/>
                    <a:pt x="26456" y="10776"/>
                  </a:cubicBezTo>
                  <a:cubicBezTo>
                    <a:pt x="26021" y="10849"/>
                    <a:pt x="25680" y="10865"/>
                    <a:pt x="25447" y="10849"/>
                  </a:cubicBezTo>
                  <a:cubicBezTo>
                    <a:pt x="25215" y="10834"/>
                    <a:pt x="25089" y="10787"/>
                    <a:pt x="25079" y="10722"/>
                  </a:cubicBezTo>
                  <a:cubicBezTo>
                    <a:pt x="25068" y="10657"/>
                    <a:pt x="25173" y="10577"/>
                    <a:pt x="25376" y="10477"/>
                  </a:cubicBezTo>
                  <a:cubicBezTo>
                    <a:pt x="25580" y="10378"/>
                    <a:pt x="25883" y="10259"/>
                    <a:pt x="26266" y="10103"/>
                  </a:cubicBezTo>
                  <a:cubicBezTo>
                    <a:pt x="26266" y="10103"/>
                    <a:pt x="26285" y="10095"/>
                    <a:pt x="26320" y="10081"/>
                  </a:cubicBezTo>
                  <a:cubicBezTo>
                    <a:pt x="26355" y="10067"/>
                    <a:pt x="26405" y="10046"/>
                    <a:pt x="26470" y="10017"/>
                  </a:cubicBezTo>
                  <a:cubicBezTo>
                    <a:pt x="26599" y="9962"/>
                    <a:pt x="26782" y="9879"/>
                    <a:pt x="26996" y="9771"/>
                  </a:cubicBezTo>
                  <a:cubicBezTo>
                    <a:pt x="27210" y="9664"/>
                    <a:pt x="27455" y="9529"/>
                    <a:pt x="27708" y="9374"/>
                  </a:cubicBezTo>
                  <a:cubicBezTo>
                    <a:pt x="27960" y="9218"/>
                    <a:pt x="28223" y="9044"/>
                    <a:pt x="28479" y="8863"/>
                  </a:cubicBezTo>
                  <a:cubicBezTo>
                    <a:pt x="28992" y="8499"/>
                    <a:pt x="29473" y="8101"/>
                    <a:pt x="29818" y="7790"/>
                  </a:cubicBezTo>
                  <a:cubicBezTo>
                    <a:pt x="29903" y="7711"/>
                    <a:pt x="29982" y="7639"/>
                    <a:pt x="30051" y="7575"/>
                  </a:cubicBezTo>
                  <a:cubicBezTo>
                    <a:pt x="30119" y="7510"/>
                    <a:pt x="30179" y="7453"/>
                    <a:pt x="30227" y="7406"/>
                  </a:cubicBezTo>
                  <a:cubicBezTo>
                    <a:pt x="30324" y="7312"/>
                    <a:pt x="30378" y="7257"/>
                    <a:pt x="30378" y="7257"/>
                  </a:cubicBezTo>
                  <a:cubicBezTo>
                    <a:pt x="30392" y="7243"/>
                    <a:pt x="30392" y="7243"/>
                    <a:pt x="30392" y="7243"/>
                  </a:cubicBezTo>
                  <a:cubicBezTo>
                    <a:pt x="30617" y="7018"/>
                    <a:pt x="30872" y="6765"/>
                    <a:pt x="31143" y="6489"/>
                  </a:cubicBezTo>
                  <a:cubicBezTo>
                    <a:pt x="31247" y="6382"/>
                    <a:pt x="31352" y="6275"/>
                    <a:pt x="31457" y="6168"/>
                  </a:cubicBezTo>
                  <a:cubicBezTo>
                    <a:pt x="31569" y="6056"/>
                    <a:pt x="31682" y="5944"/>
                    <a:pt x="31795" y="5831"/>
                  </a:cubicBezTo>
                  <a:cubicBezTo>
                    <a:pt x="32026" y="5604"/>
                    <a:pt x="32268" y="5372"/>
                    <a:pt x="32518" y="5140"/>
                  </a:cubicBezTo>
                  <a:cubicBezTo>
                    <a:pt x="33355" y="4362"/>
                    <a:pt x="34176" y="3668"/>
                    <a:pt x="34830" y="3187"/>
                  </a:cubicBezTo>
                  <a:cubicBezTo>
                    <a:pt x="34830" y="3187"/>
                    <a:pt x="35853" y="2435"/>
                    <a:pt x="36875" y="1684"/>
                  </a:cubicBezTo>
                  <a:cubicBezTo>
                    <a:pt x="37129" y="1494"/>
                    <a:pt x="37388" y="1310"/>
                    <a:pt x="37623" y="1129"/>
                  </a:cubicBezTo>
                  <a:cubicBezTo>
                    <a:pt x="37742" y="1042"/>
                    <a:pt x="37862" y="962"/>
                    <a:pt x="37978" y="907"/>
                  </a:cubicBezTo>
                  <a:cubicBezTo>
                    <a:pt x="38093" y="853"/>
                    <a:pt x="38210" y="832"/>
                    <a:pt x="38316" y="829"/>
                  </a:cubicBezTo>
                  <a:cubicBezTo>
                    <a:pt x="38369" y="827"/>
                    <a:pt x="38420" y="831"/>
                    <a:pt x="38468" y="837"/>
                  </a:cubicBezTo>
                  <a:cubicBezTo>
                    <a:pt x="38522" y="843"/>
                    <a:pt x="38573" y="849"/>
                    <a:pt x="38621" y="855"/>
                  </a:cubicBezTo>
                  <a:cubicBezTo>
                    <a:pt x="38717" y="866"/>
                    <a:pt x="38800" y="875"/>
                    <a:pt x="38869" y="883"/>
                  </a:cubicBezTo>
                  <a:cubicBezTo>
                    <a:pt x="39007" y="899"/>
                    <a:pt x="39086" y="908"/>
                    <a:pt x="39086" y="908"/>
                  </a:cubicBezTo>
                  <a:cubicBezTo>
                    <a:pt x="39727" y="983"/>
                    <a:pt x="40138" y="1076"/>
                    <a:pt x="40281" y="1178"/>
                  </a:cubicBezTo>
                  <a:cubicBezTo>
                    <a:pt x="40318" y="1204"/>
                    <a:pt x="40338" y="1231"/>
                    <a:pt x="40338" y="1258"/>
                  </a:cubicBezTo>
                  <a:cubicBezTo>
                    <a:pt x="40338" y="1267"/>
                    <a:pt x="40335" y="1275"/>
                    <a:pt x="40331" y="1284"/>
                  </a:cubicBezTo>
                  <a:cubicBezTo>
                    <a:pt x="40277" y="1406"/>
                    <a:pt x="39840" y="1520"/>
                    <a:pt x="39086" y="1608"/>
                  </a:cubicBezTo>
                  <a:cubicBezTo>
                    <a:pt x="38989" y="1619"/>
                    <a:pt x="38989" y="1619"/>
                    <a:pt x="38989" y="1619"/>
                  </a:cubicBezTo>
                  <a:cubicBezTo>
                    <a:pt x="40010" y="1619"/>
                    <a:pt x="40010" y="1619"/>
                    <a:pt x="40010" y="1619"/>
                  </a:cubicBezTo>
                  <a:cubicBezTo>
                    <a:pt x="40010" y="1619"/>
                    <a:pt x="40594" y="1551"/>
                    <a:pt x="41178" y="1484"/>
                  </a:cubicBezTo>
                  <a:cubicBezTo>
                    <a:pt x="41251" y="1475"/>
                    <a:pt x="41324" y="1467"/>
                    <a:pt x="41396" y="1459"/>
                  </a:cubicBezTo>
                  <a:cubicBezTo>
                    <a:pt x="41402" y="1458"/>
                    <a:pt x="41402" y="1458"/>
                    <a:pt x="41402" y="1458"/>
                  </a:cubicBezTo>
                  <a:cubicBezTo>
                    <a:pt x="41406" y="1457"/>
                    <a:pt x="41406" y="1457"/>
                    <a:pt x="41406" y="1457"/>
                  </a:cubicBezTo>
                  <a:cubicBezTo>
                    <a:pt x="41407" y="1457"/>
                    <a:pt x="41407" y="1457"/>
                    <a:pt x="41407" y="1457"/>
                  </a:cubicBezTo>
                  <a:cubicBezTo>
                    <a:pt x="41408" y="1457"/>
                    <a:pt x="41408" y="1457"/>
                    <a:pt x="41408" y="1457"/>
                  </a:cubicBezTo>
                  <a:cubicBezTo>
                    <a:pt x="41381" y="1457"/>
                    <a:pt x="41401" y="1457"/>
                    <a:pt x="41395" y="1457"/>
                  </a:cubicBezTo>
                  <a:cubicBezTo>
                    <a:pt x="41409" y="1456"/>
                    <a:pt x="41409" y="1456"/>
                    <a:pt x="41409" y="1456"/>
                  </a:cubicBezTo>
                  <a:cubicBezTo>
                    <a:pt x="41436" y="1453"/>
                    <a:pt x="41436" y="1453"/>
                    <a:pt x="41436" y="1453"/>
                  </a:cubicBezTo>
                  <a:cubicBezTo>
                    <a:pt x="41489" y="1448"/>
                    <a:pt x="41489" y="1448"/>
                    <a:pt x="41489" y="1448"/>
                  </a:cubicBezTo>
                  <a:cubicBezTo>
                    <a:pt x="41523" y="1444"/>
                    <a:pt x="41557" y="1441"/>
                    <a:pt x="41591" y="1438"/>
                  </a:cubicBezTo>
                  <a:cubicBezTo>
                    <a:pt x="41644" y="1434"/>
                    <a:pt x="41694" y="1427"/>
                    <a:pt x="41746" y="1425"/>
                  </a:cubicBezTo>
                  <a:cubicBezTo>
                    <a:pt x="41799" y="1423"/>
                    <a:pt x="41850" y="1420"/>
                    <a:pt x="41896" y="1420"/>
                  </a:cubicBezTo>
                  <a:cubicBezTo>
                    <a:pt x="41942" y="1420"/>
                    <a:pt x="41984" y="1420"/>
                    <a:pt x="42022" y="1420"/>
                  </a:cubicBezTo>
                  <a:cubicBezTo>
                    <a:pt x="42059" y="1421"/>
                    <a:pt x="42091" y="1422"/>
                    <a:pt x="42118" y="1424"/>
                  </a:cubicBezTo>
                  <a:cubicBezTo>
                    <a:pt x="42172" y="1425"/>
                    <a:pt x="42201" y="1429"/>
                    <a:pt x="42201" y="1429"/>
                  </a:cubicBezTo>
                  <a:cubicBezTo>
                    <a:pt x="42423" y="1446"/>
                    <a:pt x="42656" y="1494"/>
                    <a:pt x="42884" y="1590"/>
                  </a:cubicBezTo>
                  <a:cubicBezTo>
                    <a:pt x="42997" y="1639"/>
                    <a:pt x="43110" y="1697"/>
                    <a:pt x="43219" y="1770"/>
                  </a:cubicBezTo>
                  <a:cubicBezTo>
                    <a:pt x="43272" y="1808"/>
                    <a:pt x="43327" y="1846"/>
                    <a:pt x="43378" y="1891"/>
                  </a:cubicBezTo>
                  <a:cubicBezTo>
                    <a:pt x="43417" y="1923"/>
                    <a:pt x="43417" y="1923"/>
                    <a:pt x="43417" y="1923"/>
                  </a:cubicBezTo>
                  <a:cubicBezTo>
                    <a:pt x="43418" y="1924"/>
                    <a:pt x="43418" y="1924"/>
                    <a:pt x="43418" y="1924"/>
                  </a:cubicBezTo>
                  <a:cubicBezTo>
                    <a:pt x="43414" y="1920"/>
                    <a:pt x="43429" y="1935"/>
                    <a:pt x="43409" y="1915"/>
                  </a:cubicBezTo>
                  <a:cubicBezTo>
                    <a:pt x="43410" y="1915"/>
                    <a:pt x="43410" y="1915"/>
                    <a:pt x="43410" y="1915"/>
                  </a:cubicBezTo>
                  <a:cubicBezTo>
                    <a:pt x="43413" y="1918"/>
                    <a:pt x="43413" y="1918"/>
                    <a:pt x="43413" y="1918"/>
                  </a:cubicBezTo>
                  <a:cubicBezTo>
                    <a:pt x="43418" y="1923"/>
                    <a:pt x="43418" y="1923"/>
                    <a:pt x="43418" y="1923"/>
                  </a:cubicBezTo>
                  <a:cubicBezTo>
                    <a:pt x="43430" y="1934"/>
                    <a:pt x="43430" y="1934"/>
                    <a:pt x="43430" y="1934"/>
                  </a:cubicBezTo>
                  <a:cubicBezTo>
                    <a:pt x="43452" y="1956"/>
                    <a:pt x="43452" y="1956"/>
                    <a:pt x="43452" y="1956"/>
                  </a:cubicBezTo>
                  <a:cubicBezTo>
                    <a:pt x="43498" y="2000"/>
                    <a:pt x="43498" y="2000"/>
                    <a:pt x="43498" y="2000"/>
                  </a:cubicBezTo>
                  <a:cubicBezTo>
                    <a:pt x="43520" y="2021"/>
                    <a:pt x="43520" y="2021"/>
                    <a:pt x="43520" y="2021"/>
                  </a:cubicBezTo>
                  <a:cubicBezTo>
                    <a:pt x="43536" y="2038"/>
                    <a:pt x="43536" y="2038"/>
                    <a:pt x="43536" y="2038"/>
                  </a:cubicBezTo>
                  <a:cubicBezTo>
                    <a:pt x="43557" y="2061"/>
                    <a:pt x="43578" y="2081"/>
                    <a:pt x="43600" y="2106"/>
                  </a:cubicBezTo>
                  <a:cubicBezTo>
                    <a:pt x="43668" y="2187"/>
                    <a:pt x="43668" y="2187"/>
                    <a:pt x="43668" y="2187"/>
                  </a:cubicBezTo>
                  <a:cubicBezTo>
                    <a:pt x="43711" y="2244"/>
                    <a:pt x="43755" y="2301"/>
                    <a:pt x="43793" y="2363"/>
                  </a:cubicBezTo>
                  <a:cubicBezTo>
                    <a:pt x="43871" y="2486"/>
                    <a:pt x="43938" y="2621"/>
                    <a:pt x="43994" y="2765"/>
                  </a:cubicBezTo>
                  <a:cubicBezTo>
                    <a:pt x="44105" y="3054"/>
                    <a:pt x="44166" y="3382"/>
                    <a:pt x="44181" y="3724"/>
                  </a:cubicBezTo>
                  <a:cubicBezTo>
                    <a:pt x="44185" y="3767"/>
                    <a:pt x="44184" y="3810"/>
                    <a:pt x="44185" y="3853"/>
                  </a:cubicBezTo>
                  <a:cubicBezTo>
                    <a:pt x="44186" y="3896"/>
                    <a:pt x="44187" y="3938"/>
                    <a:pt x="44186" y="3987"/>
                  </a:cubicBezTo>
                  <a:cubicBezTo>
                    <a:pt x="44185" y="4081"/>
                    <a:pt x="44184" y="4174"/>
                    <a:pt x="44184" y="4267"/>
                  </a:cubicBezTo>
                  <a:cubicBezTo>
                    <a:pt x="44180" y="4452"/>
                    <a:pt x="44177" y="4636"/>
                    <a:pt x="44174" y="4819"/>
                  </a:cubicBezTo>
                  <a:cubicBezTo>
                    <a:pt x="44166" y="5182"/>
                    <a:pt x="44153" y="5536"/>
                    <a:pt x="44137" y="5876"/>
                  </a:cubicBezTo>
                  <a:cubicBezTo>
                    <a:pt x="44105" y="6555"/>
                    <a:pt x="44057" y="7179"/>
                    <a:pt x="43995" y="7715"/>
                  </a:cubicBezTo>
                  <a:cubicBezTo>
                    <a:pt x="43725" y="10050"/>
                    <a:pt x="43725" y="10050"/>
                    <a:pt x="43725" y="10050"/>
                  </a:cubicBezTo>
                  <a:cubicBezTo>
                    <a:pt x="43725" y="10719"/>
                    <a:pt x="43725" y="10719"/>
                    <a:pt x="43725" y="10719"/>
                  </a:cubicBezTo>
                  <a:cubicBezTo>
                    <a:pt x="43725" y="11809"/>
                    <a:pt x="43725" y="11809"/>
                    <a:pt x="43725" y="11809"/>
                  </a:cubicBezTo>
                  <a:cubicBezTo>
                    <a:pt x="43725" y="18951"/>
                    <a:pt x="43725" y="18951"/>
                    <a:pt x="43725" y="18951"/>
                  </a:cubicBezTo>
                  <a:cubicBezTo>
                    <a:pt x="43838" y="18205"/>
                    <a:pt x="43976" y="17802"/>
                    <a:pt x="44120" y="17802"/>
                  </a:cubicBezTo>
                  <a:cubicBezTo>
                    <a:pt x="44296" y="17802"/>
                    <a:pt x="44460" y="18392"/>
                    <a:pt x="44584" y="19463"/>
                  </a:cubicBezTo>
                  <a:cubicBezTo>
                    <a:pt x="44584" y="19463"/>
                    <a:pt x="44610" y="19685"/>
                    <a:pt x="44648" y="20017"/>
                  </a:cubicBezTo>
                  <a:cubicBezTo>
                    <a:pt x="44668" y="20183"/>
                    <a:pt x="44690" y="20377"/>
                    <a:pt x="44714" y="20584"/>
                  </a:cubicBezTo>
                  <a:cubicBezTo>
                    <a:pt x="44726" y="20688"/>
                    <a:pt x="44738" y="20795"/>
                    <a:pt x="44751" y="20904"/>
                  </a:cubicBezTo>
                  <a:cubicBezTo>
                    <a:pt x="44754" y="20933"/>
                    <a:pt x="44758" y="20955"/>
                    <a:pt x="44760" y="20990"/>
                  </a:cubicBezTo>
                  <a:cubicBezTo>
                    <a:pt x="44762" y="21018"/>
                    <a:pt x="44766" y="21042"/>
                    <a:pt x="44766" y="21077"/>
                  </a:cubicBezTo>
                  <a:cubicBezTo>
                    <a:pt x="44768" y="21144"/>
                    <a:pt x="44762" y="21207"/>
                    <a:pt x="44750" y="21276"/>
                  </a:cubicBezTo>
                  <a:cubicBezTo>
                    <a:pt x="44737" y="21343"/>
                    <a:pt x="44711" y="21415"/>
                    <a:pt x="44670" y="21482"/>
                  </a:cubicBezTo>
                  <a:cubicBezTo>
                    <a:pt x="44629" y="21549"/>
                    <a:pt x="44569" y="21612"/>
                    <a:pt x="44501" y="21655"/>
                  </a:cubicBezTo>
                  <a:cubicBezTo>
                    <a:pt x="44433" y="21699"/>
                    <a:pt x="44359" y="21727"/>
                    <a:pt x="44289" y="21745"/>
                  </a:cubicBezTo>
                  <a:cubicBezTo>
                    <a:pt x="44254" y="21753"/>
                    <a:pt x="44219" y="21761"/>
                    <a:pt x="44186" y="21764"/>
                  </a:cubicBezTo>
                  <a:cubicBezTo>
                    <a:pt x="44156" y="21767"/>
                    <a:pt x="44127" y="21771"/>
                    <a:pt x="44099" y="21774"/>
                  </a:cubicBezTo>
                  <a:cubicBezTo>
                    <a:pt x="43891" y="21798"/>
                    <a:pt x="43697" y="21821"/>
                    <a:pt x="43531" y="21840"/>
                  </a:cubicBezTo>
                  <a:cubicBezTo>
                    <a:pt x="43199" y="21878"/>
                    <a:pt x="42978" y="21904"/>
                    <a:pt x="42978" y="21904"/>
                  </a:cubicBezTo>
                  <a:cubicBezTo>
                    <a:pt x="42978" y="21904"/>
                    <a:pt x="42841" y="21920"/>
                    <a:pt x="42637" y="21943"/>
                  </a:cubicBezTo>
                  <a:cubicBezTo>
                    <a:pt x="42535" y="21955"/>
                    <a:pt x="42416" y="21969"/>
                    <a:pt x="42289" y="21984"/>
                  </a:cubicBezTo>
                  <a:cubicBezTo>
                    <a:pt x="42257" y="21987"/>
                    <a:pt x="42224" y="21991"/>
                    <a:pt x="42192" y="21995"/>
                  </a:cubicBezTo>
                  <a:cubicBezTo>
                    <a:pt x="42167" y="21998"/>
                    <a:pt x="42167" y="21998"/>
                    <a:pt x="42167" y="21998"/>
                  </a:cubicBezTo>
                  <a:cubicBezTo>
                    <a:pt x="42155" y="21999"/>
                    <a:pt x="42155" y="21999"/>
                    <a:pt x="42155" y="21999"/>
                  </a:cubicBezTo>
                  <a:cubicBezTo>
                    <a:pt x="42148" y="22000"/>
                    <a:pt x="42148" y="22000"/>
                    <a:pt x="42148" y="22000"/>
                  </a:cubicBezTo>
                  <a:cubicBezTo>
                    <a:pt x="42145" y="22000"/>
                    <a:pt x="42145" y="22000"/>
                    <a:pt x="42145" y="22000"/>
                  </a:cubicBezTo>
                  <a:cubicBezTo>
                    <a:pt x="42144" y="22000"/>
                    <a:pt x="42144" y="22000"/>
                    <a:pt x="42144" y="22000"/>
                  </a:cubicBezTo>
                  <a:cubicBezTo>
                    <a:pt x="42135" y="22000"/>
                    <a:pt x="42135" y="22000"/>
                    <a:pt x="42135" y="22000"/>
                  </a:cubicBezTo>
                  <a:cubicBezTo>
                    <a:pt x="42134" y="22000"/>
                    <a:pt x="42134" y="22000"/>
                    <a:pt x="42134" y="22000"/>
                  </a:cubicBezTo>
                  <a:cubicBezTo>
                    <a:pt x="42084" y="22005"/>
                    <a:pt x="42084" y="22005"/>
                    <a:pt x="42084" y="22005"/>
                  </a:cubicBezTo>
                  <a:cubicBezTo>
                    <a:pt x="42016" y="22012"/>
                    <a:pt x="41953" y="22020"/>
                    <a:pt x="41870" y="22022"/>
                  </a:cubicBezTo>
                  <a:cubicBezTo>
                    <a:pt x="41791" y="22026"/>
                    <a:pt x="41713" y="22029"/>
                    <a:pt x="41639" y="22029"/>
                  </a:cubicBezTo>
                  <a:cubicBezTo>
                    <a:pt x="41564" y="22031"/>
                    <a:pt x="41489" y="22029"/>
                    <a:pt x="41417" y="22026"/>
                  </a:cubicBezTo>
                  <a:cubicBezTo>
                    <a:pt x="41272" y="22020"/>
                    <a:pt x="41135" y="22007"/>
                    <a:pt x="41017" y="21991"/>
                  </a:cubicBezTo>
                  <a:cubicBezTo>
                    <a:pt x="40957" y="21984"/>
                    <a:pt x="40903" y="21973"/>
                    <a:pt x="40855" y="21965"/>
                  </a:cubicBezTo>
                  <a:cubicBezTo>
                    <a:pt x="40807" y="21957"/>
                    <a:pt x="40765" y="21949"/>
                    <a:pt x="40730" y="21941"/>
                  </a:cubicBezTo>
                  <a:cubicBezTo>
                    <a:pt x="40661" y="21925"/>
                    <a:pt x="40621" y="21916"/>
                    <a:pt x="40621" y="21916"/>
                  </a:cubicBezTo>
                  <a:cubicBezTo>
                    <a:pt x="40621" y="21916"/>
                    <a:pt x="40600" y="21912"/>
                    <a:pt x="40565" y="21902"/>
                  </a:cubicBezTo>
                  <a:cubicBezTo>
                    <a:pt x="40529" y="21891"/>
                    <a:pt x="40478" y="21877"/>
                    <a:pt x="40416" y="21859"/>
                  </a:cubicBezTo>
                  <a:cubicBezTo>
                    <a:pt x="40294" y="21820"/>
                    <a:pt x="40130" y="21763"/>
                    <a:pt x="39972" y="21686"/>
                  </a:cubicBezTo>
                  <a:cubicBezTo>
                    <a:pt x="39812" y="21613"/>
                    <a:pt x="39659" y="21521"/>
                    <a:pt x="39547" y="21448"/>
                  </a:cubicBezTo>
                  <a:cubicBezTo>
                    <a:pt x="39492" y="21410"/>
                    <a:pt x="39446" y="21378"/>
                    <a:pt x="39414" y="21355"/>
                  </a:cubicBezTo>
                  <a:cubicBezTo>
                    <a:pt x="39381" y="21333"/>
                    <a:pt x="39364" y="21318"/>
                    <a:pt x="39364" y="21318"/>
                  </a:cubicBezTo>
                  <a:cubicBezTo>
                    <a:pt x="39293" y="21262"/>
                    <a:pt x="39293" y="21262"/>
                    <a:pt x="39293" y="21262"/>
                  </a:cubicBezTo>
                  <a:cubicBezTo>
                    <a:pt x="39256" y="21233"/>
                    <a:pt x="39256" y="21233"/>
                    <a:pt x="39256" y="21233"/>
                  </a:cubicBezTo>
                  <a:cubicBezTo>
                    <a:pt x="39247" y="21225"/>
                    <a:pt x="39247" y="21225"/>
                    <a:pt x="39247" y="21225"/>
                  </a:cubicBezTo>
                  <a:cubicBezTo>
                    <a:pt x="39243" y="21222"/>
                    <a:pt x="39243" y="21222"/>
                    <a:pt x="39243" y="21222"/>
                  </a:cubicBezTo>
                  <a:cubicBezTo>
                    <a:pt x="39242" y="21221"/>
                    <a:pt x="39242" y="21221"/>
                    <a:pt x="39242" y="21221"/>
                  </a:cubicBezTo>
                  <a:cubicBezTo>
                    <a:pt x="39236" y="21214"/>
                    <a:pt x="39256" y="21236"/>
                    <a:pt x="39227" y="21206"/>
                  </a:cubicBezTo>
                  <a:cubicBezTo>
                    <a:pt x="39226" y="21205"/>
                    <a:pt x="39226" y="21205"/>
                    <a:pt x="39226" y="21205"/>
                  </a:cubicBezTo>
                  <a:cubicBezTo>
                    <a:pt x="39224" y="21204"/>
                    <a:pt x="39224" y="21204"/>
                    <a:pt x="39224" y="21204"/>
                  </a:cubicBezTo>
                  <a:cubicBezTo>
                    <a:pt x="39210" y="21192"/>
                    <a:pt x="39210" y="21192"/>
                    <a:pt x="39210" y="21192"/>
                  </a:cubicBezTo>
                  <a:cubicBezTo>
                    <a:pt x="39154" y="21144"/>
                    <a:pt x="39154" y="21144"/>
                    <a:pt x="39154" y="21144"/>
                  </a:cubicBezTo>
                  <a:cubicBezTo>
                    <a:pt x="39126" y="21119"/>
                    <a:pt x="39126" y="21119"/>
                    <a:pt x="39126" y="21119"/>
                  </a:cubicBezTo>
                  <a:cubicBezTo>
                    <a:pt x="39112" y="21107"/>
                    <a:pt x="39112" y="21107"/>
                    <a:pt x="39112" y="21107"/>
                  </a:cubicBezTo>
                  <a:cubicBezTo>
                    <a:pt x="39093" y="21088"/>
                    <a:pt x="39093" y="21088"/>
                    <a:pt x="39093" y="21088"/>
                  </a:cubicBezTo>
                  <a:cubicBezTo>
                    <a:pt x="39043" y="21038"/>
                    <a:pt x="38989" y="20984"/>
                    <a:pt x="38943" y="20933"/>
                  </a:cubicBezTo>
                  <a:cubicBezTo>
                    <a:pt x="38900" y="20883"/>
                    <a:pt x="38854" y="20833"/>
                    <a:pt x="38812" y="20779"/>
                  </a:cubicBezTo>
                  <a:cubicBezTo>
                    <a:pt x="38641" y="20566"/>
                    <a:pt x="38490" y="20320"/>
                    <a:pt x="38370" y="20053"/>
                  </a:cubicBezTo>
                  <a:cubicBezTo>
                    <a:pt x="38127" y="19518"/>
                    <a:pt x="38015" y="18913"/>
                    <a:pt x="38002" y="18318"/>
                  </a:cubicBezTo>
                  <a:cubicBezTo>
                    <a:pt x="38002" y="18318"/>
                    <a:pt x="38003" y="18358"/>
                    <a:pt x="38004" y="18427"/>
                  </a:cubicBezTo>
                  <a:cubicBezTo>
                    <a:pt x="38004" y="18496"/>
                    <a:pt x="38008" y="18596"/>
                    <a:pt x="38016" y="18716"/>
                  </a:cubicBezTo>
                  <a:cubicBezTo>
                    <a:pt x="38032" y="18956"/>
                    <a:pt x="38071" y="19283"/>
                    <a:pt x="38158" y="19613"/>
                  </a:cubicBezTo>
                  <a:cubicBezTo>
                    <a:pt x="38244" y="19943"/>
                    <a:pt x="38379" y="20271"/>
                    <a:pt x="38508" y="20505"/>
                  </a:cubicBezTo>
                  <a:cubicBezTo>
                    <a:pt x="38573" y="20622"/>
                    <a:pt x="38632" y="20718"/>
                    <a:pt x="38677" y="20783"/>
                  </a:cubicBezTo>
                  <a:cubicBezTo>
                    <a:pt x="38720" y="20848"/>
                    <a:pt x="38746" y="20885"/>
                    <a:pt x="38746" y="20885"/>
                  </a:cubicBezTo>
                  <a:close/>
                </a:path>
              </a:pathLst>
            </a:custGeom>
            <a:solidFill>
              <a:srgbClr val="EB3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rgbClr val="FFC83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" name="Freeform 19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983752" y="5070131"/>
            <a:ext cx="2880000" cy="1446140"/>
            <a:chOff x="-85296375" y="18191163"/>
            <a:chExt cx="195448238" cy="98140837"/>
          </a:xfrm>
        </p:grpSpPr>
        <p:sp>
          <p:nvSpPr>
            <p:cNvPr id="22" name="Freeform 33"/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4"/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5"/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6"/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7"/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8"/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"/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0"/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rgbClr val="2D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41"/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2"/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709681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gray">
          <a:xfrm>
            <a:off x="2826814" y="2302499"/>
            <a:ext cx="2655022" cy="1932557"/>
          </a:xfrm>
          <a:prstGeom prst="rect">
            <a:avLst/>
          </a:prstGeom>
        </p:spPr>
      </p:pic>
      <p:sp>
        <p:nvSpPr>
          <p:cNvPr id="19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2" name="Rectangle 3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636984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hteck 18"/>
          <p:cNvSpPr/>
          <p:nvPr userDrawn="1"/>
        </p:nvSpPr>
        <p:spPr bwMode="gray">
          <a:xfrm rot="18000000">
            <a:off x="5541271" y="5704912"/>
            <a:ext cx="2084750" cy="2743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2DBECD"/>
                </a:solidFill>
                <a:latin typeface="+mn-lt"/>
              </a:rPr>
              <a:t>EMD Performance Materials is a business</a:t>
            </a:r>
            <a:br>
              <a:rPr lang="en-US" sz="700" kern="0" dirty="0">
                <a:solidFill>
                  <a:srgbClr val="2DBECD"/>
                </a:solidFill>
                <a:latin typeface="+mn-lt"/>
              </a:rPr>
            </a:br>
            <a:r>
              <a:rPr lang="en-US" sz="700" kern="0" dirty="0">
                <a:solidFill>
                  <a:srgbClr val="2DBECD"/>
                </a:solidFill>
                <a:latin typeface="+mn-lt"/>
              </a:rPr>
              <a:t>of Merck </a:t>
            </a:r>
            <a:r>
              <a:rPr lang="en-US" sz="700" kern="0" dirty="0" err="1">
                <a:solidFill>
                  <a:srgbClr val="2DBECD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2DBECD"/>
                </a:solidFill>
                <a:latin typeface="+mn-lt"/>
              </a:rPr>
              <a:t>, Darmstadt, Germany</a:t>
            </a:r>
            <a:endParaRPr lang="de-DE" sz="700" kern="0" dirty="0">
              <a:solidFill>
                <a:srgbClr val="2DBECD"/>
              </a:solidFill>
              <a:latin typeface="Verdana"/>
            </a:endParaRPr>
          </a:p>
        </p:txBody>
      </p:sp>
      <p:sp>
        <p:nvSpPr>
          <p:cNvPr id="21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293096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50108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7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9" name="Rechteck 18"/>
          <p:cNvSpPr/>
          <p:nvPr userDrawn="1"/>
        </p:nvSpPr>
        <p:spPr bwMode="gray">
          <a:xfrm rot="420000">
            <a:off x="4245789" y="5473351"/>
            <a:ext cx="1690556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EB3C96"/>
                </a:solidFill>
                <a:latin typeface="+mn-lt"/>
              </a:rPr>
              <a:t>EMD Performance Materials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is a business of Merck </a:t>
            </a:r>
            <a:r>
              <a:rPr lang="en-US" sz="700" kern="0" dirty="0" err="1">
                <a:solidFill>
                  <a:srgbClr val="EB3C96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EB3C96"/>
                </a:solidFill>
                <a:latin typeface="+mn-lt"/>
              </a:rPr>
              <a:t>,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Darmstadt, Germany</a:t>
            </a:r>
            <a:endParaRPr lang="de-DE" sz="700" kern="0" dirty="0">
              <a:solidFill>
                <a:srgbClr val="EB3C96"/>
              </a:solidFill>
              <a:latin typeface="Verdana"/>
            </a:endParaRPr>
          </a:p>
        </p:txBody>
      </p:sp>
      <p:sp>
        <p:nvSpPr>
          <p:cNvPr id="30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BA4021A9-386D-46CB-ABFE-ABCBE5270F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271588" y="5270500"/>
            <a:ext cx="2520950" cy="1254125"/>
            <a:chOff x="801" y="3320"/>
            <a:chExt cx="1588" cy="790"/>
          </a:xfrm>
        </p:grpSpPr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F5BCF7E2-E89F-4A20-91A2-0460D91A34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" y="3320"/>
              <a:ext cx="1588" cy="790"/>
            </a:xfrm>
            <a:custGeom>
              <a:avLst/>
              <a:gdLst>
                <a:gd name="T0" fmla="*/ 39310 w 40218"/>
                <a:gd name="T1" fmla="*/ 1084 h 20015"/>
                <a:gd name="T2" fmla="*/ 36941 w 40218"/>
                <a:gd name="T3" fmla="*/ 14 h 20015"/>
                <a:gd name="T4" fmla="*/ 34011 w 40218"/>
                <a:gd name="T5" fmla="*/ 0 h 20015"/>
                <a:gd name="T6" fmla="*/ 32895 w 40218"/>
                <a:gd name="T7" fmla="*/ 374 h 20015"/>
                <a:gd name="T8" fmla="*/ 27615 w 40218"/>
                <a:gd name="T9" fmla="*/ 5273 h 20015"/>
                <a:gd name="T10" fmla="*/ 23949 w 40218"/>
                <a:gd name="T11" fmla="*/ 7789 h 20015"/>
                <a:gd name="T12" fmla="*/ 16126 w 40218"/>
                <a:gd name="T13" fmla="*/ 7724 h 20015"/>
                <a:gd name="T14" fmla="*/ 13102 w 40218"/>
                <a:gd name="T15" fmla="*/ 5730 h 20015"/>
                <a:gd name="T16" fmla="*/ 5621 w 40218"/>
                <a:gd name="T17" fmla="*/ 56 h 20015"/>
                <a:gd name="T18" fmla="*/ 1248 w 40218"/>
                <a:gd name="T19" fmla="*/ 0 h 20015"/>
                <a:gd name="T20" fmla="*/ 99 w 40218"/>
                <a:gd name="T21" fmla="*/ 749 h 20015"/>
                <a:gd name="T22" fmla="*/ 0 w 40218"/>
                <a:gd name="T23" fmla="*/ 3820 h 20015"/>
                <a:gd name="T24" fmla="*/ 865 w 40218"/>
                <a:gd name="T25" fmla="*/ 18881 h 20015"/>
                <a:gd name="T26" fmla="*/ 5272 w 40218"/>
                <a:gd name="T27" fmla="*/ 20013 h 20015"/>
                <a:gd name="T28" fmla="*/ 6663 w 40218"/>
                <a:gd name="T29" fmla="*/ 18795 h 20015"/>
                <a:gd name="T30" fmla="*/ 6804 w 40218"/>
                <a:gd name="T31" fmla="*/ 12516 h 20015"/>
                <a:gd name="T32" fmla="*/ 7397 w 40218"/>
                <a:gd name="T33" fmla="*/ 11750 h 20015"/>
                <a:gd name="T34" fmla="*/ 8487 w 40218"/>
                <a:gd name="T35" fmla="*/ 11427 h 20015"/>
                <a:gd name="T36" fmla="*/ 10498 w 40218"/>
                <a:gd name="T37" fmla="*/ 12068 h 20015"/>
                <a:gd name="T38" fmla="*/ 13732 w 40218"/>
                <a:gd name="T39" fmla="*/ 14789 h 20015"/>
                <a:gd name="T40" fmla="*/ 18126 w 40218"/>
                <a:gd name="T41" fmla="*/ 18311 h 20015"/>
                <a:gd name="T42" fmla="*/ 20075 w 40218"/>
                <a:gd name="T43" fmla="*/ 18786 h 20015"/>
                <a:gd name="T44" fmla="*/ 21995 w 40218"/>
                <a:gd name="T45" fmla="*/ 18358 h 20015"/>
                <a:gd name="T46" fmla="*/ 27727 w 40218"/>
                <a:gd name="T47" fmla="*/ 13620 h 20015"/>
                <a:gd name="T48" fmla="*/ 30361 w 40218"/>
                <a:gd name="T49" fmla="*/ 11735 h 20015"/>
                <a:gd name="T50" fmla="*/ 33046 w 40218"/>
                <a:gd name="T51" fmla="*/ 11945 h 20015"/>
                <a:gd name="T52" fmla="*/ 33550 w 40218"/>
                <a:gd name="T53" fmla="*/ 13195 h 20015"/>
                <a:gd name="T54" fmla="*/ 33553 w 40218"/>
                <a:gd name="T55" fmla="*/ 16360 h 20015"/>
                <a:gd name="T56" fmla="*/ 34444 w 40218"/>
                <a:gd name="T57" fmla="*/ 18911 h 20015"/>
                <a:gd name="T58" fmla="*/ 38467 w 40218"/>
                <a:gd name="T59" fmla="*/ 20013 h 20015"/>
                <a:gd name="T60" fmla="*/ 39971 w 40218"/>
                <a:gd name="T61" fmla="*/ 19534 h 20015"/>
                <a:gd name="T62" fmla="*/ 40218 w 40218"/>
                <a:gd name="T63" fmla="*/ 4607 h 20015"/>
                <a:gd name="T64" fmla="*/ 1614 w 40218"/>
                <a:gd name="T65" fmla="*/ 1292 h 20015"/>
                <a:gd name="T66" fmla="*/ 35690 w 40218"/>
                <a:gd name="T67" fmla="*/ 17882 h 20015"/>
                <a:gd name="T68" fmla="*/ 35180 w 40218"/>
                <a:gd name="T69" fmla="*/ 16671 h 20015"/>
                <a:gd name="T70" fmla="*/ 35162 w 40218"/>
                <a:gd name="T71" fmla="*/ 13163 h 20015"/>
                <a:gd name="T72" fmla="*/ 34178 w 40218"/>
                <a:gd name="T73" fmla="*/ 10796 h 20015"/>
                <a:gd name="T74" fmla="*/ 31666 w 40218"/>
                <a:gd name="T75" fmla="*/ 9816 h 20015"/>
                <a:gd name="T76" fmla="*/ 27748 w 40218"/>
                <a:gd name="T77" fmla="*/ 11475 h 20015"/>
                <a:gd name="T78" fmla="*/ 22386 w 40218"/>
                <a:gd name="T79" fmla="*/ 16240 h 20015"/>
                <a:gd name="T80" fmla="*/ 21093 w 40218"/>
                <a:gd name="T81" fmla="*/ 16993 h 20015"/>
                <a:gd name="T82" fmla="*/ 19068 w 40218"/>
                <a:gd name="T83" fmla="*/ 16969 h 20015"/>
                <a:gd name="T84" fmla="*/ 17432 w 40218"/>
                <a:gd name="T85" fmla="*/ 15928 h 20015"/>
                <a:gd name="T86" fmla="*/ 12393 w 40218"/>
                <a:gd name="T87" fmla="*/ 11415 h 20015"/>
                <a:gd name="T88" fmla="*/ 9875 w 40218"/>
                <a:gd name="T89" fmla="*/ 10021 h 20015"/>
                <a:gd name="T90" fmla="*/ 8078 w 40218"/>
                <a:gd name="T91" fmla="*/ 9836 h 20015"/>
                <a:gd name="T92" fmla="*/ 5895 w 40218"/>
                <a:gd name="T93" fmla="*/ 10953 h 20015"/>
                <a:gd name="T94" fmla="*/ 5053 w 40218"/>
                <a:gd name="T95" fmla="*/ 18108 h 20015"/>
                <a:gd name="T96" fmla="*/ 3128 w 40218"/>
                <a:gd name="T97" fmla="*/ 18359 h 20015"/>
                <a:gd name="T98" fmla="*/ 2003 w 40218"/>
                <a:gd name="T99" fmla="*/ 17730 h 20015"/>
                <a:gd name="T100" fmla="*/ 4724 w 40218"/>
                <a:gd name="T101" fmla="*/ 1612 h 20015"/>
                <a:gd name="T102" fmla="*/ 7483 w 40218"/>
                <a:gd name="T103" fmla="*/ 2700 h 20015"/>
                <a:gd name="T104" fmla="*/ 12662 w 40218"/>
                <a:gd name="T105" fmla="*/ 7463 h 20015"/>
                <a:gd name="T106" fmla="*/ 15839 w 40218"/>
                <a:gd name="T107" fmla="*/ 9357 h 20015"/>
                <a:gd name="T108" fmla="*/ 21871 w 40218"/>
                <a:gd name="T109" fmla="*/ 10012 h 20015"/>
                <a:gd name="T110" fmla="*/ 27581 w 40218"/>
                <a:gd name="T111" fmla="*/ 7444 h 20015"/>
                <a:gd name="T112" fmla="*/ 33703 w 40218"/>
                <a:gd name="T113" fmla="*/ 1809 h 20015"/>
                <a:gd name="T114" fmla="*/ 34178 w 40218"/>
                <a:gd name="T115" fmla="*/ 1612 h 20015"/>
                <a:gd name="T116" fmla="*/ 36886 w 40218"/>
                <a:gd name="T117" fmla="*/ 1628 h 20015"/>
                <a:gd name="T118" fmla="*/ 38199 w 40218"/>
                <a:gd name="T119" fmla="*/ 2262 h 20015"/>
                <a:gd name="T120" fmla="*/ 38606 w 40218"/>
                <a:gd name="T121" fmla="*/ 13284 h 20015"/>
                <a:gd name="T122" fmla="*/ 38604 w 40218"/>
                <a:gd name="T123" fmla="*/ 18737 h 20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18" h="20015">
                  <a:moveTo>
                    <a:pt x="40216" y="3536"/>
                  </a:moveTo>
                  <a:cubicBezTo>
                    <a:pt x="40216" y="3477"/>
                    <a:pt x="40212" y="3416"/>
                    <a:pt x="40209" y="3356"/>
                  </a:cubicBezTo>
                  <a:cubicBezTo>
                    <a:pt x="40181" y="2874"/>
                    <a:pt x="40080" y="2358"/>
                    <a:pt x="39842" y="1864"/>
                  </a:cubicBezTo>
                  <a:cubicBezTo>
                    <a:pt x="39781" y="1742"/>
                    <a:pt x="39715" y="1621"/>
                    <a:pt x="39638" y="1505"/>
                  </a:cubicBezTo>
                  <a:cubicBezTo>
                    <a:pt x="39600" y="1447"/>
                    <a:pt x="39561" y="1389"/>
                    <a:pt x="39518" y="1334"/>
                  </a:cubicBezTo>
                  <a:cubicBezTo>
                    <a:pt x="39497" y="1306"/>
                    <a:pt x="39477" y="1279"/>
                    <a:pt x="39454" y="1250"/>
                  </a:cubicBezTo>
                  <a:cubicBezTo>
                    <a:pt x="39377" y="1160"/>
                    <a:pt x="39377" y="1160"/>
                    <a:pt x="39377" y="1160"/>
                  </a:cubicBezTo>
                  <a:cubicBezTo>
                    <a:pt x="39339" y="1115"/>
                    <a:pt x="39339" y="1115"/>
                    <a:pt x="39339" y="1115"/>
                  </a:cubicBezTo>
                  <a:cubicBezTo>
                    <a:pt x="39325" y="1100"/>
                    <a:pt x="39319" y="1094"/>
                    <a:pt x="39310" y="1084"/>
                  </a:cubicBezTo>
                  <a:cubicBezTo>
                    <a:pt x="39256" y="1027"/>
                    <a:pt x="39256" y="1027"/>
                    <a:pt x="39256" y="1027"/>
                  </a:cubicBezTo>
                  <a:cubicBezTo>
                    <a:pt x="39261" y="1032"/>
                    <a:pt x="39219" y="988"/>
                    <a:pt x="39208" y="979"/>
                  </a:cubicBezTo>
                  <a:cubicBezTo>
                    <a:pt x="39171" y="943"/>
                    <a:pt x="39171" y="943"/>
                    <a:pt x="39171" y="943"/>
                  </a:cubicBezTo>
                  <a:cubicBezTo>
                    <a:pt x="39094" y="871"/>
                    <a:pt x="39094" y="871"/>
                    <a:pt x="39094" y="871"/>
                  </a:cubicBezTo>
                  <a:cubicBezTo>
                    <a:pt x="38988" y="779"/>
                    <a:pt x="38878" y="690"/>
                    <a:pt x="38761" y="612"/>
                  </a:cubicBezTo>
                  <a:cubicBezTo>
                    <a:pt x="38528" y="454"/>
                    <a:pt x="38274" y="326"/>
                    <a:pt x="38015" y="234"/>
                  </a:cubicBezTo>
                  <a:cubicBezTo>
                    <a:pt x="37756" y="142"/>
                    <a:pt x="37493" y="81"/>
                    <a:pt x="37233" y="45"/>
                  </a:cubicBezTo>
                  <a:cubicBezTo>
                    <a:pt x="37168" y="36"/>
                    <a:pt x="37103" y="28"/>
                    <a:pt x="37039" y="23"/>
                  </a:cubicBezTo>
                  <a:cubicBezTo>
                    <a:pt x="36941" y="14"/>
                    <a:pt x="36941" y="14"/>
                    <a:pt x="36941" y="14"/>
                  </a:cubicBezTo>
                  <a:cubicBezTo>
                    <a:pt x="36838" y="8"/>
                    <a:pt x="36838" y="8"/>
                    <a:pt x="36838" y="8"/>
                  </a:cubicBezTo>
                  <a:cubicBezTo>
                    <a:pt x="36735" y="3"/>
                    <a:pt x="36735" y="3"/>
                    <a:pt x="36735" y="3"/>
                  </a:cubicBezTo>
                  <a:cubicBezTo>
                    <a:pt x="36655" y="1"/>
                    <a:pt x="36655" y="1"/>
                    <a:pt x="36655" y="1"/>
                  </a:cubicBezTo>
                  <a:cubicBezTo>
                    <a:pt x="36559" y="0"/>
                    <a:pt x="36559" y="0"/>
                    <a:pt x="36559" y="0"/>
                  </a:cubicBezTo>
                  <a:cubicBezTo>
                    <a:pt x="36478" y="0"/>
                    <a:pt x="36478" y="0"/>
                    <a:pt x="36478" y="0"/>
                  </a:cubicBezTo>
                  <a:cubicBezTo>
                    <a:pt x="36262" y="0"/>
                    <a:pt x="36045" y="0"/>
                    <a:pt x="35827" y="0"/>
                  </a:cubicBezTo>
                  <a:cubicBezTo>
                    <a:pt x="35392" y="0"/>
                    <a:pt x="34953" y="0"/>
                    <a:pt x="34510" y="0"/>
                  </a:cubicBezTo>
                  <a:cubicBezTo>
                    <a:pt x="34400" y="0"/>
                    <a:pt x="34289" y="0"/>
                    <a:pt x="34178" y="0"/>
                  </a:cubicBezTo>
                  <a:cubicBezTo>
                    <a:pt x="34011" y="0"/>
                    <a:pt x="34011" y="0"/>
                    <a:pt x="34011" y="0"/>
                  </a:cubicBezTo>
                  <a:cubicBezTo>
                    <a:pt x="33969" y="0"/>
                    <a:pt x="33969" y="0"/>
                    <a:pt x="33969" y="0"/>
                  </a:cubicBezTo>
                  <a:cubicBezTo>
                    <a:pt x="33954" y="0"/>
                    <a:pt x="33922" y="0"/>
                    <a:pt x="33899" y="1"/>
                  </a:cubicBezTo>
                  <a:cubicBezTo>
                    <a:pt x="33849" y="3"/>
                    <a:pt x="33797" y="7"/>
                    <a:pt x="33745" y="13"/>
                  </a:cubicBezTo>
                  <a:cubicBezTo>
                    <a:pt x="33641" y="26"/>
                    <a:pt x="33535" y="49"/>
                    <a:pt x="33431" y="83"/>
                  </a:cubicBezTo>
                  <a:cubicBezTo>
                    <a:pt x="33406" y="91"/>
                    <a:pt x="33380" y="100"/>
                    <a:pt x="33354" y="110"/>
                  </a:cubicBezTo>
                  <a:cubicBezTo>
                    <a:pt x="33327" y="121"/>
                    <a:pt x="33308" y="128"/>
                    <a:pt x="33274" y="143"/>
                  </a:cubicBezTo>
                  <a:cubicBezTo>
                    <a:pt x="33229" y="163"/>
                    <a:pt x="33244" y="157"/>
                    <a:pt x="33203" y="177"/>
                  </a:cubicBezTo>
                  <a:cubicBezTo>
                    <a:pt x="33175" y="191"/>
                    <a:pt x="33148" y="205"/>
                    <a:pt x="33125" y="218"/>
                  </a:cubicBezTo>
                  <a:cubicBezTo>
                    <a:pt x="33030" y="274"/>
                    <a:pt x="32960" y="325"/>
                    <a:pt x="32895" y="374"/>
                  </a:cubicBezTo>
                  <a:cubicBezTo>
                    <a:pt x="32832" y="424"/>
                    <a:pt x="32776" y="472"/>
                    <a:pt x="32723" y="519"/>
                  </a:cubicBezTo>
                  <a:cubicBezTo>
                    <a:pt x="32669" y="567"/>
                    <a:pt x="32623" y="610"/>
                    <a:pt x="32571" y="661"/>
                  </a:cubicBezTo>
                  <a:cubicBezTo>
                    <a:pt x="32540" y="692"/>
                    <a:pt x="32540" y="692"/>
                    <a:pt x="32540" y="692"/>
                  </a:cubicBezTo>
                  <a:cubicBezTo>
                    <a:pt x="32540" y="692"/>
                    <a:pt x="32539" y="692"/>
                    <a:pt x="32539" y="692"/>
                  </a:cubicBezTo>
                  <a:cubicBezTo>
                    <a:pt x="32539" y="693"/>
                    <a:pt x="32536" y="695"/>
                    <a:pt x="32528" y="704"/>
                  </a:cubicBezTo>
                  <a:cubicBezTo>
                    <a:pt x="32466" y="761"/>
                    <a:pt x="32466" y="761"/>
                    <a:pt x="32466" y="761"/>
                  </a:cubicBezTo>
                  <a:cubicBezTo>
                    <a:pt x="32383" y="838"/>
                    <a:pt x="32301" y="915"/>
                    <a:pt x="32218" y="992"/>
                  </a:cubicBezTo>
                  <a:cubicBezTo>
                    <a:pt x="32052" y="1146"/>
                    <a:pt x="31886" y="1300"/>
                    <a:pt x="31719" y="1455"/>
                  </a:cubicBezTo>
                  <a:cubicBezTo>
                    <a:pt x="30386" y="2696"/>
                    <a:pt x="29015" y="3970"/>
                    <a:pt x="27615" y="5273"/>
                  </a:cubicBezTo>
                  <a:cubicBezTo>
                    <a:pt x="27528" y="5354"/>
                    <a:pt x="27440" y="5435"/>
                    <a:pt x="27353" y="5516"/>
                  </a:cubicBezTo>
                  <a:cubicBezTo>
                    <a:pt x="27269" y="5592"/>
                    <a:pt x="27186" y="5669"/>
                    <a:pt x="27100" y="5744"/>
                  </a:cubicBezTo>
                  <a:cubicBezTo>
                    <a:pt x="26931" y="5894"/>
                    <a:pt x="26756" y="6039"/>
                    <a:pt x="26578" y="6181"/>
                  </a:cubicBezTo>
                  <a:cubicBezTo>
                    <a:pt x="26221" y="6465"/>
                    <a:pt x="25849" y="6731"/>
                    <a:pt x="25462" y="6975"/>
                  </a:cubicBezTo>
                  <a:cubicBezTo>
                    <a:pt x="25075" y="7220"/>
                    <a:pt x="24672" y="7446"/>
                    <a:pt x="24258" y="7646"/>
                  </a:cubicBezTo>
                  <a:cubicBezTo>
                    <a:pt x="24174" y="7686"/>
                    <a:pt x="24174" y="7686"/>
                    <a:pt x="24174" y="7686"/>
                  </a:cubicBezTo>
                  <a:cubicBezTo>
                    <a:pt x="24133" y="7706"/>
                    <a:pt x="24133" y="7706"/>
                    <a:pt x="24133" y="7706"/>
                  </a:cubicBezTo>
                  <a:cubicBezTo>
                    <a:pt x="24101" y="7721"/>
                    <a:pt x="24101" y="7721"/>
                    <a:pt x="24101" y="7721"/>
                  </a:cubicBezTo>
                  <a:cubicBezTo>
                    <a:pt x="23949" y="7789"/>
                    <a:pt x="23949" y="7789"/>
                    <a:pt x="23949" y="7789"/>
                  </a:cubicBezTo>
                  <a:cubicBezTo>
                    <a:pt x="23847" y="7833"/>
                    <a:pt x="23744" y="7877"/>
                    <a:pt x="23640" y="7917"/>
                  </a:cubicBezTo>
                  <a:cubicBezTo>
                    <a:pt x="23432" y="7999"/>
                    <a:pt x="23217" y="8068"/>
                    <a:pt x="23000" y="8133"/>
                  </a:cubicBezTo>
                  <a:cubicBezTo>
                    <a:pt x="22130" y="8386"/>
                    <a:pt x="21201" y="8504"/>
                    <a:pt x="20251" y="8513"/>
                  </a:cubicBezTo>
                  <a:cubicBezTo>
                    <a:pt x="19300" y="8525"/>
                    <a:pt x="18350" y="8431"/>
                    <a:pt x="17445" y="8196"/>
                  </a:cubicBezTo>
                  <a:cubicBezTo>
                    <a:pt x="17220" y="8135"/>
                    <a:pt x="16996" y="8069"/>
                    <a:pt x="16777" y="7990"/>
                  </a:cubicBezTo>
                  <a:cubicBezTo>
                    <a:pt x="16722" y="7972"/>
                    <a:pt x="16668" y="7950"/>
                    <a:pt x="16614" y="7930"/>
                  </a:cubicBezTo>
                  <a:cubicBezTo>
                    <a:pt x="16559" y="7909"/>
                    <a:pt x="16505" y="7889"/>
                    <a:pt x="16455" y="7868"/>
                  </a:cubicBezTo>
                  <a:cubicBezTo>
                    <a:pt x="16302" y="7804"/>
                    <a:pt x="16302" y="7804"/>
                    <a:pt x="16302" y="7804"/>
                  </a:cubicBezTo>
                  <a:cubicBezTo>
                    <a:pt x="16126" y="7724"/>
                    <a:pt x="16126" y="7724"/>
                    <a:pt x="16126" y="7724"/>
                  </a:cubicBezTo>
                  <a:cubicBezTo>
                    <a:pt x="16083" y="7705"/>
                    <a:pt x="16083" y="7705"/>
                    <a:pt x="16083" y="7705"/>
                  </a:cubicBezTo>
                  <a:cubicBezTo>
                    <a:pt x="16082" y="7705"/>
                    <a:pt x="16060" y="7694"/>
                    <a:pt x="16052" y="7690"/>
                  </a:cubicBezTo>
                  <a:cubicBezTo>
                    <a:pt x="15971" y="7651"/>
                    <a:pt x="15971" y="7651"/>
                    <a:pt x="15971" y="7651"/>
                  </a:cubicBezTo>
                  <a:cubicBezTo>
                    <a:pt x="15917" y="7624"/>
                    <a:pt x="15862" y="7599"/>
                    <a:pt x="15808" y="7571"/>
                  </a:cubicBezTo>
                  <a:cubicBezTo>
                    <a:pt x="15700" y="7517"/>
                    <a:pt x="15593" y="7461"/>
                    <a:pt x="15487" y="7403"/>
                  </a:cubicBezTo>
                  <a:cubicBezTo>
                    <a:pt x="15275" y="7287"/>
                    <a:pt x="15064" y="7168"/>
                    <a:pt x="14858" y="7039"/>
                  </a:cubicBezTo>
                  <a:cubicBezTo>
                    <a:pt x="14446" y="6784"/>
                    <a:pt x="14046" y="6503"/>
                    <a:pt x="13663" y="6199"/>
                  </a:cubicBezTo>
                  <a:cubicBezTo>
                    <a:pt x="13566" y="6124"/>
                    <a:pt x="13472" y="6045"/>
                    <a:pt x="13378" y="5967"/>
                  </a:cubicBezTo>
                  <a:cubicBezTo>
                    <a:pt x="13284" y="5888"/>
                    <a:pt x="13190" y="5808"/>
                    <a:pt x="13102" y="5730"/>
                  </a:cubicBezTo>
                  <a:cubicBezTo>
                    <a:pt x="13018" y="5657"/>
                    <a:pt x="12908" y="5554"/>
                    <a:pt x="12825" y="5479"/>
                  </a:cubicBezTo>
                  <a:cubicBezTo>
                    <a:pt x="12539" y="5212"/>
                    <a:pt x="12539" y="5212"/>
                    <a:pt x="12539" y="5212"/>
                  </a:cubicBezTo>
                  <a:cubicBezTo>
                    <a:pt x="11776" y="4500"/>
                    <a:pt x="11010" y="3786"/>
                    <a:pt x="10242" y="3069"/>
                  </a:cubicBezTo>
                  <a:cubicBezTo>
                    <a:pt x="9858" y="2711"/>
                    <a:pt x="9473" y="2352"/>
                    <a:pt x="9088" y="1993"/>
                  </a:cubicBezTo>
                  <a:cubicBezTo>
                    <a:pt x="8906" y="1823"/>
                    <a:pt x="8725" y="1654"/>
                    <a:pt x="8543" y="1484"/>
                  </a:cubicBezTo>
                  <a:cubicBezTo>
                    <a:pt x="8324" y="1255"/>
                    <a:pt x="8079" y="1046"/>
                    <a:pt x="7814" y="866"/>
                  </a:cubicBezTo>
                  <a:cubicBezTo>
                    <a:pt x="7283" y="503"/>
                    <a:pt x="6678" y="263"/>
                    <a:pt x="6074" y="134"/>
                  </a:cubicBezTo>
                  <a:cubicBezTo>
                    <a:pt x="5848" y="90"/>
                    <a:pt x="5848" y="90"/>
                    <a:pt x="5848" y="90"/>
                  </a:cubicBezTo>
                  <a:cubicBezTo>
                    <a:pt x="5621" y="56"/>
                    <a:pt x="5621" y="56"/>
                    <a:pt x="5621" y="56"/>
                  </a:cubicBezTo>
                  <a:cubicBezTo>
                    <a:pt x="5468" y="38"/>
                    <a:pt x="5324" y="21"/>
                    <a:pt x="5162" y="13"/>
                  </a:cubicBezTo>
                  <a:cubicBezTo>
                    <a:pt x="5083" y="9"/>
                    <a:pt x="4999" y="3"/>
                    <a:pt x="4938" y="3"/>
                  </a:cubicBezTo>
                  <a:cubicBezTo>
                    <a:pt x="4724" y="0"/>
                    <a:pt x="4724" y="0"/>
                    <a:pt x="4724" y="0"/>
                  </a:cubicBezTo>
                  <a:cubicBezTo>
                    <a:pt x="4327" y="0"/>
                    <a:pt x="4327" y="0"/>
                    <a:pt x="4327" y="0"/>
                  </a:cubicBezTo>
                  <a:cubicBezTo>
                    <a:pt x="3797" y="0"/>
                    <a:pt x="3268" y="0"/>
                    <a:pt x="2738" y="0"/>
                  </a:cubicBezTo>
                  <a:cubicBezTo>
                    <a:pt x="1943" y="0"/>
                    <a:pt x="1943" y="0"/>
                    <a:pt x="1943" y="0"/>
                  </a:cubicBezTo>
                  <a:cubicBezTo>
                    <a:pt x="1546" y="0"/>
                    <a:pt x="1546" y="0"/>
                    <a:pt x="1546" y="0"/>
                  </a:cubicBezTo>
                  <a:cubicBezTo>
                    <a:pt x="1347" y="0"/>
                    <a:pt x="1347" y="0"/>
                    <a:pt x="1347" y="0"/>
                  </a:cubicBezTo>
                  <a:cubicBezTo>
                    <a:pt x="1248" y="0"/>
                    <a:pt x="1248" y="0"/>
                    <a:pt x="1248" y="0"/>
                  </a:cubicBezTo>
                  <a:cubicBezTo>
                    <a:pt x="1229" y="0"/>
                    <a:pt x="1180" y="1"/>
                    <a:pt x="1147" y="3"/>
                  </a:cubicBezTo>
                  <a:cubicBezTo>
                    <a:pt x="1112" y="4"/>
                    <a:pt x="1068" y="10"/>
                    <a:pt x="1030" y="15"/>
                  </a:cubicBezTo>
                  <a:cubicBezTo>
                    <a:pt x="990" y="20"/>
                    <a:pt x="943" y="31"/>
                    <a:pt x="901" y="41"/>
                  </a:cubicBezTo>
                  <a:cubicBezTo>
                    <a:pt x="857" y="52"/>
                    <a:pt x="808" y="68"/>
                    <a:pt x="763" y="85"/>
                  </a:cubicBezTo>
                  <a:cubicBezTo>
                    <a:pt x="714" y="104"/>
                    <a:pt x="666" y="126"/>
                    <a:pt x="618" y="152"/>
                  </a:cubicBezTo>
                  <a:cubicBezTo>
                    <a:pt x="569" y="180"/>
                    <a:pt x="522" y="208"/>
                    <a:pt x="477" y="245"/>
                  </a:cubicBezTo>
                  <a:cubicBezTo>
                    <a:pt x="385" y="314"/>
                    <a:pt x="304" y="399"/>
                    <a:pt x="241" y="487"/>
                  </a:cubicBezTo>
                  <a:cubicBezTo>
                    <a:pt x="208" y="532"/>
                    <a:pt x="185" y="574"/>
                    <a:pt x="159" y="620"/>
                  </a:cubicBezTo>
                  <a:cubicBezTo>
                    <a:pt x="135" y="664"/>
                    <a:pt x="118" y="705"/>
                    <a:pt x="99" y="749"/>
                  </a:cubicBezTo>
                  <a:cubicBezTo>
                    <a:pt x="84" y="790"/>
                    <a:pt x="71" y="830"/>
                    <a:pt x="58" y="870"/>
                  </a:cubicBezTo>
                  <a:cubicBezTo>
                    <a:pt x="48" y="908"/>
                    <a:pt x="39" y="945"/>
                    <a:pt x="31" y="983"/>
                  </a:cubicBezTo>
                  <a:cubicBezTo>
                    <a:pt x="25" y="1017"/>
                    <a:pt x="20" y="1051"/>
                    <a:pt x="15" y="1086"/>
                  </a:cubicBezTo>
                  <a:cubicBezTo>
                    <a:pt x="10" y="1122"/>
                    <a:pt x="7" y="1161"/>
                    <a:pt x="4" y="1199"/>
                  </a:cubicBezTo>
                  <a:cubicBezTo>
                    <a:pt x="1" y="1248"/>
                    <a:pt x="2" y="1241"/>
                    <a:pt x="1" y="1265"/>
                  </a:cubicBezTo>
                  <a:cubicBezTo>
                    <a:pt x="1" y="1276"/>
                    <a:pt x="0" y="1342"/>
                    <a:pt x="0" y="1338"/>
                  </a:cubicBezTo>
                  <a:cubicBezTo>
                    <a:pt x="0" y="1437"/>
                    <a:pt x="0" y="1437"/>
                    <a:pt x="0" y="1437"/>
                  </a:cubicBezTo>
                  <a:cubicBezTo>
                    <a:pt x="0" y="2232"/>
                    <a:pt x="0" y="2232"/>
                    <a:pt x="0" y="2232"/>
                  </a:cubicBezTo>
                  <a:cubicBezTo>
                    <a:pt x="0" y="2761"/>
                    <a:pt x="0" y="3291"/>
                    <a:pt x="0" y="3820"/>
                  </a:cubicBezTo>
                  <a:cubicBezTo>
                    <a:pt x="0" y="4879"/>
                    <a:pt x="0" y="5937"/>
                    <a:pt x="0" y="6993"/>
                  </a:cubicBezTo>
                  <a:cubicBezTo>
                    <a:pt x="0" y="9104"/>
                    <a:pt x="0" y="11207"/>
                    <a:pt x="0" y="13294"/>
                  </a:cubicBezTo>
                  <a:cubicBezTo>
                    <a:pt x="1" y="14340"/>
                    <a:pt x="1" y="15382"/>
                    <a:pt x="1" y="16420"/>
                  </a:cubicBezTo>
                  <a:cubicBezTo>
                    <a:pt x="6" y="16724"/>
                    <a:pt x="32" y="17036"/>
                    <a:pt x="103" y="17352"/>
                  </a:cubicBezTo>
                  <a:cubicBezTo>
                    <a:pt x="136" y="17510"/>
                    <a:pt x="185" y="17669"/>
                    <a:pt x="240" y="17825"/>
                  </a:cubicBezTo>
                  <a:cubicBezTo>
                    <a:pt x="298" y="17982"/>
                    <a:pt x="366" y="18137"/>
                    <a:pt x="448" y="18288"/>
                  </a:cubicBezTo>
                  <a:cubicBezTo>
                    <a:pt x="531" y="18437"/>
                    <a:pt x="623" y="18583"/>
                    <a:pt x="730" y="18718"/>
                  </a:cubicBezTo>
                  <a:cubicBezTo>
                    <a:pt x="754" y="18751"/>
                    <a:pt x="787" y="18790"/>
                    <a:pt x="818" y="18826"/>
                  </a:cubicBezTo>
                  <a:cubicBezTo>
                    <a:pt x="865" y="18881"/>
                    <a:pt x="865" y="18881"/>
                    <a:pt x="865" y="18881"/>
                  </a:cubicBezTo>
                  <a:cubicBezTo>
                    <a:pt x="883" y="18902"/>
                    <a:pt x="895" y="18915"/>
                    <a:pt x="905" y="18925"/>
                  </a:cubicBezTo>
                  <a:cubicBezTo>
                    <a:pt x="971" y="18995"/>
                    <a:pt x="971" y="18995"/>
                    <a:pt x="971" y="18995"/>
                  </a:cubicBezTo>
                  <a:cubicBezTo>
                    <a:pt x="1011" y="19037"/>
                    <a:pt x="1009" y="19032"/>
                    <a:pt x="1030" y="19053"/>
                  </a:cubicBezTo>
                  <a:cubicBezTo>
                    <a:pt x="1077" y="19097"/>
                    <a:pt x="1077" y="19097"/>
                    <a:pt x="1077" y="19097"/>
                  </a:cubicBezTo>
                  <a:cubicBezTo>
                    <a:pt x="1202" y="19214"/>
                    <a:pt x="1336" y="19322"/>
                    <a:pt x="1480" y="19416"/>
                  </a:cubicBezTo>
                  <a:cubicBezTo>
                    <a:pt x="1622" y="19512"/>
                    <a:pt x="1772" y="19595"/>
                    <a:pt x="1924" y="19665"/>
                  </a:cubicBezTo>
                  <a:cubicBezTo>
                    <a:pt x="2230" y="19807"/>
                    <a:pt x="2548" y="19896"/>
                    <a:pt x="2858" y="19949"/>
                  </a:cubicBezTo>
                  <a:cubicBezTo>
                    <a:pt x="3162" y="20003"/>
                    <a:pt x="3497" y="20015"/>
                    <a:pt x="3753" y="20013"/>
                  </a:cubicBezTo>
                  <a:cubicBezTo>
                    <a:pt x="4261" y="20013"/>
                    <a:pt x="4768" y="20013"/>
                    <a:pt x="5272" y="20013"/>
                  </a:cubicBezTo>
                  <a:cubicBezTo>
                    <a:pt x="5367" y="20013"/>
                    <a:pt x="5367" y="20013"/>
                    <a:pt x="5367" y="20013"/>
                  </a:cubicBezTo>
                  <a:cubicBezTo>
                    <a:pt x="5414" y="20013"/>
                    <a:pt x="5414" y="20013"/>
                    <a:pt x="5414" y="20013"/>
                  </a:cubicBezTo>
                  <a:cubicBezTo>
                    <a:pt x="5422" y="20014"/>
                    <a:pt x="5476" y="20012"/>
                    <a:pt x="5504" y="20011"/>
                  </a:cubicBezTo>
                  <a:cubicBezTo>
                    <a:pt x="5644" y="20003"/>
                    <a:pt x="5815" y="19976"/>
                    <a:pt x="6001" y="19886"/>
                  </a:cubicBezTo>
                  <a:cubicBezTo>
                    <a:pt x="6092" y="19841"/>
                    <a:pt x="6184" y="19779"/>
                    <a:pt x="6266" y="19706"/>
                  </a:cubicBezTo>
                  <a:cubicBezTo>
                    <a:pt x="6346" y="19632"/>
                    <a:pt x="6415" y="19547"/>
                    <a:pt x="6466" y="19463"/>
                  </a:cubicBezTo>
                  <a:cubicBezTo>
                    <a:pt x="6571" y="19294"/>
                    <a:pt x="6615" y="19135"/>
                    <a:pt x="6640" y="19003"/>
                  </a:cubicBezTo>
                  <a:cubicBezTo>
                    <a:pt x="6645" y="18970"/>
                    <a:pt x="6650" y="18939"/>
                    <a:pt x="6654" y="18904"/>
                  </a:cubicBezTo>
                  <a:cubicBezTo>
                    <a:pt x="6658" y="18868"/>
                    <a:pt x="6661" y="18831"/>
                    <a:pt x="6663" y="18795"/>
                  </a:cubicBezTo>
                  <a:cubicBezTo>
                    <a:pt x="6665" y="18743"/>
                    <a:pt x="6665" y="18743"/>
                    <a:pt x="6665" y="18743"/>
                  </a:cubicBezTo>
                  <a:cubicBezTo>
                    <a:pt x="6665" y="18673"/>
                    <a:pt x="6665" y="18673"/>
                    <a:pt x="6665" y="18673"/>
                  </a:cubicBezTo>
                  <a:cubicBezTo>
                    <a:pt x="6665" y="18484"/>
                    <a:pt x="6665" y="18484"/>
                    <a:pt x="6665" y="18484"/>
                  </a:cubicBezTo>
                  <a:cubicBezTo>
                    <a:pt x="6665" y="18359"/>
                    <a:pt x="6665" y="18234"/>
                    <a:pt x="6665" y="18108"/>
                  </a:cubicBezTo>
                  <a:cubicBezTo>
                    <a:pt x="6665" y="17608"/>
                    <a:pt x="6665" y="17109"/>
                    <a:pt x="6665" y="16612"/>
                  </a:cubicBezTo>
                  <a:cubicBezTo>
                    <a:pt x="6665" y="15618"/>
                    <a:pt x="6665" y="14633"/>
                    <a:pt x="6665" y="13657"/>
                  </a:cubicBezTo>
                  <a:cubicBezTo>
                    <a:pt x="6666" y="13538"/>
                    <a:pt x="6666" y="13418"/>
                    <a:pt x="6666" y="13299"/>
                  </a:cubicBezTo>
                  <a:cubicBezTo>
                    <a:pt x="6667" y="13203"/>
                    <a:pt x="6672" y="13110"/>
                    <a:pt x="6683" y="13020"/>
                  </a:cubicBezTo>
                  <a:cubicBezTo>
                    <a:pt x="6703" y="12838"/>
                    <a:pt x="6744" y="12671"/>
                    <a:pt x="6804" y="12516"/>
                  </a:cubicBezTo>
                  <a:cubicBezTo>
                    <a:pt x="6833" y="12439"/>
                    <a:pt x="6869" y="12366"/>
                    <a:pt x="6908" y="12295"/>
                  </a:cubicBezTo>
                  <a:cubicBezTo>
                    <a:pt x="6950" y="12225"/>
                    <a:pt x="6993" y="12157"/>
                    <a:pt x="7044" y="12093"/>
                  </a:cubicBezTo>
                  <a:cubicBezTo>
                    <a:pt x="7057" y="12075"/>
                    <a:pt x="7066" y="12065"/>
                    <a:pt x="7077" y="12052"/>
                  </a:cubicBezTo>
                  <a:cubicBezTo>
                    <a:pt x="7092" y="12034"/>
                    <a:pt x="7092" y="12034"/>
                    <a:pt x="7092" y="12034"/>
                  </a:cubicBezTo>
                  <a:cubicBezTo>
                    <a:pt x="7095" y="12028"/>
                    <a:pt x="7102" y="12021"/>
                    <a:pt x="7114" y="12008"/>
                  </a:cubicBezTo>
                  <a:cubicBezTo>
                    <a:pt x="7175" y="11942"/>
                    <a:pt x="7175" y="11942"/>
                    <a:pt x="7175" y="11942"/>
                  </a:cubicBezTo>
                  <a:cubicBezTo>
                    <a:pt x="7189" y="11927"/>
                    <a:pt x="7169" y="11948"/>
                    <a:pt x="7188" y="11930"/>
                  </a:cubicBezTo>
                  <a:cubicBezTo>
                    <a:pt x="7210" y="11908"/>
                    <a:pt x="7210" y="11908"/>
                    <a:pt x="7210" y="11908"/>
                  </a:cubicBezTo>
                  <a:cubicBezTo>
                    <a:pt x="7270" y="11849"/>
                    <a:pt x="7332" y="11797"/>
                    <a:pt x="7397" y="11750"/>
                  </a:cubicBezTo>
                  <a:cubicBezTo>
                    <a:pt x="7525" y="11655"/>
                    <a:pt x="7665" y="11584"/>
                    <a:pt x="7816" y="11531"/>
                  </a:cubicBezTo>
                  <a:cubicBezTo>
                    <a:pt x="7893" y="11507"/>
                    <a:pt x="7970" y="11483"/>
                    <a:pt x="8053" y="11468"/>
                  </a:cubicBezTo>
                  <a:cubicBezTo>
                    <a:pt x="8093" y="11458"/>
                    <a:pt x="8137" y="11455"/>
                    <a:pt x="8178" y="11447"/>
                  </a:cubicBezTo>
                  <a:cubicBezTo>
                    <a:pt x="8243" y="11440"/>
                    <a:pt x="8243" y="11440"/>
                    <a:pt x="8243" y="11440"/>
                  </a:cubicBezTo>
                  <a:cubicBezTo>
                    <a:pt x="8265" y="11437"/>
                    <a:pt x="8286" y="11435"/>
                    <a:pt x="8303" y="11435"/>
                  </a:cubicBezTo>
                  <a:cubicBezTo>
                    <a:pt x="8359" y="11431"/>
                    <a:pt x="8359" y="11431"/>
                    <a:pt x="8359" y="11431"/>
                  </a:cubicBezTo>
                  <a:cubicBezTo>
                    <a:pt x="8365" y="11430"/>
                    <a:pt x="8385" y="11430"/>
                    <a:pt x="8398" y="11429"/>
                  </a:cubicBezTo>
                  <a:cubicBezTo>
                    <a:pt x="8443" y="11428"/>
                    <a:pt x="8443" y="11428"/>
                    <a:pt x="8443" y="11428"/>
                  </a:cubicBezTo>
                  <a:cubicBezTo>
                    <a:pt x="8487" y="11427"/>
                    <a:pt x="8487" y="11427"/>
                    <a:pt x="8487" y="11427"/>
                  </a:cubicBezTo>
                  <a:cubicBezTo>
                    <a:pt x="8518" y="11427"/>
                    <a:pt x="8495" y="11427"/>
                    <a:pt x="8510" y="11427"/>
                  </a:cubicBezTo>
                  <a:cubicBezTo>
                    <a:pt x="8580" y="11428"/>
                    <a:pt x="8580" y="11428"/>
                    <a:pt x="8580" y="11428"/>
                  </a:cubicBezTo>
                  <a:cubicBezTo>
                    <a:pt x="8674" y="11431"/>
                    <a:pt x="8767" y="11438"/>
                    <a:pt x="8859" y="11449"/>
                  </a:cubicBezTo>
                  <a:cubicBezTo>
                    <a:pt x="9045" y="11471"/>
                    <a:pt x="9228" y="11510"/>
                    <a:pt x="9408" y="11564"/>
                  </a:cubicBezTo>
                  <a:cubicBezTo>
                    <a:pt x="9498" y="11592"/>
                    <a:pt x="9587" y="11623"/>
                    <a:pt x="9675" y="11658"/>
                  </a:cubicBezTo>
                  <a:cubicBezTo>
                    <a:pt x="9718" y="11676"/>
                    <a:pt x="9747" y="11686"/>
                    <a:pt x="9807" y="11713"/>
                  </a:cubicBezTo>
                  <a:cubicBezTo>
                    <a:pt x="9875" y="11743"/>
                    <a:pt x="9875" y="11743"/>
                    <a:pt x="9875" y="11743"/>
                  </a:cubicBezTo>
                  <a:cubicBezTo>
                    <a:pt x="9946" y="11776"/>
                    <a:pt x="9946" y="11776"/>
                    <a:pt x="9946" y="11776"/>
                  </a:cubicBezTo>
                  <a:cubicBezTo>
                    <a:pt x="10134" y="11866"/>
                    <a:pt x="10318" y="11963"/>
                    <a:pt x="10498" y="12068"/>
                  </a:cubicBezTo>
                  <a:cubicBezTo>
                    <a:pt x="10678" y="12173"/>
                    <a:pt x="10853" y="12286"/>
                    <a:pt x="11023" y="12405"/>
                  </a:cubicBezTo>
                  <a:cubicBezTo>
                    <a:pt x="11148" y="12494"/>
                    <a:pt x="11148" y="12494"/>
                    <a:pt x="11148" y="12494"/>
                  </a:cubicBezTo>
                  <a:cubicBezTo>
                    <a:pt x="11279" y="12591"/>
                    <a:pt x="11279" y="12591"/>
                    <a:pt x="11279" y="12591"/>
                  </a:cubicBezTo>
                  <a:cubicBezTo>
                    <a:pt x="11404" y="12687"/>
                    <a:pt x="11404" y="12687"/>
                    <a:pt x="11404" y="12687"/>
                  </a:cubicBezTo>
                  <a:cubicBezTo>
                    <a:pt x="11531" y="12788"/>
                    <a:pt x="11531" y="12788"/>
                    <a:pt x="11531" y="12788"/>
                  </a:cubicBezTo>
                  <a:cubicBezTo>
                    <a:pt x="11869" y="13056"/>
                    <a:pt x="12193" y="13339"/>
                    <a:pt x="12502" y="13631"/>
                  </a:cubicBezTo>
                  <a:cubicBezTo>
                    <a:pt x="12663" y="13786"/>
                    <a:pt x="12824" y="13941"/>
                    <a:pt x="12984" y="14095"/>
                  </a:cubicBezTo>
                  <a:cubicBezTo>
                    <a:pt x="13148" y="14252"/>
                    <a:pt x="13314" y="14407"/>
                    <a:pt x="13481" y="14560"/>
                  </a:cubicBezTo>
                  <a:cubicBezTo>
                    <a:pt x="13564" y="14637"/>
                    <a:pt x="13648" y="14713"/>
                    <a:pt x="13732" y="14789"/>
                  </a:cubicBezTo>
                  <a:cubicBezTo>
                    <a:pt x="13813" y="14861"/>
                    <a:pt x="13894" y="14934"/>
                    <a:pt x="13975" y="15006"/>
                  </a:cubicBezTo>
                  <a:cubicBezTo>
                    <a:pt x="14137" y="15154"/>
                    <a:pt x="14299" y="15301"/>
                    <a:pt x="14460" y="15447"/>
                  </a:cubicBezTo>
                  <a:cubicBezTo>
                    <a:pt x="14781" y="15740"/>
                    <a:pt x="15100" y="16030"/>
                    <a:pt x="15416" y="16318"/>
                  </a:cubicBezTo>
                  <a:cubicBezTo>
                    <a:pt x="15744" y="16619"/>
                    <a:pt x="16078" y="16908"/>
                    <a:pt x="16421" y="17184"/>
                  </a:cubicBezTo>
                  <a:cubicBezTo>
                    <a:pt x="16507" y="17253"/>
                    <a:pt x="16592" y="17320"/>
                    <a:pt x="16681" y="17389"/>
                  </a:cubicBezTo>
                  <a:cubicBezTo>
                    <a:pt x="16809" y="17487"/>
                    <a:pt x="16809" y="17487"/>
                    <a:pt x="16809" y="17487"/>
                  </a:cubicBezTo>
                  <a:cubicBezTo>
                    <a:pt x="16947" y="17590"/>
                    <a:pt x="16947" y="17590"/>
                    <a:pt x="16947" y="17590"/>
                  </a:cubicBezTo>
                  <a:cubicBezTo>
                    <a:pt x="17131" y="17726"/>
                    <a:pt x="17322" y="17855"/>
                    <a:pt x="17518" y="17976"/>
                  </a:cubicBezTo>
                  <a:cubicBezTo>
                    <a:pt x="17715" y="18097"/>
                    <a:pt x="17918" y="18209"/>
                    <a:pt x="18126" y="18311"/>
                  </a:cubicBezTo>
                  <a:cubicBezTo>
                    <a:pt x="18209" y="18351"/>
                    <a:pt x="18209" y="18351"/>
                    <a:pt x="18209" y="18351"/>
                  </a:cubicBezTo>
                  <a:cubicBezTo>
                    <a:pt x="18284" y="18386"/>
                    <a:pt x="18284" y="18386"/>
                    <a:pt x="18284" y="18386"/>
                  </a:cubicBezTo>
                  <a:cubicBezTo>
                    <a:pt x="18365" y="18422"/>
                    <a:pt x="18365" y="18422"/>
                    <a:pt x="18365" y="18422"/>
                  </a:cubicBezTo>
                  <a:cubicBezTo>
                    <a:pt x="18451" y="18459"/>
                    <a:pt x="18451" y="18459"/>
                    <a:pt x="18451" y="18459"/>
                  </a:cubicBezTo>
                  <a:cubicBezTo>
                    <a:pt x="18566" y="18507"/>
                    <a:pt x="18684" y="18549"/>
                    <a:pt x="18803" y="18587"/>
                  </a:cubicBezTo>
                  <a:cubicBezTo>
                    <a:pt x="19041" y="18663"/>
                    <a:pt x="19286" y="18716"/>
                    <a:pt x="19531" y="18749"/>
                  </a:cubicBezTo>
                  <a:cubicBezTo>
                    <a:pt x="19654" y="18765"/>
                    <a:pt x="19774" y="18776"/>
                    <a:pt x="19899" y="18782"/>
                  </a:cubicBezTo>
                  <a:cubicBezTo>
                    <a:pt x="19998" y="18785"/>
                    <a:pt x="19998" y="18785"/>
                    <a:pt x="19998" y="18785"/>
                  </a:cubicBezTo>
                  <a:cubicBezTo>
                    <a:pt x="20075" y="18786"/>
                    <a:pt x="20075" y="18786"/>
                    <a:pt x="20075" y="18786"/>
                  </a:cubicBezTo>
                  <a:cubicBezTo>
                    <a:pt x="20125" y="18787"/>
                    <a:pt x="20125" y="18787"/>
                    <a:pt x="20125" y="18787"/>
                  </a:cubicBezTo>
                  <a:cubicBezTo>
                    <a:pt x="20171" y="18786"/>
                    <a:pt x="20171" y="18786"/>
                    <a:pt x="20171" y="18786"/>
                  </a:cubicBezTo>
                  <a:cubicBezTo>
                    <a:pt x="20201" y="18786"/>
                    <a:pt x="20231" y="18785"/>
                    <a:pt x="20261" y="18784"/>
                  </a:cubicBezTo>
                  <a:cubicBezTo>
                    <a:pt x="20746" y="18768"/>
                    <a:pt x="21231" y="18669"/>
                    <a:pt x="21677" y="18495"/>
                  </a:cubicBezTo>
                  <a:cubicBezTo>
                    <a:pt x="21768" y="18459"/>
                    <a:pt x="21768" y="18459"/>
                    <a:pt x="21768" y="18459"/>
                  </a:cubicBezTo>
                  <a:cubicBezTo>
                    <a:pt x="21840" y="18428"/>
                    <a:pt x="21840" y="18428"/>
                    <a:pt x="21840" y="18428"/>
                  </a:cubicBezTo>
                  <a:cubicBezTo>
                    <a:pt x="21882" y="18410"/>
                    <a:pt x="21882" y="18410"/>
                    <a:pt x="21882" y="18410"/>
                  </a:cubicBezTo>
                  <a:cubicBezTo>
                    <a:pt x="21920" y="18392"/>
                    <a:pt x="21920" y="18392"/>
                    <a:pt x="21920" y="18392"/>
                  </a:cubicBezTo>
                  <a:cubicBezTo>
                    <a:pt x="21995" y="18358"/>
                    <a:pt x="21995" y="18358"/>
                    <a:pt x="21995" y="18358"/>
                  </a:cubicBezTo>
                  <a:cubicBezTo>
                    <a:pt x="22095" y="18311"/>
                    <a:pt x="22192" y="18262"/>
                    <a:pt x="22288" y="18211"/>
                  </a:cubicBezTo>
                  <a:cubicBezTo>
                    <a:pt x="22480" y="18110"/>
                    <a:pt x="22664" y="18001"/>
                    <a:pt x="22842" y="17886"/>
                  </a:cubicBezTo>
                  <a:cubicBezTo>
                    <a:pt x="23019" y="17772"/>
                    <a:pt x="23190" y="17653"/>
                    <a:pt x="23356" y="17528"/>
                  </a:cubicBezTo>
                  <a:cubicBezTo>
                    <a:pt x="23516" y="17407"/>
                    <a:pt x="23668" y="17288"/>
                    <a:pt x="23819" y="17166"/>
                  </a:cubicBezTo>
                  <a:cubicBezTo>
                    <a:pt x="24121" y="16922"/>
                    <a:pt x="24410" y="16674"/>
                    <a:pt x="24689" y="16421"/>
                  </a:cubicBezTo>
                  <a:cubicBezTo>
                    <a:pt x="25223" y="15935"/>
                    <a:pt x="25742" y="15462"/>
                    <a:pt x="26247" y="15003"/>
                  </a:cubicBezTo>
                  <a:cubicBezTo>
                    <a:pt x="26512" y="14769"/>
                    <a:pt x="26767" y="14535"/>
                    <a:pt x="27015" y="14302"/>
                  </a:cubicBezTo>
                  <a:cubicBezTo>
                    <a:pt x="27138" y="14185"/>
                    <a:pt x="27260" y="14069"/>
                    <a:pt x="27381" y="13954"/>
                  </a:cubicBezTo>
                  <a:cubicBezTo>
                    <a:pt x="27498" y="13842"/>
                    <a:pt x="27613" y="13730"/>
                    <a:pt x="27727" y="13620"/>
                  </a:cubicBezTo>
                  <a:cubicBezTo>
                    <a:pt x="27950" y="13410"/>
                    <a:pt x="28176" y="13209"/>
                    <a:pt x="28403" y="13019"/>
                  </a:cubicBezTo>
                  <a:cubicBezTo>
                    <a:pt x="28517" y="12924"/>
                    <a:pt x="28631" y="12832"/>
                    <a:pt x="28745" y="12742"/>
                  </a:cubicBezTo>
                  <a:cubicBezTo>
                    <a:pt x="28803" y="12697"/>
                    <a:pt x="28861" y="12652"/>
                    <a:pt x="28919" y="12607"/>
                  </a:cubicBezTo>
                  <a:cubicBezTo>
                    <a:pt x="28972" y="12567"/>
                    <a:pt x="29029" y="12524"/>
                    <a:pt x="29084" y="12484"/>
                  </a:cubicBezTo>
                  <a:cubicBezTo>
                    <a:pt x="29306" y="12323"/>
                    <a:pt x="29531" y="12177"/>
                    <a:pt x="29758" y="12046"/>
                  </a:cubicBezTo>
                  <a:cubicBezTo>
                    <a:pt x="29871" y="11981"/>
                    <a:pt x="29985" y="11919"/>
                    <a:pt x="30099" y="11861"/>
                  </a:cubicBezTo>
                  <a:cubicBezTo>
                    <a:pt x="30185" y="11819"/>
                    <a:pt x="30185" y="11819"/>
                    <a:pt x="30185" y="11819"/>
                  </a:cubicBezTo>
                  <a:cubicBezTo>
                    <a:pt x="30266" y="11780"/>
                    <a:pt x="30266" y="11780"/>
                    <a:pt x="30266" y="11780"/>
                  </a:cubicBezTo>
                  <a:cubicBezTo>
                    <a:pt x="30361" y="11735"/>
                    <a:pt x="30361" y="11735"/>
                    <a:pt x="30361" y="11735"/>
                  </a:cubicBezTo>
                  <a:cubicBezTo>
                    <a:pt x="30437" y="11701"/>
                    <a:pt x="30437" y="11701"/>
                    <a:pt x="30437" y="11701"/>
                  </a:cubicBezTo>
                  <a:cubicBezTo>
                    <a:pt x="30859" y="11519"/>
                    <a:pt x="31278" y="11432"/>
                    <a:pt x="31688" y="11428"/>
                  </a:cubicBezTo>
                  <a:cubicBezTo>
                    <a:pt x="32087" y="11423"/>
                    <a:pt x="32417" y="11504"/>
                    <a:pt x="32680" y="11658"/>
                  </a:cubicBezTo>
                  <a:cubicBezTo>
                    <a:pt x="32746" y="11696"/>
                    <a:pt x="32809" y="11738"/>
                    <a:pt x="32869" y="11786"/>
                  </a:cubicBezTo>
                  <a:cubicBezTo>
                    <a:pt x="32913" y="11821"/>
                    <a:pt x="32913" y="11821"/>
                    <a:pt x="32913" y="11821"/>
                  </a:cubicBezTo>
                  <a:cubicBezTo>
                    <a:pt x="32946" y="11850"/>
                    <a:pt x="32946" y="11850"/>
                    <a:pt x="32946" y="11850"/>
                  </a:cubicBezTo>
                  <a:cubicBezTo>
                    <a:pt x="32964" y="11865"/>
                    <a:pt x="32964" y="11865"/>
                    <a:pt x="32964" y="11865"/>
                  </a:cubicBezTo>
                  <a:cubicBezTo>
                    <a:pt x="32993" y="11894"/>
                    <a:pt x="32993" y="11894"/>
                    <a:pt x="32993" y="11894"/>
                  </a:cubicBezTo>
                  <a:cubicBezTo>
                    <a:pt x="33046" y="11945"/>
                    <a:pt x="33046" y="11945"/>
                    <a:pt x="33046" y="11945"/>
                  </a:cubicBezTo>
                  <a:cubicBezTo>
                    <a:pt x="33044" y="11943"/>
                    <a:pt x="33043" y="11942"/>
                    <a:pt x="33049" y="11949"/>
                  </a:cubicBezTo>
                  <a:cubicBezTo>
                    <a:pt x="33059" y="11959"/>
                    <a:pt x="33059" y="11959"/>
                    <a:pt x="33059" y="11959"/>
                  </a:cubicBezTo>
                  <a:cubicBezTo>
                    <a:pt x="33078" y="11980"/>
                    <a:pt x="33078" y="11980"/>
                    <a:pt x="33078" y="11980"/>
                  </a:cubicBezTo>
                  <a:cubicBezTo>
                    <a:pt x="33091" y="11994"/>
                    <a:pt x="33105" y="12007"/>
                    <a:pt x="33116" y="12022"/>
                  </a:cubicBezTo>
                  <a:cubicBezTo>
                    <a:pt x="33140" y="12050"/>
                    <a:pt x="33165" y="12078"/>
                    <a:pt x="33185" y="12107"/>
                  </a:cubicBezTo>
                  <a:cubicBezTo>
                    <a:pt x="33230" y="12164"/>
                    <a:pt x="33267" y="12224"/>
                    <a:pt x="33303" y="12284"/>
                  </a:cubicBezTo>
                  <a:cubicBezTo>
                    <a:pt x="33442" y="12524"/>
                    <a:pt x="33513" y="12788"/>
                    <a:pt x="33540" y="13059"/>
                  </a:cubicBezTo>
                  <a:cubicBezTo>
                    <a:pt x="33544" y="13094"/>
                    <a:pt x="33545" y="13123"/>
                    <a:pt x="33547" y="13152"/>
                  </a:cubicBezTo>
                  <a:cubicBezTo>
                    <a:pt x="33550" y="13195"/>
                    <a:pt x="33550" y="13195"/>
                    <a:pt x="33550" y="13195"/>
                  </a:cubicBezTo>
                  <a:cubicBezTo>
                    <a:pt x="33551" y="13217"/>
                    <a:pt x="33551" y="13238"/>
                    <a:pt x="33552" y="13260"/>
                  </a:cubicBezTo>
                  <a:cubicBezTo>
                    <a:pt x="33552" y="13282"/>
                    <a:pt x="33552" y="13303"/>
                    <a:pt x="33553" y="13325"/>
                  </a:cubicBezTo>
                  <a:cubicBezTo>
                    <a:pt x="33553" y="13333"/>
                    <a:pt x="33553" y="13333"/>
                    <a:pt x="33553" y="13333"/>
                  </a:cubicBezTo>
                  <a:cubicBezTo>
                    <a:pt x="33553" y="13337"/>
                    <a:pt x="33553" y="13341"/>
                    <a:pt x="33553" y="13341"/>
                  </a:cubicBezTo>
                  <a:cubicBezTo>
                    <a:pt x="33553" y="13373"/>
                    <a:pt x="33553" y="13373"/>
                    <a:pt x="33553" y="13373"/>
                  </a:cubicBezTo>
                  <a:cubicBezTo>
                    <a:pt x="33553" y="13415"/>
                    <a:pt x="33553" y="13457"/>
                    <a:pt x="33553" y="13499"/>
                  </a:cubicBezTo>
                  <a:cubicBezTo>
                    <a:pt x="33553" y="13665"/>
                    <a:pt x="33553" y="13825"/>
                    <a:pt x="33553" y="13978"/>
                  </a:cubicBezTo>
                  <a:cubicBezTo>
                    <a:pt x="33553" y="14283"/>
                    <a:pt x="33553" y="14560"/>
                    <a:pt x="33553" y="14809"/>
                  </a:cubicBezTo>
                  <a:cubicBezTo>
                    <a:pt x="33553" y="15802"/>
                    <a:pt x="33553" y="16360"/>
                    <a:pt x="33553" y="16360"/>
                  </a:cubicBezTo>
                  <a:cubicBezTo>
                    <a:pt x="33553" y="16360"/>
                    <a:pt x="33553" y="16360"/>
                    <a:pt x="33553" y="16360"/>
                  </a:cubicBezTo>
                  <a:cubicBezTo>
                    <a:pt x="33553" y="16370"/>
                    <a:pt x="33554" y="16408"/>
                    <a:pt x="33555" y="16472"/>
                  </a:cubicBezTo>
                  <a:cubicBezTo>
                    <a:pt x="33556" y="16549"/>
                    <a:pt x="33560" y="16664"/>
                    <a:pt x="33574" y="16819"/>
                  </a:cubicBezTo>
                  <a:cubicBezTo>
                    <a:pt x="33587" y="16972"/>
                    <a:pt x="33613" y="17167"/>
                    <a:pt x="33667" y="17399"/>
                  </a:cubicBezTo>
                  <a:cubicBezTo>
                    <a:pt x="33722" y="17630"/>
                    <a:pt x="33803" y="17903"/>
                    <a:pt x="33953" y="18197"/>
                  </a:cubicBezTo>
                  <a:cubicBezTo>
                    <a:pt x="34025" y="18344"/>
                    <a:pt x="34119" y="18494"/>
                    <a:pt x="34227" y="18645"/>
                  </a:cubicBezTo>
                  <a:cubicBezTo>
                    <a:pt x="34255" y="18682"/>
                    <a:pt x="34284" y="18720"/>
                    <a:pt x="34313" y="18758"/>
                  </a:cubicBezTo>
                  <a:cubicBezTo>
                    <a:pt x="34347" y="18799"/>
                    <a:pt x="34382" y="18840"/>
                    <a:pt x="34418" y="18882"/>
                  </a:cubicBezTo>
                  <a:cubicBezTo>
                    <a:pt x="34444" y="18911"/>
                    <a:pt x="34444" y="18911"/>
                    <a:pt x="34444" y="18911"/>
                  </a:cubicBezTo>
                  <a:cubicBezTo>
                    <a:pt x="34462" y="18931"/>
                    <a:pt x="34462" y="18931"/>
                    <a:pt x="34462" y="18931"/>
                  </a:cubicBezTo>
                  <a:cubicBezTo>
                    <a:pt x="34501" y="18971"/>
                    <a:pt x="34501" y="18971"/>
                    <a:pt x="34501" y="18971"/>
                  </a:cubicBezTo>
                  <a:cubicBezTo>
                    <a:pt x="34520" y="18991"/>
                    <a:pt x="34520" y="18991"/>
                    <a:pt x="34520" y="18991"/>
                  </a:cubicBezTo>
                  <a:cubicBezTo>
                    <a:pt x="34530" y="19002"/>
                    <a:pt x="34530" y="19002"/>
                    <a:pt x="34530" y="19002"/>
                  </a:cubicBezTo>
                  <a:cubicBezTo>
                    <a:pt x="34564" y="19037"/>
                    <a:pt x="34547" y="19019"/>
                    <a:pt x="34558" y="19030"/>
                  </a:cubicBezTo>
                  <a:cubicBezTo>
                    <a:pt x="34576" y="19048"/>
                    <a:pt x="34595" y="19065"/>
                    <a:pt x="34613" y="19083"/>
                  </a:cubicBezTo>
                  <a:cubicBezTo>
                    <a:pt x="34908" y="19363"/>
                    <a:pt x="35296" y="19614"/>
                    <a:pt x="35736" y="19772"/>
                  </a:cubicBezTo>
                  <a:cubicBezTo>
                    <a:pt x="36174" y="19933"/>
                    <a:pt x="36660" y="20007"/>
                    <a:pt x="37137" y="20012"/>
                  </a:cubicBezTo>
                  <a:cubicBezTo>
                    <a:pt x="37554" y="20013"/>
                    <a:pt x="37998" y="20013"/>
                    <a:pt x="38467" y="20013"/>
                  </a:cubicBezTo>
                  <a:cubicBezTo>
                    <a:pt x="38583" y="20013"/>
                    <a:pt x="38700" y="20013"/>
                    <a:pt x="38819" y="20013"/>
                  </a:cubicBezTo>
                  <a:cubicBezTo>
                    <a:pt x="38909" y="20013"/>
                    <a:pt x="38909" y="20013"/>
                    <a:pt x="38909" y="20013"/>
                  </a:cubicBezTo>
                  <a:cubicBezTo>
                    <a:pt x="38954" y="20013"/>
                    <a:pt x="38954" y="20013"/>
                    <a:pt x="38954" y="20013"/>
                  </a:cubicBezTo>
                  <a:cubicBezTo>
                    <a:pt x="38976" y="20013"/>
                    <a:pt x="38976" y="20013"/>
                    <a:pt x="38976" y="20013"/>
                  </a:cubicBezTo>
                  <a:cubicBezTo>
                    <a:pt x="39024" y="20012"/>
                    <a:pt x="39024" y="20012"/>
                    <a:pt x="39024" y="20012"/>
                  </a:cubicBezTo>
                  <a:cubicBezTo>
                    <a:pt x="39153" y="20008"/>
                    <a:pt x="39310" y="19989"/>
                    <a:pt x="39489" y="19915"/>
                  </a:cubicBezTo>
                  <a:cubicBezTo>
                    <a:pt x="39577" y="19878"/>
                    <a:pt x="39669" y="19827"/>
                    <a:pt x="39752" y="19761"/>
                  </a:cubicBezTo>
                  <a:cubicBezTo>
                    <a:pt x="39795" y="19728"/>
                    <a:pt x="39834" y="19692"/>
                    <a:pt x="39871" y="19654"/>
                  </a:cubicBezTo>
                  <a:cubicBezTo>
                    <a:pt x="39909" y="19615"/>
                    <a:pt x="39941" y="19575"/>
                    <a:pt x="39971" y="19534"/>
                  </a:cubicBezTo>
                  <a:cubicBezTo>
                    <a:pt x="40092" y="19368"/>
                    <a:pt x="40149" y="19202"/>
                    <a:pt x="40179" y="19065"/>
                  </a:cubicBezTo>
                  <a:cubicBezTo>
                    <a:pt x="40195" y="18992"/>
                    <a:pt x="40204" y="18939"/>
                    <a:pt x="40211" y="18862"/>
                  </a:cubicBezTo>
                  <a:cubicBezTo>
                    <a:pt x="40215" y="18807"/>
                    <a:pt x="40215" y="18807"/>
                    <a:pt x="40215" y="18807"/>
                  </a:cubicBezTo>
                  <a:cubicBezTo>
                    <a:pt x="40216" y="18785"/>
                    <a:pt x="40216" y="18779"/>
                    <a:pt x="40216" y="18771"/>
                  </a:cubicBezTo>
                  <a:cubicBezTo>
                    <a:pt x="40218" y="18701"/>
                    <a:pt x="40218" y="18701"/>
                    <a:pt x="40218" y="18701"/>
                  </a:cubicBezTo>
                  <a:cubicBezTo>
                    <a:pt x="40218" y="18638"/>
                    <a:pt x="40218" y="18574"/>
                    <a:pt x="40218" y="18510"/>
                  </a:cubicBezTo>
                  <a:cubicBezTo>
                    <a:pt x="40218" y="17998"/>
                    <a:pt x="40218" y="17462"/>
                    <a:pt x="40218" y="16903"/>
                  </a:cubicBezTo>
                  <a:cubicBezTo>
                    <a:pt x="40218" y="15785"/>
                    <a:pt x="40218" y="14576"/>
                    <a:pt x="40218" y="13284"/>
                  </a:cubicBezTo>
                  <a:cubicBezTo>
                    <a:pt x="40218" y="10701"/>
                    <a:pt x="40218" y="7787"/>
                    <a:pt x="40218" y="4607"/>
                  </a:cubicBezTo>
                  <a:cubicBezTo>
                    <a:pt x="40218" y="4408"/>
                    <a:pt x="40218" y="4209"/>
                    <a:pt x="40218" y="4008"/>
                  </a:cubicBezTo>
                  <a:cubicBezTo>
                    <a:pt x="40218" y="3907"/>
                    <a:pt x="40218" y="3807"/>
                    <a:pt x="40218" y="3706"/>
                  </a:cubicBezTo>
                  <a:cubicBezTo>
                    <a:pt x="40218" y="3660"/>
                    <a:pt x="40217" y="3594"/>
                    <a:pt x="40216" y="3536"/>
                  </a:cubicBezTo>
                  <a:close/>
                  <a:moveTo>
                    <a:pt x="33929" y="1616"/>
                  </a:moveTo>
                  <a:cubicBezTo>
                    <a:pt x="33935" y="1613"/>
                    <a:pt x="33941" y="1610"/>
                    <a:pt x="33931" y="1615"/>
                  </a:cubicBezTo>
                  <a:cubicBezTo>
                    <a:pt x="33930" y="1616"/>
                    <a:pt x="33929" y="1616"/>
                    <a:pt x="33929" y="1616"/>
                  </a:cubicBezTo>
                  <a:close/>
                  <a:moveTo>
                    <a:pt x="1615" y="1278"/>
                  </a:moveTo>
                  <a:cubicBezTo>
                    <a:pt x="1615" y="1282"/>
                    <a:pt x="1614" y="1289"/>
                    <a:pt x="1614" y="1292"/>
                  </a:cubicBezTo>
                  <a:cubicBezTo>
                    <a:pt x="1614" y="1292"/>
                    <a:pt x="1614" y="1292"/>
                    <a:pt x="1614" y="1292"/>
                  </a:cubicBezTo>
                  <a:cubicBezTo>
                    <a:pt x="1614" y="1279"/>
                    <a:pt x="1614" y="1268"/>
                    <a:pt x="1615" y="1278"/>
                  </a:cubicBezTo>
                  <a:close/>
                  <a:moveTo>
                    <a:pt x="5416" y="18401"/>
                  </a:moveTo>
                  <a:cubicBezTo>
                    <a:pt x="5416" y="18401"/>
                    <a:pt x="5418" y="18401"/>
                    <a:pt x="5419" y="18401"/>
                  </a:cubicBezTo>
                  <a:cubicBezTo>
                    <a:pt x="5416" y="18400"/>
                    <a:pt x="5436" y="18401"/>
                    <a:pt x="5416" y="18401"/>
                  </a:cubicBezTo>
                  <a:close/>
                  <a:moveTo>
                    <a:pt x="37166" y="18400"/>
                  </a:moveTo>
                  <a:cubicBezTo>
                    <a:pt x="36817" y="18396"/>
                    <a:pt x="36528" y="18345"/>
                    <a:pt x="36289" y="18258"/>
                  </a:cubicBezTo>
                  <a:cubicBezTo>
                    <a:pt x="36050" y="18171"/>
                    <a:pt x="35868" y="18050"/>
                    <a:pt x="35720" y="17910"/>
                  </a:cubicBezTo>
                  <a:cubicBezTo>
                    <a:pt x="35693" y="17884"/>
                    <a:pt x="35693" y="17884"/>
                    <a:pt x="35693" y="17884"/>
                  </a:cubicBezTo>
                  <a:cubicBezTo>
                    <a:pt x="35694" y="17886"/>
                    <a:pt x="35692" y="17884"/>
                    <a:pt x="35690" y="17882"/>
                  </a:cubicBezTo>
                  <a:cubicBezTo>
                    <a:pt x="35672" y="17863"/>
                    <a:pt x="35672" y="17863"/>
                    <a:pt x="35672" y="17863"/>
                  </a:cubicBezTo>
                  <a:cubicBezTo>
                    <a:pt x="35634" y="17822"/>
                    <a:pt x="35634" y="17822"/>
                    <a:pt x="35634" y="17822"/>
                  </a:cubicBezTo>
                  <a:cubicBezTo>
                    <a:pt x="35615" y="17802"/>
                    <a:pt x="35615" y="17802"/>
                    <a:pt x="35615" y="17802"/>
                  </a:cubicBezTo>
                  <a:cubicBezTo>
                    <a:pt x="35608" y="17795"/>
                    <a:pt x="35608" y="17794"/>
                    <a:pt x="35604" y="17790"/>
                  </a:cubicBezTo>
                  <a:cubicBezTo>
                    <a:pt x="35593" y="17776"/>
                    <a:pt x="35582" y="17762"/>
                    <a:pt x="35570" y="17749"/>
                  </a:cubicBezTo>
                  <a:cubicBezTo>
                    <a:pt x="35556" y="17730"/>
                    <a:pt x="35542" y="17712"/>
                    <a:pt x="35529" y="17694"/>
                  </a:cubicBezTo>
                  <a:cubicBezTo>
                    <a:pt x="35476" y="17619"/>
                    <a:pt x="35429" y="17546"/>
                    <a:pt x="35392" y="17470"/>
                  </a:cubicBezTo>
                  <a:cubicBezTo>
                    <a:pt x="35315" y="17321"/>
                    <a:pt x="35269" y="17169"/>
                    <a:pt x="35237" y="17033"/>
                  </a:cubicBezTo>
                  <a:cubicBezTo>
                    <a:pt x="35206" y="16896"/>
                    <a:pt x="35188" y="16773"/>
                    <a:pt x="35180" y="16671"/>
                  </a:cubicBezTo>
                  <a:cubicBezTo>
                    <a:pt x="35171" y="16570"/>
                    <a:pt x="35167" y="16491"/>
                    <a:pt x="35167" y="16437"/>
                  </a:cubicBezTo>
                  <a:cubicBezTo>
                    <a:pt x="35166" y="16384"/>
                    <a:pt x="35165" y="16356"/>
                    <a:pt x="35165" y="16356"/>
                  </a:cubicBezTo>
                  <a:cubicBezTo>
                    <a:pt x="35165" y="16321"/>
                    <a:pt x="35165" y="15770"/>
                    <a:pt x="35165" y="14809"/>
                  </a:cubicBezTo>
                  <a:cubicBezTo>
                    <a:pt x="35165" y="14560"/>
                    <a:pt x="35165" y="14283"/>
                    <a:pt x="35165" y="13978"/>
                  </a:cubicBezTo>
                  <a:cubicBezTo>
                    <a:pt x="35165" y="13825"/>
                    <a:pt x="35165" y="13665"/>
                    <a:pt x="35165" y="13499"/>
                  </a:cubicBezTo>
                  <a:cubicBezTo>
                    <a:pt x="35165" y="13457"/>
                    <a:pt x="35165" y="13415"/>
                    <a:pt x="35165" y="13373"/>
                  </a:cubicBezTo>
                  <a:cubicBezTo>
                    <a:pt x="35165" y="13346"/>
                    <a:pt x="35165" y="13319"/>
                    <a:pt x="35165" y="13293"/>
                  </a:cubicBezTo>
                  <a:cubicBezTo>
                    <a:pt x="35164" y="13271"/>
                    <a:pt x="35164" y="13250"/>
                    <a:pt x="35163" y="13228"/>
                  </a:cubicBezTo>
                  <a:cubicBezTo>
                    <a:pt x="35163" y="13206"/>
                    <a:pt x="35163" y="13184"/>
                    <a:pt x="35162" y="13163"/>
                  </a:cubicBezTo>
                  <a:cubicBezTo>
                    <a:pt x="35161" y="13133"/>
                    <a:pt x="35159" y="13104"/>
                    <a:pt x="35157" y="13074"/>
                  </a:cubicBezTo>
                  <a:cubicBezTo>
                    <a:pt x="35154" y="13014"/>
                    <a:pt x="35150" y="12954"/>
                    <a:pt x="35144" y="12900"/>
                  </a:cubicBezTo>
                  <a:cubicBezTo>
                    <a:pt x="35101" y="12457"/>
                    <a:pt x="34975" y="11953"/>
                    <a:pt x="34699" y="11477"/>
                  </a:cubicBezTo>
                  <a:cubicBezTo>
                    <a:pt x="34630" y="11359"/>
                    <a:pt x="34554" y="11241"/>
                    <a:pt x="34468" y="11131"/>
                  </a:cubicBezTo>
                  <a:cubicBezTo>
                    <a:pt x="34426" y="11074"/>
                    <a:pt x="34381" y="11021"/>
                    <a:pt x="34335" y="10966"/>
                  </a:cubicBezTo>
                  <a:cubicBezTo>
                    <a:pt x="34312" y="10939"/>
                    <a:pt x="34288" y="10913"/>
                    <a:pt x="34264" y="10887"/>
                  </a:cubicBezTo>
                  <a:cubicBezTo>
                    <a:pt x="34227" y="10848"/>
                    <a:pt x="34227" y="10848"/>
                    <a:pt x="34227" y="10848"/>
                  </a:cubicBezTo>
                  <a:cubicBezTo>
                    <a:pt x="34209" y="10829"/>
                    <a:pt x="34209" y="10829"/>
                    <a:pt x="34209" y="10829"/>
                  </a:cubicBezTo>
                  <a:cubicBezTo>
                    <a:pt x="34216" y="10835"/>
                    <a:pt x="34179" y="10797"/>
                    <a:pt x="34178" y="10796"/>
                  </a:cubicBezTo>
                  <a:cubicBezTo>
                    <a:pt x="34119" y="10739"/>
                    <a:pt x="34119" y="10739"/>
                    <a:pt x="34119" y="10739"/>
                  </a:cubicBezTo>
                  <a:cubicBezTo>
                    <a:pt x="34089" y="10710"/>
                    <a:pt x="34089" y="10710"/>
                    <a:pt x="34089" y="10710"/>
                  </a:cubicBezTo>
                  <a:cubicBezTo>
                    <a:pt x="34044" y="10669"/>
                    <a:pt x="34044" y="10669"/>
                    <a:pt x="34044" y="10669"/>
                  </a:cubicBezTo>
                  <a:cubicBezTo>
                    <a:pt x="34013" y="10642"/>
                    <a:pt x="33983" y="10615"/>
                    <a:pt x="33952" y="10588"/>
                  </a:cubicBezTo>
                  <a:cubicBezTo>
                    <a:pt x="33923" y="10565"/>
                    <a:pt x="33894" y="10541"/>
                    <a:pt x="33864" y="10518"/>
                  </a:cubicBezTo>
                  <a:cubicBezTo>
                    <a:pt x="33747" y="10425"/>
                    <a:pt x="33620" y="10339"/>
                    <a:pt x="33486" y="10261"/>
                  </a:cubicBezTo>
                  <a:cubicBezTo>
                    <a:pt x="33352" y="10182"/>
                    <a:pt x="33209" y="10117"/>
                    <a:pt x="33062" y="10057"/>
                  </a:cubicBezTo>
                  <a:cubicBezTo>
                    <a:pt x="32914" y="9999"/>
                    <a:pt x="32762" y="9951"/>
                    <a:pt x="32607" y="9914"/>
                  </a:cubicBezTo>
                  <a:cubicBezTo>
                    <a:pt x="32298" y="9842"/>
                    <a:pt x="31979" y="9810"/>
                    <a:pt x="31666" y="9816"/>
                  </a:cubicBezTo>
                  <a:cubicBezTo>
                    <a:pt x="31051" y="9820"/>
                    <a:pt x="30401" y="9959"/>
                    <a:pt x="29797" y="10222"/>
                  </a:cubicBezTo>
                  <a:cubicBezTo>
                    <a:pt x="29682" y="10273"/>
                    <a:pt x="29682" y="10273"/>
                    <a:pt x="29682" y="10273"/>
                  </a:cubicBezTo>
                  <a:cubicBezTo>
                    <a:pt x="29586" y="10318"/>
                    <a:pt x="29586" y="10318"/>
                    <a:pt x="29586" y="10318"/>
                  </a:cubicBezTo>
                  <a:cubicBezTo>
                    <a:pt x="29475" y="10371"/>
                    <a:pt x="29475" y="10371"/>
                    <a:pt x="29475" y="10371"/>
                  </a:cubicBezTo>
                  <a:cubicBezTo>
                    <a:pt x="29370" y="10423"/>
                    <a:pt x="29370" y="10423"/>
                    <a:pt x="29370" y="10423"/>
                  </a:cubicBezTo>
                  <a:cubicBezTo>
                    <a:pt x="29230" y="10495"/>
                    <a:pt x="29091" y="10570"/>
                    <a:pt x="28952" y="10650"/>
                  </a:cubicBezTo>
                  <a:cubicBezTo>
                    <a:pt x="28676" y="10809"/>
                    <a:pt x="28403" y="10986"/>
                    <a:pt x="28137" y="11180"/>
                  </a:cubicBezTo>
                  <a:cubicBezTo>
                    <a:pt x="28070" y="11228"/>
                    <a:pt x="28005" y="11277"/>
                    <a:pt x="27937" y="11328"/>
                  </a:cubicBezTo>
                  <a:cubicBezTo>
                    <a:pt x="27874" y="11377"/>
                    <a:pt x="27811" y="11426"/>
                    <a:pt x="27748" y="11475"/>
                  </a:cubicBezTo>
                  <a:cubicBezTo>
                    <a:pt x="27621" y="11575"/>
                    <a:pt x="27495" y="11677"/>
                    <a:pt x="27369" y="11783"/>
                  </a:cubicBezTo>
                  <a:cubicBezTo>
                    <a:pt x="27117" y="11993"/>
                    <a:pt x="26867" y="12215"/>
                    <a:pt x="26620" y="12448"/>
                  </a:cubicBezTo>
                  <a:cubicBezTo>
                    <a:pt x="26559" y="12507"/>
                    <a:pt x="26498" y="12565"/>
                    <a:pt x="26437" y="12624"/>
                  </a:cubicBezTo>
                  <a:cubicBezTo>
                    <a:pt x="26379" y="12680"/>
                    <a:pt x="26321" y="12736"/>
                    <a:pt x="26263" y="12792"/>
                  </a:cubicBezTo>
                  <a:cubicBezTo>
                    <a:pt x="26147" y="12903"/>
                    <a:pt x="26029" y="13015"/>
                    <a:pt x="25911" y="13127"/>
                  </a:cubicBezTo>
                  <a:cubicBezTo>
                    <a:pt x="25673" y="13350"/>
                    <a:pt x="25430" y="13573"/>
                    <a:pt x="25180" y="13794"/>
                  </a:cubicBezTo>
                  <a:cubicBezTo>
                    <a:pt x="24670" y="14258"/>
                    <a:pt x="24145" y="14736"/>
                    <a:pt x="23607" y="15226"/>
                  </a:cubicBezTo>
                  <a:cubicBezTo>
                    <a:pt x="23350" y="15459"/>
                    <a:pt x="23082" y="15689"/>
                    <a:pt x="22806" y="15912"/>
                  </a:cubicBezTo>
                  <a:cubicBezTo>
                    <a:pt x="22668" y="16023"/>
                    <a:pt x="22526" y="16135"/>
                    <a:pt x="22386" y="16240"/>
                  </a:cubicBezTo>
                  <a:cubicBezTo>
                    <a:pt x="22251" y="16342"/>
                    <a:pt x="22111" y="16439"/>
                    <a:pt x="21969" y="16531"/>
                  </a:cubicBezTo>
                  <a:cubicBezTo>
                    <a:pt x="21827" y="16622"/>
                    <a:pt x="21682" y="16708"/>
                    <a:pt x="21533" y="16786"/>
                  </a:cubicBezTo>
                  <a:cubicBezTo>
                    <a:pt x="21459" y="16825"/>
                    <a:pt x="21385" y="16863"/>
                    <a:pt x="21309" y="16899"/>
                  </a:cubicBezTo>
                  <a:cubicBezTo>
                    <a:pt x="21252" y="16925"/>
                    <a:pt x="21252" y="16925"/>
                    <a:pt x="21252" y="16925"/>
                  </a:cubicBezTo>
                  <a:cubicBezTo>
                    <a:pt x="21224" y="16938"/>
                    <a:pt x="21224" y="16938"/>
                    <a:pt x="21224" y="16938"/>
                  </a:cubicBezTo>
                  <a:cubicBezTo>
                    <a:pt x="21231" y="16935"/>
                    <a:pt x="21207" y="16945"/>
                    <a:pt x="21200" y="16948"/>
                  </a:cubicBezTo>
                  <a:cubicBezTo>
                    <a:pt x="21166" y="16963"/>
                    <a:pt x="21166" y="16963"/>
                    <a:pt x="21166" y="16963"/>
                  </a:cubicBezTo>
                  <a:cubicBezTo>
                    <a:pt x="21155" y="16968"/>
                    <a:pt x="21143" y="16973"/>
                    <a:pt x="21137" y="16975"/>
                  </a:cubicBezTo>
                  <a:cubicBezTo>
                    <a:pt x="21093" y="16993"/>
                    <a:pt x="21093" y="16993"/>
                    <a:pt x="21093" y="16993"/>
                  </a:cubicBezTo>
                  <a:cubicBezTo>
                    <a:pt x="20814" y="17101"/>
                    <a:pt x="20517" y="17162"/>
                    <a:pt x="20207" y="17173"/>
                  </a:cubicBezTo>
                  <a:cubicBezTo>
                    <a:pt x="20188" y="17174"/>
                    <a:pt x="20168" y="17174"/>
                    <a:pt x="20149" y="17174"/>
                  </a:cubicBezTo>
                  <a:cubicBezTo>
                    <a:pt x="20119" y="17174"/>
                    <a:pt x="20119" y="17174"/>
                    <a:pt x="20119" y="17174"/>
                  </a:cubicBezTo>
                  <a:cubicBezTo>
                    <a:pt x="20109" y="17175"/>
                    <a:pt x="20117" y="17174"/>
                    <a:pt x="20095" y="17174"/>
                  </a:cubicBezTo>
                  <a:cubicBezTo>
                    <a:pt x="20022" y="17173"/>
                    <a:pt x="20022" y="17173"/>
                    <a:pt x="20022" y="17173"/>
                  </a:cubicBezTo>
                  <a:cubicBezTo>
                    <a:pt x="19972" y="17171"/>
                    <a:pt x="19972" y="17171"/>
                    <a:pt x="19972" y="17171"/>
                  </a:cubicBezTo>
                  <a:cubicBezTo>
                    <a:pt x="19897" y="17167"/>
                    <a:pt x="19818" y="17160"/>
                    <a:pt x="19742" y="17151"/>
                  </a:cubicBezTo>
                  <a:cubicBezTo>
                    <a:pt x="19588" y="17130"/>
                    <a:pt x="19437" y="17097"/>
                    <a:pt x="19289" y="17050"/>
                  </a:cubicBezTo>
                  <a:cubicBezTo>
                    <a:pt x="19215" y="17026"/>
                    <a:pt x="19141" y="17000"/>
                    <a:pt x="19068" y="16969"/>
                  </a:cubicBezTo>
                  <a:cubicBezTo>
                    <a:pt x="19014" y="16946"/>
                    <a:pt x="19014" y="16946"/>
                    <a:pt x="19014" y="16946"/>
                  </a:cubicBezTo>
                  <a:cubicBezTo>
                    <a:pt x="18954" y="16919"/>
                    <a:pt x="18954" y="16919"/>
                    <a:pt x="18954" y="16919"/>
                  </a:cubicBezTo>
                  <a:cubicBezTo>
                    <a:pt x="18891" y="16890"/>
                    <a:pt x="18891" y="16890"/>
                    <a:pt x="18891" y="16890"/>
                  </a:cubicBezTo>
                  <a:cubicBezTo>
                    <a:pt x="18835" y="16863"/>
                    <a:pt x="18835" y="16863"/>
                    <a:pt x="18835" y="16863"/>
                  </a:cubicBezTo>
                  <a:cubicBezTo>
                    <a:pt x="18676" y="16785"/>
                    <a:pt x="18518" y="16698"/>
                    <a:pt x="18362" y="16602"/>
                  </a:cubicBezTo>
                  <a:cubicBezTo>
                    <a:pt x="18206" y="16506"/>
                    <a:pt x="18052" y="16402"/>
                    <a:pt x="17901" y="16291"/>
                  </a:cubicBezTo>
                  <a:cubicBezTo>
                    <a:pt x="17787" y="16206"/>
                    <a:pt x="17787" y="16206"/>
                    <a:pt x="17787" y="16206"/>
                  </a:cubicBezTo>
                  <a:cubicBezTo>
                    <a:pt x="17667" y="16113"/>
                    <a:pt x="17667" y="16113"/>
                    <a:pt x="17667" y="16113"/>
                  </a:cubicBezTo>
                  <a:cubicBezTo>
                    <a:pt x="17590" y="16054"/>
                    <a:pt x="17510" y="15990"/>
                    <a:pt x="17432" y="15928"/>
                  </a:cubicBezTo>
                  <a:cubicBezTo>
                    <a:pt x="17119" y="15675"/>
                    <a:pt x="16810" y="15409"/>
                    <a:pt x="16506" y="15130"/>
                  </a:cubicBezTo>
                  <a:cubicBezTo>
                    <a:pt x="16188" y="14841"/>
                    <a:pt x="15868" y="14549"/>
                    <a:pt x="15545" y="14255"/>
                  </a:cubicBezTo>
                  <a:cubicBezTo>
                    <a:pt x="15384" y="14108"/>
                    <a:pt x="15222" y="13961"/>
                    <a:pt x="15060" y="13813"/>
                  </a:cubicBezTo>
                  <a:cubicBezTo>
                    <a:pt x="14977" y="13740"/>
                    <a:pt x="14894" y="13665"/>
                    <a:pt x="14811" y="13591"/>
                  </a:cubicBezTo>
                  <a:cubicBezTo>
                    <a:pt x="14732" y="13519"/>
                    <a:pt x="14652" y="13446"/>
                    <a:pt x="14572" y="13374"/>
                  </a:cubicBezTo>
                  <a:cubicBezTo>
                    <a:pt x="14413" y="13228"/>
                    <a:pt x="14255" y="13079"/>
                    <a:pt x="14097" y="12928"/>
                  </a:cubicBezTo>
                  <a:cubicBezTo>
                    <a:pt x="13936" y="12773"/>
                    <a:pt x="13774" y="12617"/>
                    <a:pt x="13611" y="12461"/>
                  </a:cubicBezTo>
                  <a:cubicBezTo>
                    <a:pt x="13268" y="12136"/>
                    <a:pt x="12910" y="11824"/>
                    <a:pt x="12535" y="11526"/>
                  </a:cubicBezTo>
                  <a:cubicBezTo>
                    <a:pt x="12393" y="11415"/>
                    <a:pt x="12393" y="11415"/>
                    <a:pt x="12393" y="11415"/>
                  </a:cubicBezTo>
                  <a:cubicBezTo>
                    <a:pt x="12247" y="11302"/>
                    <a:pt x="12247" y="11302"/>
                    <a:pt x="12247" y="11302"/>
                  </a:cubicBezTo>
                  <a:cubicBezTo>
                    <a:pt x="12102" y="11194"/>
                    <a:pt x="12102" y="11194"/>
                    <a:pt x="12102" y="11194"/>
                  </a:cubicBezTo>
                  <a:cubicBezTo>
                    <a:pt x="11948" y="11084"/>
                    <a:pt x="11948" y="11084"/>
                    <a:pt x="11948" y="11084"/>
                  </a:cubicBezTo>
                  <a:cubicBezTo>
                    <a:pt x="11742" y="10940"/>
                    <a:pt x="11530" y="10804"/>
                    <a:pt x="11312" y="10676"/>
                  </a:cubicBezTo>
                  <a:cubicBezTo>
                    <a:pt x="11093" y="10548"/>
                    <a:pt x="10868" y="10429"/>
                    <a:pt x="10636" y="10320"/>
                  </a:cubicBezTo>
                  <a:cubicBezTo>
                    <a:pt x="10549" y="10279"/>
                    <a:pt x="10549" y="10279"/>
                    <a:pt x="10549" y="10279"/>
                  </a:cubicBezTo>
                  <a:cubicBezTo>
                    <a:pt x="10458" y="10238"/>
                    <a:pt x="10458" y="10238"/>
                    <a:pt x="10458" y="10238"/>
                  </a:cubicBezTo>
                  <a:cubicBezTo>
                    <a:pt x="10412" y="10217"/>
                    <a:pt x="10333" y="10184"/>
                    <a:pt x="10268" y="10158"/>
                  </a:cubicBezTo>
                  <a:cubicBezTo>
                    <a:pt x="10140" y="10108"/>
                    <a:pt x="10009" y="10062"/>
                    <a:pt x="9875" y="10021"/>
                  </a:cubicBezTo>
                  <a:cubicBezTo>
                    <a:pt x="9608" y="9941"/>
                    <a:pt x="9331" y="9881"/>
                    <a:pt x="9050" y="9848"/>
                  </a:cubicBezTo>
                  <a:cubicBezTo>
                    <a:pt x="8909" y="9831"/>
                    <a:pt x="8767" y="9821"/>
                    <a:pt x="8625" y="9817"/>
                  </a:cubicBezTo>
                  <a:cubicBezTo>
                    <a:pt x="8519" y="9815"/>
                    <a:pt x="8519" y="9815"/>
                    <a:pt x="8519" y="9815"/>
                  </a:cubicBezTo>
                  <a:cubicBezTo>
                    <a:pt x="8504" y="9815"/>
                    <a:pt x="8452" y="9815"/>
                    <a:pt x="8453" y="9815"/>
                  </a:cubicBezTo>
                  <a:cubicBezTo>
                    <a:pt x="8409" y="9816"/>
                    <a:pt x="8409" y="9816"/>
                    <a:pt x="8409" y="9816"/>
                  </a:cubicBezTo>
                  <a:cubicBezTo>
                    <a:pt x="8365" y="9817"/>
                    <a:pt x="8365" y="9817"/>
                    <a:pt x="8365" y="9817"/>
                  </a:cubicBezTo>
                  <a:cubicBezTo>
                    <a:pt x="8348" y="9818"/>
                    <a:pt x="8339" y="9817"/>
                    <a:pt x="8316" y="9819"/>
                  </a:cubicBezTo>
                  <a:cubicBezTo>
                    <a:pt x="8194" y="9826"/>
                    <a:pt x="8194" y="9826"/>
                    <a:pt x="8194" y="9826"/>
                  </a:cubicBezTo>
                  <a:cubicBezTo>
                    <a:pt x="8153" y="9828"/>
                    <a:pt x="8115" y="9832"/>
                    <a:pt x="8078" y="9836"/>
                  </a:cubicBezTo>
                  <a:cubicBezTo>
                    <a:pt x="7966" y="9849"/>
                    <a:pt x="7966" y="9849"/>
                    <a:pt x="7966" y="9849"/>
                  </a:cubicBezTo>
                  <a:cubicBezTo>
                    <a:pt x="7891" y="9861"/>
                    <a:pt x="7817" y="9870"/>
                    <a:pt x="7741" y="9886"/>
                  </a:cubicBezTo>
                  <a:cubicBezTo>
                    <a:pt x="7591" y="9914"/>
                    <a:pt x="7440" y="9957"/>
                    <a:pt x="7291" y="10007"/>
                  </a:cubicBezTo>
                  <a:cubicBezTo>
                    <a:pt x="6993" y="10110"/>
                    <a:pt x="6704" y="10258"/>
                    <a:pt x="6447" y="10447"/>
                  </a:cubicBezTo>
                  <a:cubicBezTo>
                    <a:pt x="6319" y="10541"/>
                    <a:pt x="6197" y="10643"/>
                    <a:pt x="6086" y="10752"/>
                  </a:cubicBezTo>
                  <a:cubicBezTo>
                    <a:pt x="6044" y="10793"/>
                    <a:pt x="6044" y="10793"/>
                    <a:pt x="6044" y="10793"/>
                  </a:cubicBezTo>
                  <a:cubicBezTo>
                    <a:pt x="6041" y="10795"/>
                    <a:pt x="6000" y="10838"/>
                    <a:pt x="5994" y="10845"/>
                  </a:cubicBezTo>
                  <a:cubicBezTo>
                    <a:pt x="5933" y="10911"/>
                    <a:pt x="5933" y="10911"/>
                    <a:pt x="5933" y="10911"/>
                  </a:cubicBezTo>
                  <a:cubicBezTo>
                    <a:pt x="5924" y="10920"/>
                    <a:pt x="5911" y="10935"/>
                    <a:pt x="5895" y="10953"/>
                  </a:cubicBezTo>
                  <a:cubicBezTo>
                    <a:pt x="5853" y="11003"/>
                    <a:pt x="5853" y="11003"/>
                    <a:pt x="5853" y="11003"/>
                  </a:cubicBezTo>
                  <a:cubicBezTo>
                    <a:pt x="5825" y="11036"/>
                    <a:pt x="5794" y="11072"/>
                    <a:pt x="5772" y="11102"/>
                  </a:cubicBezTo>
                  <a:cubicBezTo>
                    <a:pt x="5674" y="11227"/>
                    <a:pt x="5586" y="11361"/>
                    <a:pt x="5506" y="11499"/>
                  </a:cubicBezTo>
                  <a:cubicBezTo>
                    <a:pt x="5428" y="11639"/>
                    <a:pt x="5358" y="11783"/>
                    <a:pt x="5301" y="11931"/>
                  </a:cubicBezTo>
                  <a:cubicBezTo>
                    <a:pt x="5186" y="12227"/>
                    <a:pt x="5115" y="12535"/>
                    <a:pt x="5081" y="12836"/>
                  </a:cubicBezTo>
                  <a:cubicBezTo>
                    <a:pt x="5064" y="12987"/>
                    <a:pt x="5055" y="13136"/>
                    <a:pt x="5054" y="13284"/>
                  </a:cubicBezTo>
                  <a:cubicBezTo>
                    <a:pt x="5054" y="13408"/>
                    <a:pt x="5053" y="13533"/>
                    <a:pt x="5053" y="13657"/>
                  </a:cubicBezTo>
                  <a:cubicBezTo>
                    <a:pt x="5053" y="14633"/>
                    <a:pt x="5053" y="15618"/>
                    <a:pt x="5053" y="16612"/>
                  </a:cubicBezTo>
                  <a:cubicBezTo>
                    <a:pt x="5053" y="17109"/>
                    <a:pt x="5053" y="17608"/>
                    <a:pt x="5053" y="18108"/>
                  </a:cubicBezTo>
                  <a:cubicBezTo>
                    <a:pt x="5053" y="18206"/>
                    <a:pt x="5053" y="18304"/>
                    <a:pt x="5053" y="18401"/>
                  </a:cubicBezTo>
                  <a:cubicBezTo>
                    <a:pt x="4621" y="18401"/>
                    <a:pt x="4188" y="18401"/>
                    <a:pt x="3753" y="18401"/>
                  </a:cubicBezTo>
                  <a:cubicBezTo>
                    <a:pt x="3658" y="18401"/>
                    <a:pt x="3658" y="18401"/>
                    <a:pt x="3658" y="18401"/>
                  </a:cubicBezTo>
                  <a:cubicBezTo>
                    <a:pt x="3577" y="18400"/>
                    <a:pt x="3577" y="18400"/>
                    <a:pt x="3577" y="18400"/>
                  </a:cubicBezTo>
                  <a:cubicBezTo>
                    <a:pt x="3530" y="18399"/>
                    <a:pt x="3530" y="18399"/>
                    <a:pt x="3530" y="18399"/>
                  </a:cubicBezTo>
                  <a:cubicBezTo>
                    <a:pt x="3512" y="18399"/>
                    <a:pt x="3500" y="18398"/>
                    <a:pt x="3489" y="18397"/>
                  </a:cubicBezTo>
                  <a:cubicBezTo>
                    <a:pt x="3421" y="18393"/>
                    <a:pt x="3421" y="18393"/>
                    <a:pt x="3421" y="18393"/>
                  </a:cubicBezTo>
                  <a:cubicBezTo>
                    <a:pt x="3377" y="18391"/>
                    <a:pt x="3323" y="18384"/>
                    <a:pt x="3274" y="18380"/>
                  </a:cubicBezTo>
                  <a:cubicBezTo>
                    <a:pt x="3225" y="18373"/>
                    <a:pt x="3175" y="18368"/>
                    <a:pt x="3128" y="18359"/>
                  </a:cubicBezTo>
                  <a:cubicBezTo>
                    <a:pt x="2936" y="18326"/>
                    <a:pt x="2758" y="18275"/>
                    <a:pt x="2600" y="18201"/>
                  </a:cubicBezTo>
                  <a:cubicBezTo>
                    <a:pt x="2520" y="18165"/>
                    <a:pt x="2445" y="18123"/>
                    <a:pt x="2375" y="18075"/>
                  </a:cubicBezTo>
                  <a:cubicBezTo>
                    <a:pt x="2304" y="18029"/>
                    <a:pt x="2238" y="17976"/>
                    <a:pt x="2176" y="17918"/>
                  </a:cubicBezTo>
                  <a:cubicBezTo>
                    <a:pt x="2153" y="17896"/>
                    <a:pt x="2153" y="17896"/>
                    <a:pt x="2153" y="17896"/>
                  </a:cubicBezTo>
                  <a:cubicBezTo>
                    <a:pt x="2151" y="17895"/>
                    <a:pt x="2142" y="17886"/>
                    <a:pt x="2138" y="17882"/>
                  </a:cubicBezTo>
                  <a:cubicBezTo>
                    <a:pt x="2076" y="17817"/>
                    <a:pt x="2076" y="17817"/>
                    <a:pt x="2076" y="17817"/>
                  </a:cubicBezTo>
                  <a:cubicBezTo>
                    <a:pt x="2064" y="17804"/>
                    <a:pt x="2054" y="17794"/>
                    <a:pt x="2052" y="17790"/>
                  </a:cubicBezTo>
                  <a:cubicBezTo>
                    <a:pt x="2037" y="17771"/>
                    <a:pt x="2037" y="17771"/>
                    <a:pt x="2037" y="17771"/>
                  </a:cubicBezTo>
                  <a:cubicBezTo>
                    <a:pt x="2027" y="17758"/>
                    <a:pt x="2017" y="17749"/>
                    <a:pt x="2003" y="17730"/>
                  </a:cubicBezTo>
                  <a:cubicBezTo>
                    <a:pt x="1950" y="17664"/>
                    <a:pt x="1906" y="17591"/>
                    <a:pt x="1864" y="17516"/>
                  </a:cubicBezTo>
                  <a:cubicBezTo>
                    <a:pt x="1697" y="17215"/>
                    <a:pt x="1618" y="16827"/>
                    <a:pt x="1614" y="16400"/>
                  </a:cubicBezTo>
                  <a:cubicBezTo>
                    <a:pt x="1613" y="15370"/>
                    <a:pt x="1613" y="14334"/>
                    <a:pt x="1613" y="13294"/>
                  </a:cubicBezTo>
                  <a:cubicBezTo>
                    <a:pt x="1613" y="11207"/>
                    <a:pt x="1613" y="9104"/>
                    <a:pt x="1613" y="6993"/>
                  </a:cubicBezTo>
                  <a:cubicBezTo>
                    <a:pt x="1613" y="5937"/>
                    <a:pt x="1613" y="4879"/>
                    <a:pt x="1613" y="3820"/>
                  </a:cubicBezTo>
                  <a:cubicBezTo>
                    <a:pt x="1613" y="3291"/>
                    <a:pt x="1613" y="2761"/>
                    <a:pt x="1613" y="2232"/>
                  </a:cubicBezTo>
                  <a:cubicBezTo>
                    <a:pt x="1613" y="1610"/>
                    <a:pt x="1613" y="1610"/>
                    <a:pt x="1613" y="1610"/>
                  </a:cubicBezTo>
                  <a:cubicBezTo>
                    <a:pt x="2518" y="1611"/>
                    <a:pt x="3423" y="1611"/>
                    <a:pt x="4327" y="1612"/>
                  </a:cubicBezTo>
                  <a:cubicBezTo>
                    <a:pt x="4724" y="1612"/>
                    <a:pt x="4724" y="1612"/>
                    <a:pt x="4724" y="1612"/>
                  </a:cubicBezTo>
                  <a:cubicBezTo>
                    <a:pt x="4906" y="1615"/>
                    <a:pt x="4906" y="1615"/>
                    <a:pt x="4906" y="1615"/>
                  </a:cubicBezTo>
                  <a:cubicBezTo>
                    <a:pt x="4978" y="1616"/>
                    <a:pt x="5026" y="1620"/>
                    <a:pt x="5079" y="1624"/>
                  </a:cubicBezTo>
                  <a:cubicBezTo>
                    <a:pt x="5182" y="1628"/>
                    <a:pt x="5300" y="1642"/>
                    <a:pt x="5410" y="1655"/>
                  </a:cubicBezTo>
                  <a:cubicBezTo>
                    <a:pt x="5576" y="1679"/>
                    <a:pt x="5576" y="1679"/>
                    <a:pt x="5576" y="1679"/>
                  </a:cubicBezTo>
                  <a:cubicBezTo>
                    <a:pt x="5738" y="1711"/>
                    <a:pt x="5738" y="1711"/>
                    <a:pt x="5738" y="1711"/>
                  </a:cubicBezTo>
                  <a:cubicBezTo>
                    <a:pt x="6167" y="1803"/>
                    <a:pt x="6562" y="1963"/>
                    <a:pt x="6904" y="2197"/>
                  </a:cubicBezTo>
                  <a:cubicBezTo>
                    <a:pt x="7076" y="2313"/>
                    <a:pt x="7235" y="2449"/>
                    <a:pt x="7380" y="2601"/>
                  </a:cubicBezTo>
                  <a:cubicBezTo>
                    <a:pt x="7447" y="2667"/>
                    <a:pt x="7447" y="2667"/>
                    <a:pt x="7447" y="2667"/>
                  </a:cubicBezTo>
                  <a:cubicBezTo>
                    <a:pt x="7483" y="2700"/>
                    <a:pt x="7483" y="2700"/>
                    <a:pt x="7483" y="2700"/>
                  </a:cubicBezTo>
                  <a:cubicBezTo>
                    <a:pt x="7555" y="2768"/>
                    <a:pt x="7555" y="2768"/>
                    <a:pt x="7555" y="2768"/>
                  </a:cubicBezTo>
                  <a:cubicBezTo>
                    <a:pt x="7700" y="2903"/>
                    <a:pt x="7700" y="2903"/>
                    <a:pt x="7700" y="2903"/>
                  </a:cubicBezTo>
                  <a:cubicBezTo>
                    <a:pt x="7988" y="3172"/>
                    <a:pt x="7988" y="3172"/>
                    <a:pt x="7988" y="3172"/>
                  </a:cubicBezTo>
                  <a:cubicBezTo>
                    <a:pt x="8374" y="3531"/>
                    <a:pt x="8758" y="3890"/>
                    <a:pt x="9142" y="4248"/>
                  </a:cubicBezTo>
                  <a:cubicBezTo>
                    <a:pt x="9911" y="4965"/>
                    <a:pt x="10677" y="5679"/>
                    <a:pt x="11439" y="6391"/>
                  </a:cubicBezTo>
                  <a:cubicBezTo>
                    <a:pt x="11725" y="6658"/>
                    <a:pt x="11725" y="6658"/>
                    <a:pt x="11725" y="6658"/>
                  </a:cubicBezTo>
                  <a:cubicBezTo>
                    <a:pt x="11835" y="6757"/>
                    <a:pt x="11915" y="6833"/>
                    <a:pt x="12027" y="6931"/>
                  </a:cubicBezTo>
                  <a:cubicBezTo>
                    <a:pt x="12133" y="7026"/>
                    <a:pt x="12238" y="7115"/>
                    <a:pt x="12343" y="7203"/>
                  </a:cubicBezTo>
                  <a:cubicBezTo>
                    <a:pt x="12449" y="7291"/>
                    <a:pt x="12554" y="7379"/>
                    <a:pt x="12662" y="7463"/>
                  </a:cubicBezTo>
                  <a:cubicBezTo>
                    <a:pt x="13093" y="7805"/>
                    <a:pt x="13543" y="8121"/>
                    <a:pt x="14009" y="8410"/>
                  </a:cubicBezTo>
                  <a:cubicBezTo>
                    <a:pt x="14242" y="8555"/>
                    <a:pt x="14480" y="8691"/>
                    <a:pt x="14721" y="8822"/>
                  </a:cubicBezTo>
                  <a:cubicBezTo>
                    <a:pt x="14841" y="8887"/>
                    <a:pt x="14962" y="8950"/>
                    <a:pt x="15085" y="9011"/>
                  </a:cubicBezTo>
                  <a:cubicBezTo>
                    <a:pt x="15145" y="9043"/>
                    <a:pt x="15207" y="9072"/>
                    <a:pt x="15269" y="9102"/>
                  </a:cubicBezTo>
                  <a:cubicBezTo>
                    <a:pt x="15361" y="9147"/>
                    <a:pt x="15361" y="9147"/>
                    <a:pt x="15361" y="9147"/>
                  </a:cubicBezTo>
                  <a:cubicBezTo>
                    <a:pt x="15418" y="9174"/>
                    <a:pt x="15418" y="9174"/>
                    <a:pt x="15418" y="9174"/>
                  </a:cubicBezTo>
                  <a:cubicBezTo>
                    <a:pt x="15462" y="9193"/>
                    <a:pt x="15462" y="9193"/>
                    <a:pt x="15462" y="9193"/>
                  </a:cubicBezTo>
                  <a:cubicBezTo>
                    <a:pt x="15637" y="9273"/>
                    <a:pt x="15637" y="9273"/>
                    <a:pt x="15637" y="9273"/>
                  </a:cubicBezTo>
                  <a:cubicBezTo>
                    <a:pt x="15839" y="9357"/>
                    <a:pt x="15839" y="9357"/>
                    <a:pt x="15839" y="9357"/>
                  </a:cubicBezTo>
                  <a:cubicBezTo>
                    <a:pt x="15908" y="9387"/>
                    <a:pt x="15974" y="9412"/>
                    <a:pt x="16039" y="9436"/>
                  </a:cubicBezTo>
                  <a:cubicBezTo>
                    <a:pt x="16105" y="9461"/>
                    <a:pt x="16170" y="9487"/>
                    <a:pt x="16237" y="9509"/>
                  </a:cubicBezTo>
                  <a:cubicBezTo>
                    <a:pt x="16501" y="9604"/>
                    <a:pt x="16768" y="9684"/>
                    <a:pt x="17036" y="9756"/>
                  </a:cubicBezTo>
                  <a:cubicBezTo>
                    <a:pt x="17574" y="9894"/>
                    <a:pt x="18116" y="9993"/>
                    <a:pt x="18657" y="10050"/>
                  </a:cubicBezTo>
                  <a:cubicBezTo>
                    <a:pt x="19197" y="10109"/>
                    <a:pt x="19735" y="10131"/>
                    <a:pt x="20269" y="10125"/>
                  </a:cubicBezTo>
                  <a:cubicBezTo>
                    <a:pt x="20333" y="10124"/>
                    <a:pt x="20392" y="10124"/>
                    <a:pt x="20461" y="10122"/>
                  </a:cubicBezTo>
                  <a:cubicBezTo>
                    <a:pt x="20667" y="10115"/>
                    <a:pt x="20667" y="10115"/>
                    <a:pt x="20667" y="10115"/>
                  </a:cubicBezTo>
                  <a:cubicBezTo>
                    <a:pt x="20805" y="10111"/>
                    <a:pt x="20936" y="10101"/>
                    <a:pt x="21070" y="10094"/>
                  </a:cubicBezTo>
                  <a:cubicBezTo>
                    <a:pt x="21338" y="10073"/>
                    <a:pt x="21605" y="10050"/>
                    <a:pt x="21871" y="10012"/>
                  </a:cubicBezTo>
                  <a:cubicBezTo>
                    <a:pt x="22404" y="9942"/>
                    <a:pt x="22933" y="9831"/>
                    <a:pt x="23452" y="9681"/>
                  </a:cubicBezTo>
                  <a:cubicBezTo>
                    <a:pt x="23711" y="9603"/>
                    <a:pt x="23969" y="9520"/>
                    <a:pt x="24221" y="9420"/>
                  </a:cubicBezTo>
                  <a:cubicBezTo>
                    <a:pt x="24348" y="9372"/>
                    <a:pt x="24473" y="9319"/>
                    <a:pt x="24597" y="9266"/>
                  </a:cubicBezTo>
                  <a:cubicBezTo>
                    <a:pt x="24782" y="9182"/>
                    <a:pt x="24782" y="9182"/>
                    <a:pt x="24782" y="9182"/>
                  </a:cubicBezTo>
                  <a:cubicBezTo>
                    <a:pt x="24834" y="9158"/>
                    <a:pt x="24834" y="9158"/>
                    <a:pt x="24834" y="9158"/>
                  </a:cubicBezTo>
                  <a:cubicBezTo>
                    <a:pt x="24876" y="9138"/>
                    <a:pt x="24876" y="9138"/>
                    <a:pt x="24876" y="9138"/>
                  </a:cubicBezTo>
                  <a:cubicBezTo>
                    <a:pt x="24959" y="9097"/>
                    <a:pt x="24959" y="9097"/>
                    <a:pt x="24959" y="9097"/>
                  </a:cubicBezTo>
                  <a:cubicBezTo>
                    <a:pt x="25432" y="8869"/>
                    <a:pt x="25886" y="8614"/>
                    <a:pt x="26324" y="8338"/>
                  </a:cubicBezTo>
                  <a:cubicBezTo>
                    <a:pt x="26761" y="8061"/>
                    <a:pt x="27181" y="7762"/>
                    <a:pt x="27581" y="7444"/>
                  </a:cubicBezTo>
                  <a:cubicBezTo>
                    <a:pt x="27780" y="7284"/>
                    <a:pt x="27976" y="7122"/>
                    <a:pt x="28166" y="6953"/>
                  </a:cubicBezTo>
                  <a:cubicBezTo>
                    <a:pt x="28262" y="6870"/>
                    <a:pt x="28355" y="6784"/>
                    <a:pt x="28448" y="6699"/>
                  </a:cubicBezTo>
                  <a:cubicBezTo>
                    <a:pt x="28536" y="6617"/>
                    <a:pt x="28625" y="6535"/>
                    <a:pt x="28713" y="6453"/>
                  </a:cubicBezTo>
                  <a:cubicBezTo>
                    <a:pt x="30113" y="5151"/>
                    <a:pt x="31484" y="3876"/>
                    <a:pt x="32817" y="2636"/>
                  </a:cubicBezTo>
                  <a:cubicBezTo>
                    <a:pt x="32984" y="2481"/>
                    <a:pt x="33150" y="2326"/>
                    <a:pt x="33316" y="2172"/>
                  </a:cubicBezTo>
                  <a:cubicBezTo>
                    <a:pt x="33399" y="2095"/>
                    <a:pt x="33481" y="2018"/>
                    <a:pt x="33564" y="1942"/>
                  </a:cubicBezTo>
                  <a:cubicBezTo>
                    <a:pt x="33626" y="1884"/>
                    <a:pt x="33626" y="1884"/>
                    <a:pt x="33626" y="1884"/>
                  </a:cubicBezTo>
                  <a:cubicBezTo>
                    <a:pt x="33675" y="1837"/>
                    <a:pt x="33675" y="1837"/>
                    <a:pt x="33675" y="1837"/>
                  </a:cubicBezTo>
                  <a:cubicBezTo>
                    <a:pt x="33703" y="1809"/>
                    <a:pt x="33703" y="1809"/>
                    <a:pt x="33703" y="1809"/>
                  </a:cubicBezTo>
                  <a:cubicBezTo>
                    <a:pt x="33732" y="1781"/>
                    <a:pt x="33768" y="1747"/>
                    <a:pt x="33798" y="1721"/>
                  </a:cubicBezTo>
                  <a:cubicBezTo>
                    <a:pt x="33828" y="1693"/>
                    <a:pt x="33858" y="1668"/>
                    <a:pt x="33883" y="1649"/>
                  </a:cubicBezTo>
                  <a:cubicBezTo>
                    <a:pt x="33904" y="1632"/>
                    <a:pt x="33923" y="1619"/>
                    <a:pt x="33928" y="1617"/>
                  </a:cubicBezTo>
                  <a:cubicBezTo>
                    <a:pt x="33929" y="1616"/>
                    <a:pt x="33929" y="1616"/>
                    <a:pt x="33929" y="1616"/>
                  </a:cubicBezTo>
                  <a:cubicBezTo>
                    <a:pt x="33930" y="1616"/>
                    <a:pt x="33930" y="1616"/>
                    <a:pt x="33930" y="1616"/>
                  </a:cubicBezTo>
                  <a:cubicBezTo>
                    <a:pt x="33933" y="1615"/>
                    <a:pt x="33936" y="1614"/>
                    <a:pt x="33943" y="1613"/>
                  </a:cubicBezTo>
                  <a:cubicBezTo>
                    <a:pt x="33947" y="1613"/>
                    <a:pt x="33951" y="1612"/>
                    <a:pt x="33956" y="1612"/>
                  </a:cubicBezTo>
                  <a:cubicBezTo>
                    <a:pt x="34011" y="1612"/>
                    <a:pt x="34011" y="1612"/>
                    <a:pt x="34011" y="1612"/>
                  </a:cubicBezTo>
                  <a:cubicBezTo>
                    <a:pt x="34178" y="1612"/>
                    <a:pt x="34178" y="1612"/>
                    <a:pt x="34178" y="1612"/>
                  </a:cubicBezTo>
                  <a:cubicBezTo>
                    <a:pt x="34289" y="1612"/>
                    <a:pt x="34400" y="1612"/>
                    <a:pt x="34510" y="1612"/>
                  </a:cubicBezTo>
                  <a:cubicBezTo>
                    <a:pt x="34953" y="1612"/>
                    <a:pt x="35392" y="1612"/>
                    <a:pt x="35827" y="1612"/>
                  </a:cubicBezTo>
                  <a:cubicBezTo>
                    <a:pt x="36045" y="1612"/>
                    <a:pt x="36262" y="1612"/>
                    <a:pt x="36478" y="1612"/>
                  </a:cubicBezTo>
                  <a:cubicBezTo>
                    <a:pt x="36559" y="1612"/>
                    <a:pt x="36559" y="1612"/>
                    <a:pt x="36559" y="1612"/>
                  </a:cubicBezTo>
                  <a:cubicBezTo>
                    <a:pt x="36625" y="1613"/>
                    <a:pt x="36625" y="1613"/>
                    <a:pt x="36625" y="1613"/>
                  </a:cubicBezTo>
                  <a:cubicBezTo>
                    <a:pt x="36706" y="1615"/>
                    <a:pt x="36706" y="1615"/>
                    <a:pt x="36706" y="1615"/>
                  </a:cubicBezTo>
                  <a:cubicBezTo>
                    <a:pt x="36765" y="1618"/>
                    <a:pt x="36765" y="1618"/>
                    <a:pt x="36765" y="1618"/>
                  </a:cubicBezTo>
                  <a:cubicBezTo>
                    <a:pt x="36823" y="1622"/>
                    <a:pt x="36823" y="1622"/>
                    <a:pt x="36823" y="1622"/>
                  </a:cubicBezTo>
                  <a:cubicBezTo>
                    <a:pt x="36886" y="1628"/>
                    <a:pt x="36886" y="1628"/>
                    <a:pt x="36886" y="1628"/>
                  </a:cubicBezTo>
                  <a:cubicBezTo>
                    <a:pt x="36928" y="1631"/>
                    <a:pt x="36970" y="1636"/>
                    <a:pt x="37011" y="1642"/>
                  </a:cubicBezTo>
                  <a:cubicBezTo>
                    <a:pt x="37175" y="1665"/>
                    <a:pt x="37330" y="1701"/>
                    <a:pt x="37471" y="1752"/>
                  </a:cubicBezTo>
                  <a:cubicBezTo>
                    <a:pt x="37612" y="1802"/>
                    <a:pt x="37739" y="1867"/>
                    <a:pt x="37855" y="1945"/>
                  </a:cubicBezTo>
                  <a:cubicBezTo>
                    <a:pt x="37913" y="1983"/>
                    <a:pt x="37966" y="2028"/>
                    <a:pt x="38019" y="2073"/>
                  </a:cubicBezTo>
                  <a:cubicBezTo>
                    <a:pt x="38084" y="2135"/>
                    <a:pt x="38084" y="2135"/>
                    <a:pt x="38084" y="2135"/>
                  </a:cubicBezTo>
                  <a:cubicBezTo>
                    <a:pt x="38138" y="2192"/>
                    <a:pt x="38138" y="2192"/>
                    <a:pt x="38138" y="2192"/>
                  </a:cubicBezTo>
                  <a:cubicBezTo>
                    <a:pt x="38146" y="2200"/>
                    <a:pt x="38159" y="2213"/>
                    <a:pt x="38162" y="2218"/>
                  </a:cubicBezTo>
                  <a:cubicBezTo>
                    <a:pt x="38174" y="2233"/>
                    <a:pt x="38174" y="2233"/>
                    <a:pt x="38174" y="2233"/>
                  </a:cubicBezTo>
                  <a:cubicBezTo>
                    <a:pt x="38182" y="2243"/>
                    <a:pt x="38190" y="2253"/>
                    <a:pt x="38199" y="2262"/>
                  </a:cubicBezTo>
                  <a:cubicBezTo>
                    <a:pt x="38208" y="2273"/>
                    <a:pt x="38219" y="2289"/>
                    <a:pt x="38229" y="2302"/>
                  </a:cubicBezTo>
                  <a:cubicBezTo>
                    <a:pt x="38251" y="2329"/>
                    <a:pt x="38269" y="2358"/>
                    <a:pt x="38288" y="2387"/>
                  </a:cubicBezTo>
                  <a:cubicBezTo>
                    <a:pt x="38327" y="2444"/>
                    <a:pt x="38360" y="2505"/>
                    <a:pt x="38391" y="2567"/>
                  </a:cubicBezTo>
                  <a:cubicBezTo>
                    <a:pt x="38513" y="2820"/>
                    <a:pt x="38581" y="3123"/>
                    <a:pt x="38599" y="3449"/>
                  </a:cubicBezTo>
                  <a:cubicBezTo>
                    <a:pt x="38601" y="3490"/>
                    <a:pt x="38604" y="3531"/>
                    <a:pt x="38604" y="3573"/>
                  </a:cubicBezTo>
                  <a:cubicBezTo>
                    <a:pt x="38605" y="3615"/>
                    <a:pt x="38606" y="3651"/>
                    <a:pt x="38606" y="3706"/>
                  </a:cubicBezTo>
                  <a:cubicBezTo>
                    <a:pt x="38606" y="3807"/>
                    <a:pt x="38606" y="3907"/>
                    <a:pt x="38606" y="4008"/>
                  </a:cubicBezTo>
                  <a:cubicBezTo>
                    <a:pt x="38606" y="4209"/>
                    <a:pt x="38606" y="4408"/>
                    <a:pt x="38606" y="4607"/>
                  </a:cubicBezTo>
                  <a:cubicBezTo>
                    <a:pt x="38606" y="7787"/>
                    <a:pt x="38606" y="10701"/>
                    <a:pt x="38606" y="13284"/>
                  </a:cubicBezTo>
                  <a:cubicBezTo>
                    <a:pt x="38606" y="14576"/>
                    <a:pt x="38606" y="15785"/>
                    <a:pt x="38606" y="16903"/>
                  </a:cubicBezTo>
                  <a:cubicBezTo>
                    <a:pt x="38606" y="17422"/>
                    <a:pt x="38606" y="17922"/>
                    <a:pt x="38606" y="18401"/>
                  </a:cubicBezTo>
                  <a:cubicBezTo>
                    <a:pt x="38559" y="18401"/>
                    <a:pt x="38512" y="18401"/>
                    <a:pt x="38467" y="18401"/>
                  </a:cubicBezTo>
                  <a:cubicBezTo>
                    <a:pt x="38008" y="18401"/>
                    <a:pt x="37574" y="18401"/>
                    <a:pt x="37166" y="18400"/>
                  </a:cubicBezTo>
                  <a:close/>
                  <a:moveTo>
                    <a:pt x="38604" y="18737"/>
                  </a:moveTo>
                  <a:cubicBezTo>
                    <a:pt x="38604" y="18734"/>
                    <a:pt x="38604" y="18732"/>
                    <a:pt x="38604" y="18730"/>
                  </a:cubicBezTo>
                  <a:cubicBezTo>
                    <a:pt x="38605" y="18723"/>
                    <a:pt x="38605" y="18722"/>
                    <a:pt x="38605" y="18721"/>
                  </a:cubicBezTo>
                  <a:cubicBezTo>
                    <a:pt x="38605" y="18725"/>
                    <a:pt x="38605" y="18725"/>
                    <a:pt x="38605" y="18725"/>
                  </a:cubicBezTo>
                  <a:cubicBezTo>
                    <a:pt x="38604" y="18734"/>
                    <a:pt x="38604" y="18743"/>
                    <a:pt x="38604" y="18737"/>
                  </a:cubicBezTo>
                  <a:close/>
                  <a:moveTo>
                    <a:pt x="38969" y="18401"/>
                  </a:moveTo>
                  <a:cubicBezTo>
                    <a:pt x="38971" y="18401"/>
                    <a:pt x="38973" y="18401"/>
                    <a:pt x="38974" y="18401"/>
                  </a:cubicBezTo>
                  <a:cubicBezTo>
                    <a:pt x="38974" y="18401"/>
                    <a:pt x="38979" y="18401"/>
                    <a:pt x="38976" y="18401"/>
                  </a:cubicBezTo>
                  <a:lnTo>
                    <a:pt x="38969" y="184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DA86968C-D0EC-4C26-89E0-7F64CC4141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" y="3944"/>
              <a:ext cx="2" cy="2"/>
            </a:xfrm>
            <a:custGeom>
              <a:avLst/>
              <a:gdLst>
                <a:gd name="T0" fmla="*/ 43 w 43"/>
                <a:gd name="T1" fmla="*/ 35 h 35"/>
                <a:gd name="T2" fmla="*/ 0 w 43"/>
                <a:gd name="T3" fmla="*/ 0 h 35"/>
                <a:gd name="T4" fmla="*/ 43 w 43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5">
                  <a:moveTo>
                    <a:pt x="43" y="35"/>
                  </a:moveTo>
                  <a:cubicBezTo>
                    <a:pt x="29" y="24"/>
                    <a:pt x="15" y="12"/>
                    <a:pt x="0" y="0"/>
                  </a:cubicBezTo>
                  <a:cubicBezTo>
                    <a:pt x="15" y="12"/>
                    <a:pt x="29" y="24"/>
                    <a:pt x="43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08CE2C1F-FB32-4F94-8C05-ED5E72352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6" y="3946"/>
              <a:ext cx="2" cy="2"/>
            </a:xfrm>
            <a:custGeom>
              <a:avLst/>
              <a:gdLst>
                <a:gd name="T0" fmla="*/ 61 w 61"/>
                <a:gd name="T1" fmla="*/ 49 h 49"/>
                <a:gd name="T2" fmla="*/ 0 w 61"/>
                <a:gd name="T3" fmla="*/ 0 h 49"/>
                <a:gd name="T4" fmla="*/ 61 w 61"/>
                <a:gd name="T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49">
                  <a:moveTo>
                    <a:pt x="61" y="49"/>
                  </a:moveTo>
                  <a:cubicBezTo>
                    <a:pt x="41" y="33"/>
                    <a:pt x="21" y="17"/>
                    <a:pt x="0" y="0"/>
                  </a:cubicBezTo>
                  <a:cubicBezTo>
                    <a:pt x="21" y="17"/>
                    <a:pt x="41" y="33"/>
                    <a:pt x="61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F521A27F-1888-4009-8839-0120BFD9D4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" y="3940"/>
              <a:ext cx="2" cy="1"/>
            </a:xfrm>
            <a:custGeom>
              <a:avLst/>
              <a:gdLst>
                <a:gd name="T0" fmla="*/ 31 w 31"/>
                <a:gd name="T1" fmla="*/ 26 h 26"/>
                <a:gd name="T2" fmla="*/ 0 w 31"/>
                <a:gd name="T3" fmla="*/ 0 h 26"/>
                <a:gd name="T4" fmla="*/ 31 w 31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6">
                  <a:moveTo>
                    <a:pt x="31" y="26"/>
                  </a:moveTo>
                  <a:cubicBezTo>
                    <a:pt x="21" y="17"/>
                    <a:pt x="10" y="9"/>
                    <a:pt x="0" y="0"/>
                  </a:cubicBezTo>
                  <a:cubicBezTo>
                    <a:pt x="10" y="9"/>
                    <a:pt x="21" y="17"/>
                    <a:pt x="31" y="2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F50EC9E2-49FD-48B1-9BFF-F210A1D6E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" y="3922"/>
              <a:ext cx="3" cy="3"/>
            </a:xfrm>
            <a:custGeom>
              <a:avLst/>
              <a:gdLst>
                <a:gd name="T0" fmla="*/ 12 w 75"/>
                <a:gd name="T1" fmla="*/ 10 h 67"/>
                <a:gd name="T2" fmla="*/ 75 w 75"/>
                <a:gd name="T3" fmla="*/ 67 h 67"/>
                <a:gd name="T4" fmla="*/ 0 w 75"/>
                <a:gd name="T5" fmla="*/ 0 h 67"/>
                <a:gd name="T6" fmla="*/ 12 w 75"/>
                <a:gd name="T7" fmla="*/ 1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7">
                  <a:moveTo>
                    <a:pt x="12" y="10"/>
                  </a:moveTo>
                  <a:cubicBezTo>
                    <a:pt x="33" y="29"/>
                    <a:pt x="54" y="48"/>
                    <a:pt x="75" y="67"/>
                  </a:cubicBezTo>
                  <a:cubicBezTo>
                    <a:pt x="50" y="45"/>
                    <a:pt x="25" y="23"/>
                    <a:pt x="0" y="0"/>
                  </a:cubicBezTo>
                  <a:cubicBezTo>
                    <a:pt x="4" y="3"/>
                    <a:pt x="8" y="7"/>
                    <a:pt x="12" y="1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2EFA7483-4F1E-42C8-A2F6-5D408B9D7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1" y="3941"/>
              <a:ext cx="3" cy="3"/>
            </a:xfrm>
            <a:custGeom>
              <a:avLst/>
              <a:gdLst>
                <a:gd name="T0" fmla="*/ 87 w 87"/>
                <a:gd name="T1" fmla="*/ 72 h 72"/>
                <a:gd name="T2" fmla="*/ 0 w 87"/>
                <a:gd name="T3" fmla="*/ 0 h 72"/>
                <a:gd name="T4" fmla="*/ 87 w 87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87" y="72"/>
                  </a:moveTo>
                  <a:cubicBezTo>
                    <a:pt x="59" y="48"/>
                    <a:pt x="29" y="24"/>
                    <a:pt x="0" y="0"/>
                  </a:cubicBezTo>
                  <a:cubicBezTo>
                    <a:pt x="30" y="24"/>
                    <a:pt x="59" y="49"/>
                    <a:pt x="87" y="7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13C957A5-124F-414D-9749-FF6078ABA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0" cy="0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1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DBBB66B0-AE9C-44FD-92F8-66369FDBA6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0" cy="0"/>
            </a:xfrm>
            <a:custGeom>
              <a:avLst/>
              <a:gdLst>
                <a:gd name="T0" fmla="*/ 6 w 11"/>
                <a:gd name="T1" fmla="*/ 5 h 9"/>
                <a:gd name="T2" fmla="*/ 11 w 11"/>
                <a:gd name="T3" fmla="*/ 9 h 9"/>
                <a:gd name="T4" fmla="*/ 0 w 11"/>
                <a:gd name="T5" fmla="*/ 0 h 9"/>
                <a:gd name="T6" fmla="*/ 6 w 11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8" y="6"/>
                    <a:pt x="9" y="8"/>
                    <a:pt x="11" y="9"/>
                  </a:cubicBezTo>
                  <a:cubicBezTo>
                    <a:pt x="8" y="6"/>
                    <a:pt x="4" y="3"/>
                    <a:pt x="0" y="0"/>
                  </a:cubicBezTo>
                  <a:cubicBezTo>
                    <a:pt x="2" y="2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7D1DBC24-A27A-4AD9-A8B9-C6AD44A5E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7" cy="6"/>
            </a:xfrm>
            <a:custGeom>
              <a:avLst/>
              <a:gdLst>
                <a:gd name="T0" fmla="*/ 184 w 184"/>
                <a:gd name="T1" fmla="*/ 145 h 145"/>
                <a:gd name="T2" fmla="*/ 0 w 184"/>
                <a:gd name="T3" fmla="*/ 0 h 145"/>
                <a:gd name="T4" fmla="*/ 184 w 184"/>
                <a:gd name="T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4" h="145">
                  <a:moveTo>
                    <a:pt x="184" y="145"/>
                  </a:moveTo>
                  <a:cubicBezTo>
                    <a:pt x="127" y="100"/>
                    <a:pt x="66" y="52"/>
                    <a:pt x="0" y="0"/>
                  </a:cubicBezTo>
                  <a:cubicBezTo>
                    <a:pt x="65" y="52"/>
                    <a:pt x="126" y="101"/>
                    <a:pt x="184" y="14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8B149C22-8CD9-4251-85E3-8F3FC7EE3B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8" y="3948"/>
              <a:ext cx="3" cy="2"/>
            </a:xfrm>
            <a:custGeom>
              <a:avLst/>
              <a:gdLst>
                <a:gd name="T0" fmla="*/ 64 w 64"/>
                <a:gd name="T1" fmla="*/ 52 h 52"/>
                <a:gd name="T2" fmla="*/ 0 w 64"/>
                <a:gd name="T3" fmla="*/ 0 h 52"/>
                <a:gd name="T4" fmla="*/ 64 w 6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2">
                  <a:moveTo>
                    <a:pt x="64" y="52"/>
                  </a:moveTo>
                  <a:cubicBezTo>
                    <a:pt x="43" y="36"/>
                    <a:pt x="21" y="18"/>
                    <a:pt x="0" y="0"/>
                  </a:cubicBezTo>
                  <a:cubicBezTo>
                    <a:pt x="21" y="18"/>
                    <a:pt x="43" y="35"/>
                    <a:pt x="64" y="5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3358DE21-3C48-46EA-AA18-6AB2DEE87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7" y="3930"/>
              <a:ext cx="2" cy="1"/>
            </a:xfrm>
            <a:custGeom>
              <a:avLst/>
              <a:gdLst>
                <a:gd name="T0" fmla="*/ 41 w 41"/>
                <a:gd name="T1" fmla="*/ 36 h 36"/>
                <a:gd name="T2" fmla="*/ 0 w 41"/>
                <a:gd name="T3" fmla="*/ 0 h 36"/>
                <a:gd name="T4" fmla="*/ 41 w 41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36">
                  <a:moveTo>
                    <a:pt x="41" y="36"/>
                  </a:moveTo>
                  <a:cubicBezTo>
                    <a:pt x="28" y="24"/>
                    <a:pt x="14" y="12"/>
                    <a:pt x="0" y="0"/>
                  </a:cubicBezTo>
                  <a:cubicBezTo>
                    <a:pt x="14" y="12"/>
                    <a:pt x="28" y="24"/>
                    <a:pt x="41" y="3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5F460AA9-3D0B-4072-B88E-8E66B49200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3" y="3927"/>
              <a:ext cx="4" cy="3"/>
            </a:xfrm>
            <a:custGeom>
              <a:avLst/>
              <a:gdLst>
                <a:gd name="T0" fmla="*/ 92 w 92"/>
                <a:gd name="T1" fmla="*/ 81 h 81"/>
                <a:gd name="T2" fmla="*/ 0 w 92"/>
                <a:gd name="T3" fmla="*/ 0 h 81"/>
                <a:gd name="T4" fmla="*/ 92 w 92"/>
                <a:gd name="T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81">
                  <a:moveTo>
                    <a:pt x="92" y="81"/>
                  </a:moveTo>
                  <a:cubicBezTo>
                    <a:pt x="62" y="54"/>
                    <a:pt x="31" y="27"/>
                    <a:pt x="0" y="0"/>
                  </a:cubicBezTo>
                  <a:cubicBezTo>
                    <a:pt x="31" y="27"/>
                    <a:pt x="61" y="54"/>
                    <a:pt x="92" y="8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183486BA-C1EC-47F0-BB22-947441BCF9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1" y="3925"/>
              <a:ext cx="2" cy="2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7"/>
                    <a:pt x="15" y="13"/>
                    <a:pt x="0" y="0"/>
                  </a:cubicBezTo>
                  <a:cubicBezTo>
                    <a:pt x="15" y="13"/>
                    <a:pt x="31" y="27"/>
                    <a:pt x="46" y="4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39F2E1E2-FC0E-43A2-94F3-2872964A31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1" y="3934"/>
              <a:ext cx="3" cy="2"/>
            </a:xfrm>
            <a:custGeom>
              <a:avLst/>
              <a:gdLst>
                <a:gd name="T0" fmla="*/ 41 w 67"/>
                <a:gd name="T1" fmla="*/ 35 h 57"/>
                <a:gd name="T2" fmla="*/ 67 w 67"/>
                <a:gd name="T3" fmla="*/ 57 h 57"/>
                <a:gd name="T4" fmla="*/ 0 w 67"/>
                <a:gd name="T5" fmla="*/ 0 h 57"/>
                <a:gd name="T6" fmla="*/ 41 w 67"/>
                <a:gd name="T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57">
                  <a:moveTo>
                    <a:pt x="41" y="35"/>
                  </a:moveTo>
                  <a:cubicBezTo>
                    <a:pt x="50" y="43"/>
                    <a:pt x="58" y="50"/>
                    <a:pt x="67" y="57"/>
                  </a:cubicBezTo>
                  <a:cubicBezTo>
                    <a:pt x="45" y="38"/>
                    <a:pt x="22" y="19"/>
                    <a:pt x="0" y="0"/>
                  </a:cubicBezTo>
                  <a:cubicBezTo>
                    <a:pt x="14" y="11"/>
                    <a:pt x="28" y="24"/>
                    <a:pt x="41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FE81C6DF-02F2-477B-83DA-62543F0EA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9" y="3931"/>
              <a:ext cx="2" cy="3"/>
            </a:xfrm>
            <a:custGeom>
              <a:avLst/>
              <a:gdLst>
                <a:gd name="T0" fmla="*/ 72 w 72"/>
                <a:gd name="T1" fmla="*/ 62 h 62"/>
                <a:gd name="T2" fmla="*/ 0 w 72"/>
                <a:gd name="T3" fmla="*/ 0 h 62"/>
                <a:gd name="T4" fmla="*/ 72 w 72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2">
                  <a:moveTo>
                    <a:pt x="72" y="62"/>
                  </a:moveTo>
                  <a:cubicBezTo>
                    <a:pt x="48" y="41"/>
                    <a:pt x="25" y="21"/>
                    <a:pt x="0" y="0"/>
                  </a:cubicBezTo>
                  <a:cubicBezTo>
                    <a:pt x="24" y="21"/>
                    <a:pt x="48" y="41"/>
                    <a:pt x="72" y="6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7B142EBE-BE3F-46CA-AE40-3CF00ECBF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" y="3936"/>
              <a:ext cx="2" cy="1"/>
            </a:xfrm>
            <a:custGeom>
              <a:avLst/>
              <a:gdLst>
                <a:gd name="T0" fmla="*/ 44 w 44"/>
                <a:gd name="T1" fmla="*/ 38 h 38"/>
                <a:gd name="T2" fmla="*/ 0 w 44"/>
                <a:gd name="T3" fmla="*/ 0 h 38"/>
                <a:gd name="T4" fmla="*/ 44 w 44"/>
                <a:gd name="T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38">
                  <a:moveTo>
                    <a:pt x="44" y="38"/>
                  </a:moveTo>
                  <a:cubicBezTo>
                    <a:pt x="30" y="25"/>
                    <a:pt x="15" y="13"/>
                    <a:pt x="0" y="0"/>
                  </a:cubicBezTo>
                  <a:cubicBezTo>
                    <a:pt x="15" y="13"/>
                    <a:pt x="30" y="25"/>
                    <a:pt x="44" y="3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D85F2A7-2C19-4AB1-9127-9D0F02F6EF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6" y="3937"/>
              <a:ext cx="3" cy="3"/>
            </a:xfrm>
            <a:custGeom>
              <a:avLst/>
              <a:gdLst>
                <a:gd name="T0" fmla="*/ 91 w 91"/>
                <a:gd name="T1" fmla="*/ 76 h 76"/>
                <a:gd name="T2" fmla="*/ 0 w 91"/>
                <a:gd name="T3" fmla="*/ 0 h 76"/>
                <a:gd name="T4" fmla="*/ 91 w 91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76">
                  <a:moveTo>
                    <a:pt x="91" y="76"/>
                  </a:moveTo>
                  <a:cubicBezTo>
                    <a:pt x="61" y="51"/>
                    <a:pt x="31" y="25"/>
                    <a:pt x="0" y="0"/>
                  </a:cubicBezTo>
                  <a:cubicBezTo>
                    <a:pt x="31" y="26"/>
                    <a:pt x="61" y="51"/>
                    <a:pt x="91" y="7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275999EC-E112-4BA7-8C6B-175DF84D91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" y="3512"/>
              <a:ext cx="7" cy="6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047D291B-B537-40C8-9643-A3C993D346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768"/>
              <a:ext cx="0" cy="6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D3552AAE-E15D-4104-8D1E-F762225E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" y="3564"/>
              <a:ext cx="564" cy="108"/>
            </a:xfrm>
            <a:custGeom>
              <a:avLst/>
              <a:gdLst>
                <a:gd name="T0" fmla="*/ 638 w 14292"/>
                <a:gd name="T1" fmla="*/ 1123 h 2756"/>
                <a:gd name="T2" fmla="*/ 1444 w 14292"/>
                <a:gd name="T3" fmla="*/ 1538 h 2756"/>
                <a:gd name="T4" fmla="*/ 2254 w 14292"/>
                <a:gd name="T5" fmla="*/ 1920 h 2756"/>
                <a:gd name="T6" fmla="*/ 5331 w 14292"/>
                <a:gd name="T7" fmla="*/ 2721 h 2756"/>
                <a:gd name="T8" fmla="*/ 6949 w 14292"/>
                <a:gd name="T9" fmla="*/ 2728 h 2756"/>
                <a:gd name="T10" fmla="*/ 7201 w 14292"/>
                <a:gd name="T11" fmla="*/ 2708 h 2756"/>
                <a:gd name="T12" fmla="*/ 7944 w 14292"/>
                <a:gd name="T13" fmla="*/ 2639 h 2756"/>
                <a:gd name="T14" fmla="*/ 10525 w 14292"/>
                <a:gd name="T15" fmla="*/ 2169 h 2756"/>
                <a:gd name="T16" fmla="*/ 11601 w 14292"/>
                <a:gd name="T17" fmla="*/ 1796 h 2756"/>
                <a:gd name="T18" fmla="*/ 11727 w 14292"/>
                <a:gd name="T19" fmla="*/ 1744 h 2756"/>
                <a:gd name="T20" fmla="*/ 11737 w 14292"/>
                <a:gd name="T21" fmla="*/ 1740 h 2756"/>
                <a:gd name="T22" fmla="*/ 11734 w 14292"/>
                <a:gd name="T23" fmla="*/ 1742 h 2756"/>
                <a:gd name="T24" fmla="*/ 11749 w 14292"/>
                <a:gd name="T25" fmla="*/ 1735 h 2756"/>
                <a:gd name="T26" fmla="*/ 12011 w 14292"/>
                <a:gd name="T27" fmla="*/ 1619 h 2756"/>
                <a:gd name="T28" fmla="*/ 13606 w 14292"/>
                <a:gd name="T29" fmla="*/ 832 h 2756"/>
                <a:gd name="T30" fmla="*/ 13934 w 14292"/>
                <a:gd name="T31" fmla="*/ 653 h 2756"/>
                <a:gd name="T32" fmla="*/ 14260 w 14292"/>
                <a:gd name="T33" fmla="*/ 39 h 2756"/>
                <a:gd name="T34" fmla="*/ 13246 w 14292"/>
                <a:gd name="T35" fmla="*/ 665 h 2756"/>
                <a:gd name="T36" fmla="*/ 11884 w 14292"/>
                <a:gd name="T37" fmla="*/ 1417 h 2756"/>
                <a:gd name="T38" fmla="*/ 11666 w 14292"/>
                <a:gd name="T39" fmla="*/ 1523 h 2756"/>
                <a:gd name="T40" fmla="*/ 11527 w 14292"/>
                <a:gd name="T41" fmla="*/ 1587 h 2756"/>
                <a:gd name="T42" fmla="*/ 9930 w 14292"/>
                <a:gd name="T43" fmla="*/ 2108 h 2756"/>
                <a:gd name="T44" fmla="*/ 8230 w 14292"/>
                <a:gd name="T45" fmla="*/ 2327 h 2756"/>
                <a:gd name="T46" fmla="*/ 7892 w 14292"/>
                <a:gd name="T47" fmla="*/ 2339 h 2756"/>
                <a:gd name="T48" fmla="*/ 7653 w 14292"/>
                <a:gd name="T49" fmla="*/ 2426 h 2756"/>
                <a:gd name="T50" fmla="*/ 7614 w 14292"/>
                <a:gd name="T51" fmla="*/ 2440 h 2756"/>
                <a:gd name="T52" fmla="*/ 7612 w 14292"/>
                <a:gd name="T53" fmla="*/ 2440 h 2756"/>
                <a:gd name="T54" fmla="*/ 7620 w 14292"/>
                <a:gd name="T55" fmla="*/ 2440 h 2756"/>
                <a:gd name="T56" fmla="*/ 7614 w 14292"/>
                <a:gd name="T57" fmla="*/ 2442 h 2756"/>
                <a:gd name="T58" fmla="*/ 7531 w 14292"/>
                <a:gd name="T59" fmla="*/ 2466 h 2756"/>
                <a:gd name="T60" fmla="*/ 6509 w 14292"/>
                <a:gd name="T61" fmla="*/ 2599 h 2756"/>
                <a:gd name="T62" fmla="*/ 6259 w 14292"/>
                <a:gd name="T63" fmla="*/ 2604 h 2756"/>
                <a:gd name="T64" fmla="*/ 4662 w 14292"/>
                <a:gd name="T65" fmla="*/ 2490 h 2756"/>
                <a:gd name="T66" fmla="*/ 1666 w 14292"/>
                <a:gd name="T67" fmla="*/ 1482 h 2756"/>
                <a:gd name="T68" fmla="*/ 822 w 14292"/>
                <a:gd name="T69" fmla="*/ 1024 h 2756"/>
                <a:gd name="T70" fmla="*/ 97 w 14292"/>
                <a:gd name="T71" fmla="*/ 577 h 2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92" h="2756">
                  <a:moveTo>
                    <a:pt x="314" y="803"/>
                  </a:moveTo>
                  <a:cubicBezTo>
                    <a:pt x="473" y="966"/>
                    <a:pt x="638" y="1123"/>
                    <a:pt x="638" y="1123"/>
                  </a:cubicBezTo>
                  <a:cubicBezTo>
                    <a:pt x="843" y="1226"/>
                    <a:pt x="1091" y="1354"/>
                    <a:pt x="1382" y="1506"/>
                  </a:cubicBezTo>
                  <a:cubicBezTo>
                    <a:pt x="1382" y="1506"/>
                    <a:pt x="1404" y="1517"/>
                    <a:pt x="1444" y="1538"/>
                  </a:cubicBezTo>
                  <a:cubicBezTo>
                    <a:pt x="1485" y="1559"/>
                    <a:pt x="1544" y="1590"/>
                    <a:pt x="1620" y="1626"/>
                  </a:cubicBezTo>
                  <a:cubicBezTo>
                    <a:pt x="1771" y="1702"/>
                    <a:pt x="1990" y="1805"/>
                    <a:pt x="2254" y="1920"/>
                  </a:cubicBezTo>
                  <a:cubicBezTo>
                    <a:pt x="2784" y="2145"/>
                    <a:pt x="3504" y="2421"/>
                    <a:pt x="4243" y="2567"/>
                  </a:cubicBezTo>
                  <a:cubicBezTo>
                    <a:pt x="4612" y="2643"/>
                    <a:pt x="4984" y="2692"/>
                    <a:pt x="5331" y="2721"/>
                  </a:cubicBezTo>
                  <a:cubicBezTo>
                    <a:pt x="5679" y="2750"/>
                    <a:pt x="6004" y="2756"/>
                    <a:pt x="6281" y="2753"/>
                  </a:cubicBezTo>
                  <a:cubicBezTo>
                    <a:pt x="6558" y="2752"/>
                    <a:pt x="6788" y="2738"/>
                    <a:pt x="6949" y="2728"/>
                  </a:cubicBezTo>
                  <a:cubicBezTo>
                    <a:pt x="7029" y="2724"/>
                    <a:pt x="7092" y="2717"/>
                    <a:pt x="7135" y="2714"/>
                  </a:cubicBezTo>
                  <a:cubicBezTo>
                    <a:pt x="7178" y="2710"/>
                    <a:pt x="7201" y="2708"/>
                    <a:pt x="7201" y="2708"/>
                  </a:cubicBezTo>
                  <a:cubicBezTo>
                    <a:pt x="7320" y="2697"/>
                    <a:pt x="7439" y="2687"/>
                    <a:pt x="7558" y="2676"/>
                  </a:cubicBezTo>
                  <a:cubicBezTo>
                    <a:pt x="7687" y="2664"/>
                    <a:pt x="7815" y="2651"/>
                    <a:pt x="7944" y="2639"/>
                  </a:cubicBezTo>
                  <a:cubicBezTo>
                    <a:pt x="8198" y="2611"/>
                    <a:pt x="8474" y="2579"/>
                    <a:pt x="8757" y="2538"/>
                  </a:cubicBezTo>
                  <a:cubicBezTo>
                    <a:pt x="9323" y="2455"/>
                    <a:pt x="9925" y="2343"/>
                    <a:pt x="10525" y="2169"/>
                  </a:cubicBezTo>
                  <a:cubicBezTo>
                    <a:pt x="10826" y="2083"/>
                    <a:pt x="11116" y="1985"/>
                    <a:pt x="11395" y="1878"/>
                  </a:cubicBezTo>
                  <a:cubicBezTo>
                    <a:pt x="11464" y="1852"/>
                    <a:pt x="11533" y="1825"/>
                    <a:pt x="11601" y="1796"/>
                  </a:cubicBezTo>
                  <a:cubicBezTo>
                    <a:pt x="11702" y="1754"/>
                    <a:pt x="11702" y="1754"/>
                    <a:pt x="11702" y="1754"/>
                  </a:cubicBezTo>
                  <a:cubicBezTo>
                    <a:pt x="11727" y="1744"/>
                    <a:pt x="11727" y="1744"/>
                    <a:pt x="11727" y="1744"/>
                  </a:cubicBezTo>
                  <a:cubicBezTo>
                    <a:pt x="11734" y="1741"/>
                    <a:pt x="11734" y="1741"/>
                    <a:pt x="11734" y="1741"/>
                  </a:cubicBezTo>
                  <a:cubicBezTo>
                    <a:pt x="11737" y="1740"/>
                    <a:pt x="11737" y="1740"/>
                    <a:pt x="11737" y="1740"/>
                  </a:cubicBezTo>
                  <a:cubicBezTo>
                    <a:pt x="11738" y="1740"/>
                    <a:pt x="11738" y="1740"/>
                    <a:pt x="11738" y="1740"/>
                  </a:cubicBezTo>
                  <a:cubicBezTo>
                    <a:pt x="11728" y="1744"/>
                    <a:pt x="11736" y="1741"/>
                    <a:pt x="11734" y="1742"/>
                  </a:cubicBezTo>
                  <a:cubicBezTo>
                    <a:pt x="11735" y="1741"/>
                    <a:pt x="11735" y="1741"/>
                    <a:pt x="11735" y="1741"/>
                  </a:cubicBezTo>
                  <a:cubicBezTo>
                    <a:pt x="11749" y="1735"/>
                    <a:pt x="11749" y="1735"/>
                    <a:pt x="11749" y="1735"/>
                  </a:cubicBezTo>
                  <a:cubicBezTo>
                    <a:pt x="11802" y="1711"/>
                    <a:pt x="11802" y="1711"/>
                    <a:pt x="11802" y="1711"/>
                  </a:cubicBezTo>
                  <a:cubicBezTo>
                    <a:pt x="11872" y="1681"/>
                    <a:pt x="11942" y="1650"/>
                    <a:pt x="12011" y="1619"/>
                  </a:cubicBezTo>
                  <a:cubicBezTo>
                    <a:pt x="12076" y="1590"/>
                    <a:pt x="12141" y="1561"/>
                    <a:pt x="12205" y="1532"/>
                  </a:cubicBezTo>
                  <a:cubicBezTo>
                    <a:pt x="12727" y="1291"/>
                    <a:pt x="13199" y="1047"/>
                    <a:pt x="13606" y="832"/>
                  </a:cubicBezTo>
                  <a:cubicBezTo>
                    <a:pt x="13606" y="832"/>
                    <a:pt x="13689" y="788"/>
                    <a:pt x="13771" y="744"/>
                  </a:cubicBezTo>
                  <a:cubicBezTo>
                    <a:pt x="13853" y="698"/>
                    <a:pt x="13934" y="653"/>
                    <a:pt x="13934" y="653"/>
                  </a:cubicBezTo>
                  <a:cubicBezTo>
                    <a:pt x="14077" y="494"/>
                    <a:pt x="14174" y="361"/>
                    <a:pt x="14228" y="256"/>
                  </a:cubicBezTo>
                  <a:cubicBezTo>
                    <a:pt x="14282" y="153"/>
                    <a:pt x="14292" y="79"/>
                    <a:pt x="14260" y="39"/>
                  </a:cubicBezTo>
                  <a:cubicBezTo>
                    <a:pt x="14236" y="9"/>
                    <a:pt x="14188" y="0"/>
                    <a:pt x="14118" y="8"/>
                  </a:cubicBezTo>
                  <a:cubicBezTo>
                    <a:pt x="13848" y="236"/>
                    <a:pt x="13556" y="458"/>
                    <a:pt x="13246" y="665"/>
                  </a:cubicBezTo>
                  <a:cubicBezTo>
                    <a:pt x="13020" y="815"/>
                    <a:pt x="12792" y="955"/>
                    <a:pt x="12562" y="1080"/>
                  </a:cubicBezTo>
                  <a:cubicBezTo>
                    <a:pt x="12334" y="1205"/>
                    <a:pt x="12100" y="1322"/>
                    <a:pt x="11884" y="1417"/>
                  </a:cubicBezTo>
                  <a:cubicBezTo>
                    <a:pt x="11884" y="1417"/>
                    <a:pt x="11821" y="1448"/>
                    <a:pt x="11711" y="1502"/>
                  </a:cubicBezTo>
                  <a:cubicBezTo>
                    <a:pt x="11697" y="1509"/>
                    <a:pt x="11682" y="1516"/>
                    <a:pt x="11666" y="1523"/>
                  </a:cubicBezTo>
                  <a:cubicBezTo>
                    <a:pt x="11654" y="1529"/>
                    <a:pt x="11640" y="1535"/>
                    <a:pt x="11626" y="1542"/>
                  </a:cubicBezTo>
                  <a:cubicBezTo>
                    <a:pt x="11596" y="1556"/>
                    <a:pt x="11563" y="1571"/>
                    <a:pt x="11527" y="1587"/>
                  </a:cubicBezTo>
                  <a:cubicBezTo>
                    <a:pt x="11457" y="1620"/>
                    <a:pt x="11375" y="1654"/>
                    <a:pt x="11286" y="1690"/>
                  </a:cubicBezTo>
                  <a:cubicBezTo>
                    <a:pt x="10932" y="1838"/>
                    <a:pt x="10440" y="1999"/>
                    <a:pt x="9930" y="2108"/>
                  </a:cubicBezTo>
                  <a:cubicBezTo>
                    <a:pt x="9422" y="2222"/>
                    <a:pt x="8897" y="2282"/>
                    <a:pt x="8501" y="2311"/>
                  </a:cubicBezTo>
                  <a:cubicBezTo>
                    <a:pt x="8402" y="2317"/>
                    <a:pt x="8311" y="2322"/>
                    <a:pt x="8230" y="2327"/>
                  </a:cubicBezTo>
                  <a:cubicBezTo>
                    <a:pt x="8150" y="2332"/>
                    <a:pt x="8082" y="2333"/>
                    <a:pt x="8026" y="2335"/>
                  </a:cubicBezTo>
                  <a:cubicBezTo>
                    <a:pt x="7968" y="2337"/>
                    <a:pt x="7928" y="2339"/>
                    <a:pt x="7892" y="2339"/>
                  </a:cubicBezTo>
                  <a:cubicBezTo>
                    <a:pt x="7859" y="2340"/>
                    <a:pt x="7841" y="2340"/>
                    <a:pt x="7841" y="2340"/>
                  </a:cubicBezTo>
                  <a:cubicBezTo>
                    <a:pt x="7797" y="2369"/>
                    <a:pt x="7734" y="2398"/>
                    <a:pt x="7653" y="2426"/>
                  </a:cubicBezTo>
                  <a:cubicBezTo>
                    <a:pt x="7622" y="2437"/>
                    <a:pt x="7622" y="2437"/>
                    <a:pt x="7622" y="2437"/>
                  </a:cubicBezTo>
                  <a:cubicBezTo>
                    <a:pt x="7614" y="2440"/>
                    <a:pt x="7614" y="2440"/>
                    <a:pt x="7614" y="2440"/>
                  </a:cubicBezTo>
                  <a:cubicBezTo>
                    <a:pt x="7613" y="2440"/>
                    <a:pt x="7613" y="2440"/>
                    <a:pt x="7613" y="2440"/>
                  </a:cubicBezTo>
                  <a:cubicBezTo>
                    <a:pt x="7612" y="2440"/>
                    <a:pt x="7612" y="2440"/>
                    <a:pt x="7612" y="2440"/>
                  </a:cubicBezTo>
                  <a:cubicBezTo>
                    <a:pt x="7628" y="2440"/>
                    <a:pt x="7616" y="2440"/>
                    <a:pt x="7620" y="2440"/>
                  </a:cubicBezTo>
                  <a:cubicBezTo>
                    <a:pt x="7620" y="2440"/>
                    <a:pt x="7620" y="2440"/>
                    <a:pt x="7620" y="2440"/>
                  </a:cubicBezTo>
                  <a:cubicBezTo>
                    <a:pt x="7618" y="2441"/>
                    <a:pt x="7618" y="2441"/>
                    <a:pt x="7618" y="2441"/>
                  </a:cubicBezTo>
                  <a:cubicBezTo>
                    <a:pt x="7614" y="2442"/>
                    <a:pt x="7614" y="2442"/>
                    <a:pt x="7614" y="2442"/>
                  </a:cubicBezTo>
                  <a:cubicBezTo>
                    <a:pt x="7598" y="2447"/>
                    <a:pt x="7598" y="2447"/>
                    <a:pt x="7598" y="2447"/>
                  </a:cubicBezTo>
                  <a:cubicBezTo>
                    <a:pt x="7531" y="2466"/>
                    <a:pt x="7531" y="2466"/>
                    <a:pt x="7531" y="2466"/>
                  </a:cubicBezTo>
                  <a:cubicBezTo>
                    <a:pt x="7483" y="2479"/>
                    <a:pt x="7432" y="2492"/>
                    <a:pt x="7376" y="2504"/>
                  </a:cubicBezTo>
                  <a:cubicBezTo>
                    <a:pt x="7153" y="2550"/>
                    <a:pt x="6862" y="2590"/>
                    <a:pt x="6509" y="2599"/>
                  </a:cubicBezTo>
                  <a:cubicBezTo>
                    <a:pt x="6509" y="2599"/>
                    <a:pt x="6487" y="2600"/>
                    <a:pt x="6444" y="2601"/>
                  </a:cubicBezTo>
                  <a:cubicBezTo>
                    <a:pt x="6401" y="2602"/>
                    <a:pt x="6339" y="2603"/>
                    <a:pt x="6259" y="2604"/>
                  </a:cubicBezTo>
                  <a:cubicBezTo>
                    <a:pt x="6099" y="2606"/>
                    <a:pt x="5871" y="2603"/>
                    <a:pt x="5597" y="2589"/>
                  </a:cubicBezTo>
                  <a:cubicBezTo>
                    <a:pt x="5323" y="2574"/>
                    <a:pt x="5003" y="2543"/>
                    <a:pt x="4662" y="2490"/>
                  </a:cubicBezTo>
                  <a:cubicBezTo>
                    <a:pt x="4321" y="2436"/>
                    <a:pt x="3956" y="2357"/>
                    <a:pt x="3601" y="2254"/>
                  </a:cubicBezTo>
                  <a:cubicBezTo>
                    <a:pt x="2880" y="2039"/>
                    <a:pt x="2179" y="1738"/>
                    <a:pt x="1666" y="1482"/>
                  </a:cubicBezTo>
                  <a:cubicBezTo>
                    <a:pt x="1409" y="1354"/>
                    <a:pt x="1197" y="1240"/>
                    <a:pt x="1051" y="1156"/>
                  </a:cubicBezTo>
                  <a:cubicBezTo>
                    <a:pt x="904" y="1074"/>
                    <a:pt x="822" y="1024"/>
                    <a:pt x="822" y="1024"/>
                  </a:cubicBezTo>
                  <a:cubicBezTo>
                    <a:pt x="562" y="872"/>
                    <a:pt x="285" y="688"/>
                    <a:pt x="0" y="474"/>
                  </a:cubicBezTo>
                  <a:cubicBezTo>
                    <a:pt x="0" y="474"/>
                    <a:pt x="39" y="515"/>
                    <a:pt x="97" y="577"/>
                  </a:cubicBezTo>
                  <a:cubicBezTo>
                    <a:pt x="155" y="640"/>
                    <a:pt x="234" y="722"/>
                    <a:pt x="314" y="80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E95EFA45-B197-4ECF-B27C-24B1B41E0B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" y="3647"/>
              <a:ext cx="62" cy="414"/>
            </a:xfrm>
            <a:custGeom>
              <a:avLst/>
              <a:gdLst>
                <a:gd name="T0" fmla="*/ 1387 w 1559"/>
                <a:gd name="T1" fmla="*/ 1291 h 10491"/>
                <a:gd name="T2" fmla="*/ 872 w 1559"/>
                <a:gd name="T3" fmla="*/ 5742 h 10491"/>
                <a:gd name="T4" fmla="*/ 564 w 1559"/>
                <a:gd name="T5" fmla="*/ 6847 h 10491"/>
                <a:gd name="T6" fmla="*/ 255 w 1559"/>
                <a:gd name="T7" fmla="*/ 5742 h 10491"/>
                <a:gd name="T8" fmla="*/ 20 w 1559"/>
                <a:gd name="T9" fmla="*/ 3712 h 10491"/>
                <a:gd name="T10" fmla="*/ 0 w 1559"/>
                <a:gd name="T11" fmla="*/ 4307 h 10491"/>
                <a:gd name="T12" fmla="*/ 121 w 1559"/>
                <a:gd name="T13" fmla="*/ 5356 h 10491"/>
                <a:gd name="T14" fmla="*/ 247 w 1559"/>
                <a:gd name="T15" fmla="*/ 6980 h 10491"/>
                <a:gd name="T16" fmla="*/ 280 w 1559"/>
                <a:gd name="T17" fmla="*/ 7913 h 10491"/>
                <a:gd name="T18" fmla="*/ 301 w 1559"/>
                <a:gd name="T19" fmla="*/ 8435 h 10491"/>
                <a:gd name="T20" fmla="*/ 385 w 1559"/>
                <a:gd name="T21" fmla="*/ 8990 h 10491"/>
                <a:gd name="T22" fmla="*/ 433 w 1559"/>
                <a:gd name="T23" fmla="*/ 9182 h 10491"/>
                <a:gd name="T24" fmla="*/ 490 w 1559"/>
                <a:gd name="T25" fmla="*/ 9371 h 10491"/>
                <a:gd name="T26" fmla="*/ 517 w 1559"/>
                <a:gd name="T27" fmla="*/ 9428 h 10491"/>
                <a:gd name="T28" fmla="*/ 593 w 1559"/>
                <a:gd name="T29" fmla="*/ 9576 h 10491"/>
                <a:gd name="T30" fmla="*/ 873 w 1559"/>
                <a:gd name="T31" fmla="*/ 9994 h 10491"/>
                <a:gd name="T32" fmla="*/ 1050 w 1559"/>
                <a:gd name="T33" fmla="*/ 10195 h 10491"/>
                <a:gd name="T34" fmla="*/ 1143 w 1559"/>
                <a:gd name="T35" fmla="*/ 10285 h 10491"/>
                <a:gd name="T36" fmla="*/ 1165 w 1559"/>
                <a:gd name="T37" fmla="*/ 10306 h 10491"/>
                <a:gd name="T38" fmla="*/ 1183 w 1559"/>
                <a:gd name="T39" fmla="*/ 10322 h 10491"/>
                <a:gd name="T40" fmla="*/ 1218 w 1559"/>
                <a:gd name="T41" fmla="*/ 10351 h 10491"/>
                <a:gd name="T42" fmla="*/ 1289 w 1559"/>
                <a:gd name="T43" fmla="*/ 10411 h 10491"/>
                <a:gd name="T44" fmla="*/ 1344 w 1559"/>
                <a:gd name="T45" fmla="*/ 10454 h 10491"/>
                <a:gd name="T46" fmla="*/ 1393 w 1559"/>
                <a:gd name="T47" fmla="*/ 10491 h 10491"/>
                <a:gd name="T48" fmla="*/ 1360 w 1559"/>
                <a:gd name="T49" fmla="*/ 10453 h 10491"/>
                <a:gd name="T50" fmla="*/ 1320 w 1559"/>
                <a:gd name="T51" fmla="*/ 10407 h 10491"/>
                <a:gd name="T52" fmla="*/ 1308 w 1559"/>
                <a:gd name="T53" fmla="*/ 10393 h 10491"/>
                <a:gd name="T54" fmla="*/ 1302 w 1559"/>
                <a:gd name="T55" fmla="*/ 10385 h 10491"/>
                <a:gd name="T56" fmla="*/ 1299 w 1559"/>
                <a:gd name="T57" fmla="*/ 10382 h 10491"/>
                <a:gd name="T58" fmla="*/ 1297 w 1559"/>
                <a:gd name="T59" fmla="*/ 10380 h 10491"/>
                <a:gd name="T60" fmla="*/ 1296 w 1559"/>
                <a:gd name="T61" fmla="*/ 10379 h 10491"/>
                <a:gd name="T62" fmla="*/ 1290 w 1559"/>
                <a:gd name="T63" fmla="*/ 10372 h 10491"/>
                <a:gd name="T64" fmla="*/ 1289 w 1559"/>
                <a:gd name="T65" fmla="*/ 10372 h 10491"/>
                <a:gd name="T66" fmla="*/ 1266 w 1559"/>
                <a:gd name="T67" fmla="*/ 10341 h 10491"/>
                <a:gd name="T68" fmla="*/ 1212 w 1559"/>
                <a:gd name="T69" fmla="*/ 10269 h 10491"/>
                <a:gd name="T70" fmla="*/ 1141 w 1559"/>
                <a:gd name="T71" fmla="*/ 10167 h 10491"/>
                <a:gd name="T72" fmla="*/ 997 w 1559"/>
                <a:gd name="T73" fmla="*/ 9922 h 10491"/>
                <a:gd name="T74" fmla="*/ 763 w 1559"/>
                <a:gd name="T75" fmla="*/ 9275 h 10491"/>
                <a:gd name="T76" fmla="*/ 685 w 1559"/>
                <a:gd name="T77" fmla="*/ 8519 h 10491"/>
                <a:gd name="T78" fmla="*/ 746 w 1559"/>
                <a:gd name="T79" fmla="*/ 7784 h 10491"/>
                <a:gd name="T80" fmla="*/ 819 w 1559"/>
                <a:gd name="T81" fmla="*/ 7151 h 10491"/>
                <a:gd name="T82" fmla="*/ 891 w 1559"/>
                <a:gd name="T83" fmla="*/ 6533 h 10491"/>
                <a:gd name="T84" fmla="*/ 1300 w 1559"/>
                <a:gd name="T85" fmla="*/ 5066 h 10491"/>
                <a:gd name="T86" fmla="*/ 1559 w 1559"/>
                <a:gd name="T87" fmla="*/ 5589 h 10491"/>
                <a:gd name="T88" fmla="*/ 1559 w 1559"/>
                <a:gd name="T89" fmla="*/ 638 h 10491"/>
                <a:gd name="T90" fmla="*/ 1485 w 1559"/>
                <a:gd name="T91" fmla="*/ 0 h 10491"/>
                <a:gd name="T92" fmla="*/ 1387 w 1559"/>
                <a:gd name="T93" fmla="*/ 1291 h 10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9" h="10491">
                  <a:moveTo>
                    <a:pt x="1387" y="1291"/>
                  </a:moveTo>
                  <a:cubicBezTo>
                    <a:pt x="872" y="5742"/>
                    <a:pt x="872" y="5742"/>
                    <a:pt x="872" y="5742"/>
                  </a:cubicBezTo>
                  <a:cubicBezTo>
                    <a:pt x="790" y="6455"/>
                    <a:pt x="680" y="6847"/>
                    <a:pt x="564" y="6847"/>
                  </a:cubicBezTo>
                  <a:cubicBezTo>
                    <a:pt x="447" y="6847"/>
                    <a:pt x="337" y="6455"/>
                    <a:pt x="255" y="5742"/>
                  </a:cubicBezTo>
                  <a:cubicBezTo>
                    <a:pt x="20" y="3712"/>
                    <a:pt x="20" y="3712"/>
                    <a:pt x="20" y="3712"/>
                  </a:cubicBezTo>
                  <a:cubicBezTo>
                    <a:pt x="11" y="3904"/>
                    <a:pt x="5" y="4103"/>
                    <a:pt x="0" y="4307"/>
                  </a:cubicBezTo>
                  <a:cubicBezTo>
                    <a:pt x="121" y="5356"/>
                    <a:pt x="121" y="5356"/>
                    <a:pt x="121" y="5356"/>
                  </a:cubicBezTo>
                  <a:cubicBezTo>
                    <a:pt x="176" y="5829"/>
                    <a:pt x="218" y="6380"/>
                    <a:pt x="247" y="6980"/>
                  </a:cubicBezTo>
                  <a:cubicBezTo>
                    <a:pt x="261" y="7280"/>
                    <a:pt x="272" y="7592"/>
                    <a:pt x="280" y="7913"/>
                  </a:cubicBezTo>
                  <a:cubicBezTo>
                    <a:pt x="283" y="8066"/>
                    <a:pt x="286" y="8254"/>
                    <a:pt x="301" y="8435"/>
                  </a:cubicBezTo>
                  <a:cubicBezTo>
                    <a:pt x="318" y="8617"/>
                    <a:pt x="345" y="8803"/>
                    <a:pt x="385" y="8990"/>
                  </a:cubicBezTo>
                  <a:cubicBezTo>
                    <a:pt x="400" y="9055"/>
                    <a:pt x="414" y="9118"/>
                    <a:pt x="433" y="9182"/>
                  </a:cubicBezTo>
                  <a:cubicBezTo>
                    <a:pt x="449" y="9245"/>
                    <a:pt x="469" y="9308"/>
                    <a:pt x="490" y="9371"/>
                  </a:cubicBezTo>
                  <a:cubicBezTo>
                    <a:pt x="490" y="9371"/>
                    <a:pt x="499" y="9392"/>
                    <a:pt x="517" y="9428"/>
                  </a:cubicBezTo>
                  <a:cubicBezTo>
                    <a:pt x="535" y="9464"/>
                    <a:pt x="560" y="9515"/>
                    <a:pt x="593" y="9576"/>
                  </a:cubicBezTo>
                  <a:cubicBezTo>
                    <a:pt x="659" y="9697"/>
                    <a:pt x="758" y="9852"/>
                    <a:pt x="873" y="9994"/>
                  </a:cubicBezTo>
                  <a:cubicBezTo>
                    <a:pt x="930" y="10066"/>
                    <a:pt x="991" y="10133"/>
                    <a:pt x="1050" y="10195"/>
                  </a:cubicBezTo>
                  <a:cubicBezTo>
                    <a:pt x="1082" y="10226"/>
                    <a:pt x="1113" y="10256"/>
                    <a:pt x="1143" y="10285"/>
                  </a:cubicBezTo>
                  <a:cubicBezTo>
                    <a:pt x="1150" y="10292"/>
                    <a:pt x="1157" y="10299"/>
                    <a:pt x="1165" y="10306"/>
                  </a:cubicBezTo>
                  <a:cubicBezTo>
                    <a:pt x="1171" y="10312"/>
                    <a:pt x="1177" y="10317"/>
                    <a:pt x="1183" y="10322"/>
                  </a:cubicBezTo>
                  <a:cubicBezTo>
                    <a:pt x="1195" y="10332"/>
                    <a:pt x="1207" y="10342"/>
                    <a:pt x="1218" y="10351"/>
                  </a:cubicBezTo>
                  <a:cubicBezTo>
                    <a:pt x="1244" y="10373"/>
                    <a:pt x="1268" y="10393"/>
                    <a:pt x="1289" y="10411"/>
                  </a:cubicBezTo>
                  <a:cubicBezTo>
                    <a:pt x="1310" y="10427"/>
                    <a:pt x="1329" y="10442"/>
                    <a:pt x="1344" y="10454"/>
                  </a:cubicBezTo>
                  <a:cubicBezTo>
                    <a:pt x="1375" y="10477"/>
                    <a:pt x="1393" y="10491"/>
                    <a:pt x="1393" y="10491"/>
                  </a:cubicBezTo>
                  <a:cubicBezTo>
                    <a:pt x="1393" y="10491"/>
                    <a:pt x="1381" y="10478"/>
                    <a:pt x="1360" y="10453"/>
                  </a:cubicBezTo>
                  <a:cubicBezTo>
                    <a:pt x="1349" y="10440"/>
                    <a:pt x="1336" y="10425"/>
                    <a:pt x="1320" y="10407"/>
                  </a:cubicBezTo>
                  <a:cubicBezTo>
                    <a:pt x="1316" y="10402"/>
                    <a:pt x="1312" y="10398"/>
                    <a:pt x="1308" y="10393"/>
                  </a:cubicBezTo>
                  <a:cubicBezTo>
                    <a:pt x="1302" y="10385"/>
                    <a:pt x="1302" y="10385"/>
                    <a:pt x="1302" y="10385"/>
                  </a:cubicBezTo>
                  <a:cubicBezTo>
                    <a:pt x="1299" y="10382"/>
                    <a:pt x="1299" y="10382"/>
                    <a:pt x="1299" y="10382"/>
                  </a:cubicBezTo>
                  <a:cubicBezTo>
                    <a:pt x="1297" y="10380"/>
                    <a:pt x="1297" y="10380"/>
                    <a:pt x="1297" y="10380"/>
                  </a:cubicBezTo>
                  <a:cubicBezTo>
                    <a:pt x="1296" y="10379"/>
                    <a:pt x="1296" y="10379"/>
                    <a:pt x="1296" y="10379"/>
                  </a:cubicBezTo>
                  <a:cubicBezTo>
                    <a:pt x="1290" y="10372"/>
                    <a:pt x="1290" y="10372"/>
                    <a:pt x="1290" y="10372"/>
                  </a:cubicBezTo>
                  <a:cubicBezTo>
                    <a:pt x="1289" y="10372"/>
                    <a:pt x="1289" y="10372"/>
                    <a:pt x="1289" y="10372"/>
                  </a:cubicBezTo>
                  <a:cubicBezTo>
                    <a:pt x="1282" y="10362"/>
                    <a:pt x="1274" y="10352"/>
                    <a:pt x="1266" y="10341"/>
                  </a:cubicBezTo>
                  <a:cubicBezTo>
                    <a:pt x="1250" y="10319"/>
                    <a:pt x="1232" y="10295"/>
                    <a:pt x="1212" y="10269"/>
                  </a:cubicBezTo>
                  <a:cubicBezTo>
                    <a:pt x="1190" y="10237"/>
                    <a:pt x="1167" y="10203"/>
                    <a:pt x="1141" y="10167"/>
                  </a:cubicBezTo>
                  <a:cubicBezTo>
                    <a:pt x="1092" y="10093"/>
                    <a:pt x="1045" y="10014"/>
                    <a:pt x="997" y="9922"/>
                  </a:cubicBezTo>
                  <a:cubicBezTo>
                    <a:pt x="902" y="9739"/>
                    <a:pt x="816" y="9517"/>
                    <a:pt x="763" y="9275"/>
                  </a:cubicBezTo>
                  <a:cubicBezTo>
                    <a:pt x="708" y="9033"/>
                    <a:pt x="682" y="8774"/>
                    <a:pt x="685" y="8519"/>
                  </a:cubicBezTo>
                  <a:cubicBezTo>
                    <a:pt x="686" y="8264"/>
                    <a:pt x="720" y="8015"/>
                    <a:pt x="746" y="7784"/>
                  </a:cubicBezTo>
                  <a:cubicBezTo>
                    <a:pt x="773" y="7553"/>
                    <a:pt x="798" y="7336"/>
                    <a:pt x="819" y="7151"/>
                  </a:cubicBezTo>
                  <a:cubicBezTo>
                    <a:pt x="862" y="6780"/>
                    <a:pt x="891" y="6533"/>
                    <a:pt x="891" y="6533"/>
                  </a:cubicBezTo>
                  <a:cubicBezTo>
                    <a:pt x="1000" y="5587"/>
                    <a:pt x="1146" y="5066"/>
                    <a:pt x="1300" y="5066"/>
                  </a:cubicBezTo>
                  <a:cubicBezTo>
                    <a:pt x="1392" y="5066"/>
                    <a:pt x="1479" y="5247"/>
                    <a:pt x="1559" y="5589"/>
                  </a:cubicBezTo>
                  <a:cubicBezTo>
                    <a:pt x="1559" y="638"/>
                    <a:pt x="1559" y="638"/>
                    <a:pt x="1559" y="638"/>
                  </a:cubicBezTo>
                  <a:cubicBezTo>
                    <a:pt x="1485" y="0"/>
                    <a:pt x="1485" y="0"/>
                    <a:pt x="1485" y="0"/>
                  </a:cubicBezTo>
                  <a:cubicBezTo>
                    <a:pt x="1463" y="478"/>
                    <a:pt x="1430" y="917"/>
                    <a:pt x="1387" y="129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34">
              <a:extLst>
                <a:ext uri="{FF2B5EF4-FFF2-40B4-BE49-F238E27FC236}">
                  <a16:creationId xmlns:a16="http://schemas.microsoft.com/office/drawing/2014/main" id="{7721B4E6-2DBB-4936-B716-25A80290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0"/>
              <a:ext cx="130" cy="97"/>
            </a:xfrm>
            <a:custGeom>
              <a:avLst/>
              <a:gdLst>
                <a:gd name="T0" fmla="*/ 126 w 3289"/>
                <a:gd name="T1" fmla="*/ 1367 h 2452"/>
                <a:gd name="T2" fmla="*/ 129 w 3289"/>
                <a:gd name="T3" fmla="*/ 1336 h 2452"/>
                <a:gd name="T4" fmla="*/ 131 w 3289"/>
                <a:gd name="T5" fmla="*/ 1321 h 2452"/>
                <a:gd name="T6" fmla="*/ 132 w 3289"/>
                <a:gd name="T7" fmla="*/ 1313 h 2452"/>
                <a:gd name="T8" fmla="*/ 133 w 3289"/>
                <a:gd name="T9" fmla="*/ 1309 h 2452"/>
                <a:gd name="T10" fmla="*/ 133 w 3289"/>
                <a:gd name="T11" fmla="*/ 1308 h 2452"/>
                <a:gd name="T12" fmla="*/ 133 w 3289"/>
                <a:gd name="T13" fmla="*/ 1288 h 2452"/>
                <a:gd name="T14" fmla="*/ 133 w 3289"/>
                <a:gd name="T15" fmla="*/ 1286 h 2452"/>
                <a:gd name="T16" fmla="*/ 143 w 3289"/>
                <a:gd name="T17" fmla="*/ 1220 h 2452"/>
                <a:gd name="T18" fmla="*/ 161 w 3289"/>
                <a:gd name="T19" fmla="*/ 1093 h 2452"/>
                <a:gd name="T20" fmla="*/ 190 w 3289"/>
                <a:gd name="T21" fmla="*/ 975 h 2452"/>
                <a:gd name="T22" fmla="*/ 209 w 3289"/>
                <a:gd name="T23" fmla="*/ 913 h 2452"/>
                <a:gd name="T24" fmla="*/ 234 w 3289"/>
                <a:gd name="T25" fmla="*/ 847 h 2452"/>
                <a:gd name="T26" fmla="*/ 299 w 3289"/>
                <a:gd name="T27" fmla="*/ 712 h 2452"/>
                <a:gd name="T28" fmla="*/ 515 w 3289"/>
                <a:gd name="T29" fmla="*/ 447 h 2452"/>
                <a:gd name="T30" fmla="*/ 809 w 3289"/>
                <a:gd name="T31" fmla="*/ 275 h 2452"/>
                <a:gd name="T32" fmla="*/ 1081 w 3289"/>
                <a:gd name="T33" fmla="*/ 217 h 2452"/>
                <a:gd name="T34" fmla="*/ 1141 w 3289"/>
                <a:gd name="T35" fmla="*/ 214 h 2452"/>
                <a:gd name="T36" fmla="*/ 1195 w 3289"/>
                <a:gd name="T37" fmla="*/ 215 h 2452"/>
                <a:gd name="T38" fmla="*/ 1222 w 3289"/>
                <a:gd name="T39" fmla="*/ 215 h 2452"/>
                <a:gd name="T40" fmla="*/ 1245 w 3289"/>
                <a:gd name="T41" fmla="*/ 217 h 2452"/>
                <a:gd name="T42" fmla="*/ 1273 w 3289"/>
                <a:gd name="T43" fmla="*/ 220 h 2452"/>
                <a:gd name="T44" fmla="*/ 1383 w 3289"/>
                <a:gd name="T45" fmla="*/ 233 h 2452"/>
                <a:gd name="T46" fmla="*/ 1585 w 3289"/>
                <a:gd name="T47" fmla="*/ 256 h 2452"/>
                <a:gd name="T48" fmla="*/ 2002 w 3289"/>
                <a:gd name="T49" fmla="*/ 304 h 2452"/>
                <a:gd name="T50" fmla="*/ 2803 w 3289"/>
                <a:gd name="T51" fmla="*/ 441 h 2452"/>
                <a:gd name="T52" fmla="*/ 3289 w 3289"/>
                <a:gd name="T53" fmla="*/ 384 h 2452"/>
                <a:gd name="T54" fmla="*/ 2576 w 3289"/>
                <a:gd name="T55" fmla="*/ 302 h 2452"/>
                <a:gd name="T56" fmla="*/ 1675 w 3289"/>
                <a:gd name="T57" fmla="*/ 160 h 2452"/>
                <a:gd name="T58" fmla="*/ 1378 w 3289"/>
                <a:gd name="T59" fmla="*/ 80 h 2452"/>
                <a:gd name="T60" fmla="*/ 1269 w 3289"/>
                <a:gd name="T61" fmla="*/ 39 h 2452"/>
                <a:gd name="T62" fmla="*/ 1246 w 3289"/>
                <a:gd name="T63" fmla="*/ 28 h 2452"/>
                <a:gd name="T64" fmla="*/ 1241 w 3289"/>
                <a:gd name="T65" fmla="*/ 25 h 2452"/>
                <a:gd name="T66" fmla="*/ 1230 w 3289"/>
                <a:gd name="T67" fmla="*/ 23 h 2452"/>
                <a:gd name="T68" fmla="*/ 1208 w 3289"/>
                <a:gd name="T69" fmla="*/ 18 h 2452"/>
                <a:gd name="T70" fmla="*/ 1126 w 3289"/>
                <a:gd name="T71" fmla="*/ 0 h 2452"/>
                <a:gd name="T72" fmla="*/ 1076 w 3289"/>
                <a:gd name="T73" fmla="*/ 5 h 2452"/>
                <a:gd name="T74" fmla="*/ 1016 w 3289"/>
                <a:gd name="T75" fmla="*/ 13 h 2452"/>
                <a:gd name="T76" fmla="*/ 928 w 3289"/>
                <a:gd name="T77" fmla="*/ 31 h 2452"/>
                <a:gd name="T78" fmla="*/ 813 w 3289"/>
                <a:gd name="T79" fmla="*/ 63 h 2452"/>
                <a:gd name="T80" fmla="*/ 671 w 3289"/>
                <a:gd name="T81" fmla="*/ 121 h 2452"/>
                <a:gd name="T82" fmla="*/ 509 w 3289"/>
                <a:gd name="T83" fmla="*/ 217 h 2452"/>
                <a:gd name="T84" fmla="*/ 346 w 3289"/>
                <a:gd name="T85" fmla="*/ 358 h 2452"/>
                <a:gd name="T86" fmla="*/ 107 w 3289"/>
                <a:gd name="T87" fmla="*/ 725 h 2452"/>
                <a:gd name="T88" fmla="*/ 15 w 3289"/>
                <a:gd name="T89" fmla="*/ 1082 h 2452"/>
                <a:gd name="T90" fmla="*/ 6 w 3289"/>
                <a:gd name="T91" fmla="*/ 1175 h 2452"/>
                <a:gd name="T92" fmla="*/ 2 w 3289"/>
                <a:gd name="T93" fmla="*/ 1223 h 2452"/>
                <a:gd name="T94" fmla="*/ 2 w 3289"/>
                <a:gd name="T95" fmla="*/ 1244 h 2452"/>
                <a:gd name="T96" fmla="*/ 0 w 3289"/>
                <a:gd name="T97" fmla="*/ 1309 h 2452"/>
                <a:gd name="T98" fmla="*/ 0 w 3289"/>
                <a:gd name="T99" fmla="*/ 1352 h 2452"/>
                <a:gd name="T100" fmla="*/ 0 w 3289"/>
                <a:gd name="T101" fmla="*/ 1525 h 2452"/>
                <a:gd name="T102" fmla="*/ 0 w 3289"/>
                <a:gd name="T103" fmla="*/ 2452 h 2452"/>
                <a:gd name="T104" fmla="*/ 49 w 3289"/>
                <a:gd name="T105" fmla="*/ 2035 h 2452"/>
                <a:gd name="T106" fmla="*/ 98 w 3289"/>
                <a:gd name="T107" fmla="*/ 1608 h 2452"/>
                <a:gd name="T108" fmla="*/ 126 w 3289"/>
                <a:gd name="T109" fmla="*/ 1367 h 2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89" h="2452">
                  <a:moveTo>
                    <a:pt x="126" y="1367"/>
                  </a:moveTo>
                  <a:cubicBezTo>
                    <a:pt x="129" y="1336"/>
                    <a:pt x="129" y="1336"/>
                    <a:pt x="129" y="1336"/>
                  </a:cubicBezTo>
                  <a:cubicBezTo>
                    <a:pt x="131" y="1321"/>
                    <a:pt x="131" y="1321"/>
                    <a:pt x="131" y="1321"/>
                  </a:cubicBezTo>
                  <a:cubicBezTo>
                    <a:pt x="132" y="1313"/>
                    <a:pt x="132" y="1313"/>
                    <a:pt x="132" y="1313"/>
                  </a:cubicBezTo>
                  <a:cubicBezTo>
                    <a:pt x="133" y="1309"/>
                    <a:pt x="133" y="1309"/>
                    <a:pt x="133" y="1309"/>
                  </a:cubicBezTo>
                  <a:cubicBezTo>
                    <a:pt x="133" y="1308"/>
                    <a:pt x="133" y="1308"/>
                    <a:pt x="133" y="1308"/>
                  </a:cubicBezTo>
                  <a:cubicBezTo>
                    <a:pt x="133" y="1269"/>
                    <a:pt x="133" y="1297"/>
                    <a:pt x="133" y="1288"/>
                  </a:cubicBezTo>
                  <a:cubicBezTo>
                    <a:pt x="133" y="1286"/>
                    <a:pt x="133" y="1286"/>
                    <a:pt x="133" y="1286"/>
                  </a:cubicBezTo>
                  <a:cubicBezTo>
                    <a:pt x="143" y="1220"/>
                    <a:pt x="143" y="1220"/>
                    <a:pt x="143" y="1220"/>
                  </a:cubicBezTo>
                  <a:cubicBezTo>
                    <a:pt x="148" y="1178"/>
                    <a:pt x="153" y="1132"/>
                    <a:pt x="161" y="1093"/>
                  </a:cubicBezTo>
                  <a:cubicBezTo>
                    <a:pt x="170" y="1053"/>
                    <a:pt x="177" y="1018"/>
                    <a:pt x="190" y="975"/>
                  </a:cubicBezTo>
                  <a:cubicBezTo>
                    <a:pt x="209" y="913"/>
                    <a:pt x="209" y="913"/>
                    <a:pt x="209" y="913"/>
                  </a:cubicBezTo>
                  <a:cubicBezTo>
                    <a:pt x="217" y="892"/>
                    <a:pt x="225" y="869"/>
                    <a:pt x="234" y="847"/>
                  </a:cubicBezTo>
                  <a:cubicBezTo>
                    <a:pt x="250" y="805"/>
                    <a:pt x="275" y="756"/>
                    <a:pt x="299" y="712"/>
                  </a:cubicBezTo>
                  <a:cubicBezTo>
                    <a:pt x="353" y="619"/>
                    <a:pt x="424" y="526"/>
                    <a:pt x="515" y="447"/>
                  </a:cubicBezTo>
                  <a:cubicBezTo>
                    <a:pt x="606" y="369"/>
                    <a:pt x="711" y="309"/>
                    <a:pt x="809" y="275"/>
                  </a:cubicBezTo>
                  <a:cubicBezTo>
                    <a:pt x="908" y="239"/>
                    <a:pt x="1001" y="222"/>
                    <a:pt x="1081" y="217"/>
                  </a:cubicBezTo>
                  <a:cubicBezTo>
                    <a:pt x="1141" y="214"/>
                    <a:pt x="1141" y="214"/>
                    <a:pt x="1141" y="214"/>
                  </a:cubicBezTo>
                  <a:cubicBezTo>
                    <a:pt x="1195" y="215"/>
                    <a:pt x="1195" y="215"/>
                    <a:pt x="1195" y="215"/>
                  </a:cubicBezTo>
                  <a:cubicBezTo>
                    <a:pt x="1222" y="215"/>
                    <a:pt x="1222" y="215"/>
                    <a:pt x="1222" y="215"/>
                  </a:cubicBezTo>
                  <a:cubicBezTo>
                    <a:pt x="1230" y="216"/>
                    <a:pt x="1242" y="216"/>
                    <a:pt x="1245" y="217"/>
                  </a:cubicBezTo>
                  <a:cubicBezTo>
                    <a:pt x="1273" y="220"/>
                    <a:pt x="1273" y="220"/>
                    <a:pt x="1273" y="220"/>
                  </a:cubicBezTo>
                  <a:cubicBezTo>
                    <a:pt x="1311" y="224"/>
                    <a:pt x="1348" y="229"/>
                    <a:pt x="1383" y="233"/>
                  </a:cubicBezTo>
                  <a:cubicBezTo>
                    <a:pt x="1455" y="241"/>
                    <a:pt x="1523" y="249"/>
                    <a:pt x="1585" y="256"/>
                  </a:cubicBezTo>
                  <a:cubicBezTo>
                    <a:pt x="1835" y="285"/>
                    <a:pt x="2002" y="304"/>
                    <a:pt x="2002" y="304"/>
                  </a:cubicBezTo>
                  <a:cubicBezTo>
                    <a:pt x="2347" y="344"/>
                    <a:pt x="2616" y="390"/>
                    <a:pt x="2803" y="441"/>
                  </a:cubicBezTo>
                  <a:cubicBezTo>
                    <a:pt x="3289" y="384"/>
                    <a:pt x="3289" y="384"/>
                    <a:pt x="3289" y="384"/>
                  </a:cubicBezTo>
                  <a:cubicBezTo>
                    <a:pt x="2576" y="302"/>
                    <a:pt x="2576" y="302"/>
                    <a:pt x="2576" y="302"/>
                  </a:cubicBezTo>
                  <a:cubicBezTo>
                    <a:pt x="2210" y="260"/>
                    <a:pt x="1908" y="212"/>
                    <a:pt x="1675" y="160"/>
                  </a:cubicBezTo>
                  <a:cubicBezTo>
                    <a:pt x="1558" y="135"/>
                    <a:pt x="1459" y="108"/>
                    <a:pt x="1378" y="80"/>
                  </a:cubicBezTo>
                  <a:cubicBezTo>
                    <a:pt x="1337" y="67"/>
                    <a:pt x="1301" y="53"/>
                    <a:pt x="1269" y="39"/>
                  </a:cubicBezTo>
                  <a:cubicBezTo>
                    <a:pt x="1246" y="28"/>
                    <a:pt x="1246" y="28"/>
                    <a:pt x="1246" y="28"/>
                  </a:cubicBezTo>
                  <a:cubicBezTo>
                    <a:pt x="1241" y="25"/>
                    <a:pt x="1241" y="25"/>
                    <a:pt x="1241" y="25"/>
                  </a:cubicBezTo>
                  <a:cubicBezTo>
                    <a:pt x="1239" y="24"/>
                    <a:pt x="1234" y="24"/>
                    <a:pt x="1230" y="23"/>
                  </a:cubicBezTo>
                  <a:cubicBezTo>
                    <a:pt x="1208" y="18"/>
                    <a:pt x="1208" y="18"/>
                    <a:pt x="1208" y="18"/>
                  </a:cubicBezTo>
                  <a:cubicBezTo>
                    <a:pt x="1126" y="0"/>
                    <a:pt x="1126" y="0"/>
                    <a:pt x="1126" y="0"/>
                  </a:cubicBezTo>
                  <a:cubicBezTo>
                    <a:pt x="1126" y="0"/>
                    <a:pt x="1109" y="2"/>
                    <a:pt x="1076" y="5"/>
                  </a:cubicBezTo>
                  <a:cubicBezTo>
                    <a:pt x="1060" y="8"/>
                    <a:pt x="1040" y="10"/>
                    <a:pt x="1016" y="13"/>
                  </a:cubicBezTo>
                  <a:cubicBezTo>
                    <a:pt x="992" y="17"/>
                    <a:pt x="961" y="23"/>
                    <a:pt x="928" y="31"/>
                  </a:cubicBezTo>
                  <a:cubicBezTo>
                    <a:pt x="896" y="37"/>
                    <a:pt x="856" y="49"/>
                    <a:pt x="813" y="63"/>
                  </a:cubicBezTo>
                  <a:cubicBezTo>
                    <a:pt x="771" y="76"/>
                    <a:pt x="722" y="96"/>
                    <a:pt x="671" y="121"/>
                  </a:cubicBezTo>
                  <a:cubicBezTo>
                    <a:pt x="620" y="144"/>
                    <a:pt x="563" y="179"/>
                    <a:pt x="509" y="217"/>
                  </a:cubicBezTo>
                  <a:cubicBezTo>
                    <a:pt x="453" y="257"/>
                    <a:pt x="397" y="303"/>
                    <a:pt x="346" y="358"/>
                  </a:cubicBezTo>
                  <a:cubicBezTo>
                    <a:pt x="242" y="465"/>
                    <a:pt x="157" y="600"/>
                    <a:pt x="107" y="725"/>
                  </a:cubicBezTo>
                  <a:cubicBezTo>
                    <a:pt x="56" y="851"/>
                    <a:pt x="29" y="973"/>
                    <a:pt x="15" y="1082"/>
                  </a:cubicBezTo>
                  <a:cubicBezTo>
                    <a:pt x="11" y="1111"/>
                    <a:pt x="8" y="1144"/>
                    <a:pt x="6" y="1175"/>
                  </a:cubicBezTo>
                  <a:cubicBezTo>
                    <a:pt x="2" y="1223"/>
                    <a:pt x="2" y="1223"/>
                    <a:pt x="2" y="1223"/>
                  </a:cubicBezTo>
                  <a:cubicBezTo>
                    <a:pt x="2" y="1244"/>
                    <a:pt x="2" y="1244"/>
                    <a:pt x="2" y="1244"/>
                  </a:cubicBezTo>
                  <a:cubicBezTo>
                    <a:pt x="1" y="1266"/>
                    <a:pt x="1" y="1288"/>
                    <a:pt x="0" y="1309"/>
                  </a:cubicBezTo>
                  <a:cubicBezTo>
                    <a:pt x="0" y="1352"/>
                    <a:pt x="0" y="1352"/>
                    <a:pt x="0" y="1352"/>
                  </a:cubicBezTo>
                  <a:cubicBezTo>
                    <a:pt x="0" y="1409"/>
                    <a:pt x="0" y="1467"/>
                    <a:pt x="0" y="1525"/>
                  </a:cubicBezTo>
                  <a:cubicBezTo>
                    <a:pt x="0" y="1988"/>
                    <a:pt x="0" y="2452"/>
                    <a:pt x="0" y="2452"/>
                  </a:cubicBezTo>
                  <a:cubicBezTo>
                    <a:pt x="0" y="2452"/>
                    <a:pt x="20" y="2285"/>
                    <a:pt x="49" y="2035"/>
                  </a:cubicBezTo>
                  <a:cubicBezTo>
                    <a:pt x="63" y="1910"/>
                    <a:pt x="80" y="1764"/>
                    <a:pt x="98" y="1608"/>
                  </a:cubicBezTo>
                  <a:cubicBezTo>
                    <a:pt x="107" y="1530"/>
                    <a:pt x="116" y="1449"/>
                    <a:pt x="126" y="136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35">
              <a:extLst>
                <a:ext uri="{FF2B5EF4-FFF2-40B4-BE49-F238E27FC236}">
                  <a16:creationId xmlns:a16="http://schemas.microsoft.com/office/drawing/2014/main" id="{BAE428C3-C129-4BA0-8A17-CCC57B90FC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36">
              <a:extLst>
                <a:ext uri="{FF2B5EF4-FFF2-40B4-BE49-F238E27FC236}">
                  <a16:creationId xmlns:a16="http://schemas.microsoft.com/office/drawing/2014/main" id="{95003A07-1397-4281-BEB4-E60CB74DC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0" cy="0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0 h 6"/>
                <a:gd name="T4" fmla="*/ 6 w 12"/>
                <a:gd name="T5" fmla="*/ 3 h 6"/>
                <a:gd name="T6" fmla="*/ 10 w 12"/>
                <a:gd name="T7" fmla="*/ 1 h 6"/>
                <a:gd name="T8" fmla="*/ 11 w 12"/>
                <a:gd name="T9" fmla="*/ 1 h 6"/>
                <a:gd name="T10" fmla="*/ 12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6"/>
                    <a:pt x="6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3CBACC15-FAF3-44B6-AED0-CA2EADC38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0" y="3368"/>
              <a:ext cx="347" cy="212"/>
            </a:xfrm>
            <a:custGeom>
              <a:avLst/>
              <a:gdLst>
                <a:gd name="T0" fmla="*/ 186 w 8793"/>
                <a:gd name="T1" fmla="*/ 5251 h 5367"/>
                <a:gd name="T2" fmla="*/ 670 w 8793"/>
                <a:gd name="T3" fmla="*/ 4930 h 5367"/>
                <a:gd name="T4" fmla="*/ 987 w 8793"/>
                <a:gd name="T5" fmla="*/ 4704 h 5367"/>
                <a:gd name="T6" fmla="*/ 1343 w 8793"/>
                <a:gd name="T7" fmla="*/ 4443 h 5367"/>
                <a:gd name="T8" fmla="*/ 2115 w 8793"/>
                <a:gd name="T9" fmla="*/ 3875 h 5367"/>
                <a:gd name="T10" fmla="*/ 4219 w 8793"/>
                <a:gd name="T11" fmla="*/ 2328 h 5367"/>
                <a:gd name="T12" fmla="*/ 5571 w 8793"/>
                <a:gd name="T13" fmla="*/ 1629 h 5367"/>
                <a:gd name="T14" fmla="*/ 5567 w 8793"/>
                <a:gd name="T15" fmla="*/ 1811 h 5367"/>
                <a:gd name="T16" fmla="*/ 6235 w 8793"/>
                <a:gd name="T17" fmla="*/ 1190 h 5367"/>
                <a:gd name="T18" fmla="*/ 6694 w 8793"/>
                <a:gd name="T19" fmla="*/ 763 h 5367"/>
                <a:gd name="T20" fmla="*/ 6780 w 8793"/>
                <a:gd name="T21" fmla="*/ 683 h 5367"/>
                <a:gd name="T22" fmla="*/ 6815 w 8793"/>
                <a:gd name="T23" fmla="*/ 650 h 5367"/>
                <a:gd name="T24" fmla="*/ 6863 w 8793"/>
                <a:gd name="T25" fmla="*/ 604 h 5367"/>
                <a:gd name="T26" fmla="*/ 6909 w 8793"/>
                <a:gd name="T27" fmla="*/ 559 h 5367"/>
                <a:gd name="T28" fmla="*/ 6963 w 8793"/>
                <a:gd name="T29" fmla="*/ 492 h 5367"/>
                <a:gd name="T30" fmla="*/ 7020 w 8793"/>
                <a:gd name="T31" fmla="*/ 423 h 5367"/>
                <a:gd name="T32" fmla="*/ 7075 w 8793"/>
                <a:gd name="T33" fmla="*/ 359 h 5367"/>
                <a:gd name="T34" fmla="*/ 7079 w 8793"/>
                <a:gd name="T35" fmla="*/ 343 h 5367"/>
                <a:gd name="T36" fmla="*/ 7079 w 8793"/>
                <a:gd name="T37" fmla="*/ 343 h 5367"/>
                <a:gd name="T38" fmla="*/ 7079 w 8793"/>
                <a:gd name="T39" fmla="*/ 343 h 5367"/>
                <a:gd name="T40" fmla="*/ 7067 w 8793"/>
                <a:gd name="T41" fmla="*/ 348 h 5367"/>
                <a:gd name="T42" fmla="*/ 7069 w 8793"/>
                <a:gd name="T43" fmla="*/ 348 h 5367"/>
                <a:gd name="T44" fmla="*/ 7074 w 8793"/>
                <a:gd name="T45" fmla="*/ 344 h 5367"/>
                <a:gd name="T46" fmla="*/ 7084 w 8793"/>
                <a:gd name="T47" fmla="*/ 338 h 5367"/>
                <a:gd name="T48" fmla="*/ 7088 w 8793"/>
                <a:gd name="T49" fmla="*/ 335 h 5367"/>
                <a:gd name="T50" fmla="*/ 7086 w 8793"/>
                <a:gd name="T51" fmla="*/ 335 h 5367"/>
                <a:gd name="T52" fmla="*/ 7082 w 8793"/>
                <a:gd name="T53" fmla="*/ 336 h 5367"/>
                <a:gd name="T54" fmla="*/ 7084 w 8793"/>
                <a:gd name="T55" fmla="*/ 329 h 5367"/>
                <a:gd name="T56" fmla="*/ 7114 w 8793"/>
                <a:gd name="T57" fmla="*/ 297 h 5367"/>
                <a:gd name="T58" fmla="*/ 7128 w 8793"/>
                <a:gd name="T59" fmla="*/ 289 h 5367"/>
                <a:gd name="T60" fmla="*/ 7137 w 8793"/>
                <a:gd name="T61" fmla="*/ 286 h 5367"/>
                <a:gd name="T62" fmla="*/ 7141 w 8793"/>
                <a:gd name="T63" fmla="*/ 284 h 5367"/>
                <a:gd name="T64" fmla="*/ 7156 w 8793"/>
                <a:gd name="T65" fmla="*/ 282 h 5367"/>
                <a:gd name="T66" fmla="*/ 7272 w 8793"/>
                <a:gd name="T67" fmla="*/ 269 h 5367"/>
                <a:gd name="T68" fmla="*/ 7511 w 8793"/>
                <a:gd name="T69" fmla="*/ 241 h 5367"/>
                <a:gd name="T70" fmla="*/ 8788 w 8793"/>
                <a:gd name="T71" fmla="*/ 94 h 5367"/>
                <a:gd name="T72" fmla="*/ 8793 w 8793"/>
                <a:gd name="T73" fmla="*/ 71 h 5367"/>
                <a:gd name="T74" fmla="*/ 8743 w 8793"/>
                <a:gd name="T75" fmla="*/ 0 h 5367"/>
                <a:gd name="T76" fmla="*/ 7920 w 8793"/>
                <a:gd name="T77" fmla="*/ 35 h 5367"/>
                <a:gd name="T78" fmla="*/ 7484 w 8793"/>
                <a:gd name="T79" fmla="*/ 44 h 5367"/>
                <a:gd name="T80" fmla="*/ 7261 w 8793"/>
                <a:gd name="T81" fmla="*/ 46 h 5367"/>
                <a:gd name="T82" fmla="*/ 7149 w 8793"/>
                <a:gd name="T83" fmla="*/ 46 h 5367"/>
                <a:gd name="T84" fmla="*/ 7086 w 8793"/>
                <a:gd name="T85" fmla="*/ 49 h 5367"/>
                <a:gd name="T86" fmla="*/ 6999 w 8793"/>
                <a:gd name="T87" fmla="*/ 68 h 5367"/>
                <a:gd name="T88" fmla="*/ 6965 w 8793"/>
                <a:gd name="T89" fmla="*/ 80 h 5367"/>
                <a:gd name="T90" fmla="*/ 6948 w 8793"/>
                <a:gd name="T91" fmla="*/ 88 h 5367"/>
                <a:gd name="T92" fmla="*/ 6947 w 8793"/>
                <a:gd name="T93" fmla="*/ 88 h 5367"/>
                <a:gd name="T94" fmla="*/ 6944 w 8793"/>
                <a:gd name="T95" fmla="*/ 90 h 5367"/>
                <a:gd name="T96" fmla="*/ 6925 w 8793"/>
                <a:gd name="T97" fmla="*/ 100 h 5367"/>
                <a:gd name="T98" fmla="*/ 6705 w 8793"/>
                <a:gd name="T99" fmla="*/ 269 h 5367"/>
                <a:gd name="T100" fmla="*/ 6177 w 8793"/>
                <a:gd name="T101" fmla="*/ 731 h 5367"/>
                <a:gd name="T102" fmla="*/ 5216 w 8793"/>
                <a:gd name="T103" fmla="*/ 1495 h 5367"/>
                <a:gd name="T104" fmla="*/ 1606 w 8793"/>
                <a:gd name="T105" fmla="*/ 4150 h 5367"/>
                <a:gd name="T106" fmla="*/ 675 w 8793"/>
                <a:gd name="T107" fmla="*/ 4689 h 5367"/>
                <a:gd name="T108" fmla="*/ 12 w 8793"/>
                <a:gd name="T109" fmla="*/ 5355 h 5367"/>
                <a:gd name="T110" fmla="*/ 0 w 8793"/>
                <a:gd name="T111" fmla="*/ 5367 h 5367"/>
                <a:gd name="T112" fmla="*/ 49 w 8793"/>
                <a:gd name="T113" fmla="*/ 5337 h 5367"/>
                <a:gd name="T114" fmla="*/ 186 w 8793"/>
                <a:gd name="T115" fmla="*/ 5251 h 5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93" h="5367">
                  <a:moveTo>
                    <a:pt x="186" y="5251"/>
                  </a:moveTo>
                  <a:cubicBezTo>
                    <a:pt x="304" y="5176"/>
                    <a:pt x="472" y="5068"/>
                    <a:pt x="670" y="4930"/>
                  </a:cubicBezTo>
                  <a:cubicBezTo>
                    <a:pt x="770" y="4862"/>
                    <a:pt x="874" y="4785"/>
                    <a:pt x="987" y="4704"/>
                  </a:cubicBezTo>
                  <a:cubicBezTo>
                    <a:pt x="1100" y="4621"/>
                    <a:pt x="1219" y="4533"/>
                    <a:pt x="1343" y="4443"/>
                  </a:cubicBezTo>
                  <a:cubicBezTo>
                    <a:pt x="1589" y="4261"/>
                    <a:pt x="1852" y="4068"/>
                    <a:pt x="2115" y="3875"/>
                  </a:cubicBezTo>
                  <a:cubicBezTo>
                    <a:pt x="3167" y="3101"/>
                    <a:pt x="4219" y="2328"/>
                    <a:pt x="4219" y="2328"/>
                  </a:cubicBezTo>
                  <a:cubicBezTo>
                    <a:pt x="4986" y="1764"/>
                    <a:pt x="5466" y="1516"/>
                    <a:pt x="5571" y="1629"/>
                  </a:cubicBezTo>
                  <a:cubicBezTo>
                    <a:pt x="5602" y="1662"/>
                    <a:pt x="5600" y="1723"/>
                    <a:pt x="5567" y="1811"/>
                  </a:cubicBezTo>
                  <a:cubicBezTo>
                    <a:pt x="5567" y="1811"/>
                    <a:pt x="5901" y="1501"/>
                    <a:pt x="6235" y="1190"/>
                  </a:cubicBezTo>
                  <a:cubicBezTo>
                    <a:pt x="6402" y="1035"/>
                    <a:pt x="6569" y="879"/>
                    <a:pt x="6694" y="763"/>
                  </a:cubicBezTo>
                  <a:cubicBezTo>
                    <a:pt x="6726" y="734"/>
                    <a:pt x="6754" y="707"/>
                    <a:pt x="6780" y="683"/>
                  </a:cubicBezTo>
                  <a:cubicBezTo>
                    <a:pt x="6792" y="672"/>
                    <a:pt x="6804" y="661"/>
                    <a:pt x="6815" y="650"/>
                  </a:cubicBezTo>
                  <a:cubicBezTo>
                    <a:pt x="6833" y="633"/>
                    <a:pt x="6849" y="618"/>
                    <a:pt x="6863" y="604"/>
                  </a:cubicBezTo>
                  <a:cubicBezTo>
                    <a:pt x="6892" y="576"/>
                    <a:pt x="6909" y="559"/>
                    <a:pt x="6909" y="559"/>
                  </a:cubicBezTo>
                  <a:cubicBezTo>
                    <a:pt x="6909" y="559"/>
                    <a:pt x="6929" y="535"/>
                    <a:pt x="6963" y="492"/>
                  </a:cubicBezTo>
                  <a:cubicBezTo>
                    <a:pt x="6979" y="473"/>
                    <a:pt x="6998" y="450"/>
                    <a:pt x="7020" y="423"/>
                  </a:cubicBezTo>
                  <a:cubicBezTo>
                    <a:pt x="7041" y="400"/>
                    <a:pt x="7063" y="375"/>
                    <a:pt x="7075" y="359"/>
                  </a:cubicBezTo>
                  <a:cubicBezTo>
                    <a:pt x="7081" y="350"/>
                    <a:pt x="7085" y="344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4" y="345"/>
                    <a:pt x="7090" y="337"/>
                    <a:pt x="7067" y="348"/>
                  </a:cubicBezTo>
                  <a:cubicBezTo>
                    <a:pt x="7069" y="348"/>
                    <a:pt x="7069" y="348"/>
                    <a:pt x="7069" y="348"/>
                  </a:cubicBezTo>
                  <a:cubicBezTo>
                    <a:pt x="7074" y="344"/>
                    <a:pt x="7074" y="344"/>
                    <a:pt x="7074" y="344"/>
                  </a:cubicBezTo>
                  <a:cubicBezTo>
                    <a:pt x="7084" y="338"/>
                    <a:pt x="7084" y="338"/>
                    <a:pt x="7084" y="338"/>
                  </a:cubicBezTo>
                  <a:cubicBezTo>
                    <a:pt x="7085" y="337"/>
                    <a:pt x="7089" y="335"/>
                    <a:pt x="7088" y="335"/>
                  </a:cubicBezTo>
                  <a:cubicBezTo>
                    <a:pt x="7086" y="335"/>
                    <a:pt x="7086" y="335"/>
                    <a:pt x="7086" y="335"/>
                  </a:cubicBezTo>
                  <a:cubicBezTo>
                    <a:pt x="7082" y="336"/>
                    <a:pt x="7082" y="336"/>
                    <a:pt x="7082" y="336"/>
                  </a:cubicBezTo>
                  <a:cubicBezTo>
                    <a:pt x="7079" y="335"/>
                    <a:pt x="7083" y="331"/>
                    <a:pt x="7084" y="329"/>
                  </a:cubicBezTo>
                  <a:cubicBezTo>
                    <a:pt x="7089" y="318"/>
                    <a:pt x="7098" y="307"/>
                    <a:pt x="7114" y="297"/>
                  </a:cubicBezTo>
                  <a:cubicBezTo>
                    <a:pt x="7119" y="294"/>
                    <a:pt x="7123" y="292"/>
                    <a:pt x="7128" y="289"/>
                  </a:cubicBezTo>
                  <a:cubicBezTo>
                    <a:pt x="7131" y="288"/>
                    <a:pt x="7134" y="287"/>
                    <a:pt x="7137" y="286"/>
                  </a:cubicBezTo>
                  <a:cubicBezTo>
                    <a:pt x="7141" y="284"/>
                    <a:pt x="7141" y="284"/>
                    <a:pt x="7141" y="284"/>
                  </a:cubicBezTo>
                  <a:cubicBezTo>
                    <a:pt x="7156" y="282"/>
                    <a:pt x="7156" y="282"/>
                    <a:pt x="7156" y="282"/>
                  </a:cubicBezTo>
                  <a:cubicBezTo>
                    <a:pt x="7194" y="278"/>
                    <a:pt x="7233" y="273"/>
                    <a:pt x="7272" y="269"/>
                  </a:cubicBezTo>
                  <a:cubicBezTo>
                    <a:pt x="7351" y="260"/>
                    <a:pt x="7431" y="251"/>
                    <a:pt x="7511" y="241"/>
                  </a:cubicBezTo>
                  <a:cubicBezTo>
                    <a:pt x="8149" y="167"/>
                    <a:pt x="8788" y="94"/>
                    <a:pt x="8788" y="94"/>
                  </a:cubicBezTo>
                  <a:cubicBezTo>
                    <a:pt x="8791" y="86"/>
                    <a:pt x="8793" y="78"/>
                    <a:pt x="8793" y="71"/>
                  </a:cubicBezTo>
                  <a:cubicBezTo>
                    <a:pt x="8793" y="46"/>
                    <a:pt x="8776" y="23"/>
                    <a:pt x="8743" y="0"/>
                  </a:cubicBezTo>
                  <a:cubicBezTo>
                    <a:pt x="8482" y="15"/>
                    <a:pt x="8206" y="27"/>
                    <a:pt x="7920" y="35"/>
                  </a:cubicBezTo>
                  <a:cubicBezTo>
                    <a:pt x="7775" y="38"/>
                    <a:pt x="7630" y="41"/>
                    <a:pt x="7484" y="44"/>
                  </a:cubicBezTo>
                  <a:cubicBezTo>
                    <a:pt x="7410" y="44"/>
                    <a:pt x="7336" y="45"/>
                    <a:pt x="7261" y="46"/>
                  </a:cubicBezTo>
                  <a:cubicBezTo>
                    <a:pt x="7149" y="46"/>
                    <a:pt x="7149" y="46"/>
                    <a:pt x="7149" y="46"/>
                  </a:cubicBezTo>
                  <a:cubicBezTo>
                    <a:pt x="7121" y="47"/>
                    <a:pt x="7107" y="47"/>
                    <a:pt x="7086" y="49"/>
                  </a:cubicBezTo>
                  <a:cubicBezTo>
                    <a:pt x="7055" y="53"/>
                    <a:pt x="7026" y="59"/>
                    <a:pt x="6999" y="68"/>
                  </a:cubicBezTo>
                  <a:cubicBezTo>
                    <a:pt x="6987" y="71"/>
                    <a:pt x="6969" y="79"/>
                    <a:pt x="6965" y="80"/>
                  </a:cubicBezTo>
                  <a:cubicBezTo>
                    <a:pt x="6948" y="88"/>
                    <a:pt x="6948" y="88"/>
                    <a:pt x="6948" y="88"/>
                  </a:cubicBezTo>
                  <a:cubicBezTo>
                    <a:pt x="6947" y="88"/>
                    <a:pt x="6947" y="88"/>
                    <a:pt x="6947" y="88"/>
                  </a:cubicBezTo>
                  <a:cubicBezTo>
                    <a:pt x="6944" y="90"/>
                    <a:pt x="6944" y="90"/>
                    <a:pt x="6944" y="90"/>
                  </a:cubicBezTo>
                  <a:cubicBezTo>
                    <a:pt x="6925" y="100"/>
                    <a:pt x="6925" y="100"/>
                    <a:pt x="6925" y="100"/>
                  </a:cubicBezTo>
                  <a:cubicBezTo>
                    <a:pt x="6867" y="134"/>
                    <a:pt x="6783" y="200"/>
                    <a:pt x="6705" y="269"/>
                  </a:cubicBezTo>
                  <a:cubicBezTo>
                    <a:pt x="6530" y="433"/>
                    <a:pt x="6348" y="585"/>
                    <a:pt x="6177" y="731"/>
                  </a:cubicBezTo>
                  <a:cubicBezTo>
                    <a:pt x="5831" y="1023"/>
                    <a:pt x="5505" y="1283"/>
                    <a:pt x="5216" y="1495"/>
                  </a:cubicBezTo>
                  <a:cubicBezTo>
                    <a:pt x="1606" y="4150"/>
                    <a:pt x="1606" y="4150"/>
                    <a:pt x="1606" y="4150"/>
                  </a:cubicBezTo>
                  <a:cubicBezTo>
                    <a:pt x="1148" y="4487"/>
                    <a:pt x="824" y="4676"/>
                    <a:pt x="675" y="4689"/>
                  </a:cubicBezTo>
                  <a:cubicBezTo>
                    <a:pt x="436" y="4933"/>
                    <a:pt x="211" y="5156"/>
                    <a:pt x="12" y="5355"/>
                  </a:cubicBezTo>
                  <a:cubicBezTo>
                    <a:pt x="0" y="5367"/>
                    <a:pt x="0" y="5367"/>
                    <a:pt x="0" y="5367"/>
                  </a:cubicBezTo>
                  <a:cubicBezTo>
                    <a:pt x="0" y="5367"/>
                    <a:pt x="17" y="5357"/>
                    <a:pt x="49" y="5337"/>
                  </a:cubicBezTo>
                  <a:cubicBezTo>
                    <a:pt x="81" y="5318"/>
                    <a:pt x="128" y="5289"/>
                    <a:pt x="186" y="525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BD6252E1-7579-4A60-A07C-9D2DDB6BC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5" y="3961"/>
              <a:ext cx="2" cy="2"/>
            </a:xfrm>
            <a:custGeom>
              <a:avLst/>
              <a:gdLst>
                <a:gd name="T0" fmla="*/ 18 w 50"/>
                <a:gd name="T1" fmla="*/ 13 h 37"/>
                <a:gd name="T2" fmla="*/ 50 w 50"/>
                <a:gd name="T3" fmla="*/ 37 h 37"/>
                <a:gd name="T4" fmla="*/ 0 w 50"/>
                <a:gd name="T5" fmla="*/ 0 h 37"/>
                <a:gd name="T6" fmla="*/ 18 w 50"/>
                <a:gd name="T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37">
                  <a:moveTo>
                    <a:pt x="18" y="13"/>
                  </a:moveTo>
                  <a:cubicBezTo>
                    <a:pt x="29" y="22"/>
                    <a:pt x="39" y="29"/>
                    <a:pt x="50" y="37"/>
                  </a:cubicBezTo>
                  <a:cubicBezTo>
                    <a:pt x="34" y="25"/>
                    <a:pt x="17" y="13"/>
                    <a:pt x="0" y="0"/>
                  </a:cubicBezTo>
                  <a:cubicBezTo>
                    <a:pt x="6" y="4"/>
                    <a:pt x="12" y="9"/>
                    <a:pt x="18" y="1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39">
              <a:extLst>
                <a:ext uri="{FF2B5EF4-FFF2-40B4-BE49-F238E27FC236}">
                  <a16:creationId xmlns:a16="http://schemas.microsoft.com/office/drawing/2014/main" id="{1C7CA322-8A18-488C-86D0-9276E8744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4" y="3339"/>
              <a:ext cx="460" cy="268"/>
            </a:xfrm>
            <a:custGeom>
              <a:avLst/>
              <a:gdLst>
                <a:gd name="T0" fmla="*/ 110 w 11644"/>
                <a:gd name="T1" fmla="*/ 996 h 6808"/>
                <a:gd name="T2" fmla="*/ 94 w 11644"/>
                <a:gd name="T3" fmla="*/ 859 h 6808"/>
                <a:gd name="T4" fmla="*/ 92 w 11644"/>
                <a:gd name="T5" fmla="*/ 842 h 6808"/>
                <a:gd name="T6" fmla="*/ 92 w 11644"/>
                <a:gd name="T7" fmla="*/ 850 h 6808"/>
                <a:gd name="T8" fmla="*/ 89 w 11644"/>
                <a:gd name="T9" fmla="*/ 825 h 6808"/>
                <a:gd name="T10" fmla="*/ 83 w 11644"/>
                <a:gd name="T11" fmla="*/ 769 h 6808"/>
                <a:gd name="T12" fmla="*/ 78 w 11644"/>
                <a:gd name="T13" fmla="*/ 682 h 6808"/>
                <a:gd name="T14" fmla="*/ 82 w 11644"/>
                <a:gd name="T15" fmla="*/ 647 h 6808"/>
                <a:gd name="T16" fmla="*/ 154 w 11644"/>
                <a:gd name="T17" fmla="*/ 623 h 6808"/>
                <a:gd name="T18" fmla="*/ 256 w 11644"/>
                <a:gd name="T19" fmla="*/ 611 h 6808"/>
                <a:gd name="T20" fmla="*/ 1931 w 11644"/>
                <a:gd name="T21" fmla="*/ 479 h 6808"/>
                <a:gd name="T22" fmla="*/ 3351 w 11644"/>
                <a:gd name="T23" fmla="*/ 438 h 6808"/>
                <a:gd name="T24" fmla="*/ 3847 w 11644"/>
                <a:gd name="T25" fmla="*/ 439 h 6808"/>
                <a:gd name="T26" fmla="*/ 6323 w 11644"/>
                <a:gd name="T27" fmla="*/ 1344 h 6808"/>
                <a:gd name="T28" fmla="*/ 6585 w 11644"/>
                <a:gd name="T29" fmla="*/ 1612 h 6808"/>
                <a:gd name="T30" fmla="*/ 6824 w 11644"/>
                <a:gd name="T31" fmla="*/ 1899 h 6808"/>
                <a:gd name="T32" fmla="*/ 10569 w 11644"/>
                <a:gd name="T33" fmla="*/ 6126 h 6808"/>
                <a:gd name="T34" fmla="*/ 11095 w 11644"/>
                <a:gd name="T35" fmla="*/ 6599 h 6808"/>
                <a:gd name="T36" fmla="*/ 11343 w 11644"/>
                <a:gd name="T37" fmla="*/ 6808 h 6808"/>
                <a:gd name="T38" fmla="*/ 11644 w 11644"/>
                <a:gd name="T39" fmla="*/ 6650 h 6808"/>
                <a:gd name="T40" fmla="*/ 11156 w 11644"/>
                <a:gd name="T41" fmla="*/ 6131 h 6808"/>
                <a:gd name="T42" fmla="*/ 10842 w 11644"/>
                <a:gd name="T43" fmla="*/ 5770 h 6808"/>
                <a:gd name="T44" fmla="*/ 9447 w 11644"/>
                <a:gd name="T45" fmla="*/ 4480 h 6808"/>
                <a:gd name="T46" fmla="*/ 6844 w 11644"/>
                <a:gd name="T47" fmla="*/ 1789 h 6808"/>
                <a:gd name="T48" fmla="*/ 6696 w 11644"/>
                <a:gd name="T49" fmla="*/ 1608 h 6808"/>
                <a:gd name="T50" fmla="*/ 5963 w 11644"/>
                <a:gd name="T51" fmla="*/ 908 h 6808"/>
                <a:gd name="T52" fmla="*/ 4392 w 11644"/>
                <a:gd name="T53" fmla="*/ 213 h 6808"/>
                <a:gd name="T54" fmla="*/ 3991 w 11644"/>
                <a:gd name="T55" fmla="*/ 134 h 6808"/>
                <a:gd name="T56" fmla="*/ 3807 w 11644"/>
                <a:gd name="T57" fmla="*/ 106 h 6808"/>
                <a:gd name="T58" fmla="*/ 3680 w 11644"/>
                <a:gd name="T59" fmla="*/ 89 h 6808"/>
                <a:gd name="T60" fmla="*/ 3654 w 11644"/>
                <a:gd name="T61" fmla="*/ 85 h 6808"/>
                <a:gd name="T62" fmla="*/ 3647 w 11644"/>
                <a:gd name="T63" fmla="*/ 85 h 6808"/>
                <a:gd name="T64" fmla="*/ 3634 w 11644"/>
                <a:gd name="T65" fmla="*/ 83 h 6808"/>
                <a:gd name="T66" fmla="*/ 1935 w 11644"/>
                <a:gd name="T67" fmla="*/ 55 h 6808"/>
                <a:gd name="T68" fmla="*/ 912 w 11644"/>
                <a:gd name="T69" fmla="*/ 455 h 6808"/>
                <a:gd name="T70" fmla="*/ 176 w 11644"/>
                <a:gd name="T71" fmla="*/ 540 h 6808"/>
                <a:gd name="T72" fmla="*/ 112 w 11644"/>
                <a:gd name="T73" fmla="*/ 551 h 6808"/>
                <a:gd name="T74" fmla="*/ 24 w 11644"/>
                <a:gd name="T75" fmla="*/ 601 h 6808"/>
                <a:gd name="T76" fmla="*/ 3 w 11644"/>
                <a:gd name="T77" fmla="*/ 758 h 6808"/>
                <a:gd name="T78" fmla="*/ 350 w 11644"/>
                <a:gd name="T79" fmla="*/ 3768 h 6808"/>
                <a:gd name="T80" fmla="*/ 478 w 11644"/>
                <a:gd name="T81" fmla="*/ 6515 h 6808"/>
                <a:gd name="T82" fmla="*/ 522 w 11644"/>
                <a:gd name="T83" fmla="*/ 4558 h 6808"/>
                <a:gd name="T84" fmla="*/ 155 w 11644"/>
                <a:gd name="T85" fmla="*/ 1388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44" h="6808">
                  <a:moveTo>
                    <a:pt x="155" y="1388"/>
                  </a:moveTo>
                  <a:cubicBezTo>
                    <a:pt x="139" y="1252"/>
                    <a:pt x="124" y="1121"/>
                    <a:pt x="110" y="996"/>
                  </a:cubicBezTo>
                  <a:cubicBezTo>
                    <a:pt x="106" y="965"/>
                    <a:pt x="103" y="934"/>
                    <a:pt x="99" y="904"/>
                  </a:cubicBezTo>
                  <a:cubicBezTo>
                    <a:pt x="97" y="889"/>
                    <a:pt x="96" y="874"/>
                    <a:pt x="94" y="859"/>
                  </a:cubicBezTo>
                  <a:cubicBezTo>
                    <a:pt x="93" y="848"/>
                    <a:pt x="93" y="848"/>
                    <a:pt x="93" y="848"/>
                  </a:cubicBezTo>
                  <a:cubicBezTo>
                    <a:pt x="92" y="842"/>
                    <a:pt x="92" y="842"/>
                    <a:pt x="92" y="842"/>
                  </a:cubicBezTo>
                  <a:cubicBezTo>
                    <a:pt x="92" y="841"/>
                    <a:pt x="92" y="841"/>
                    <a:pt x="92" y="841"/>
                  </a:cubicBezTo>
                  <a:cubicBezTo>
                    <a:pt x="91" y="862"/>
                    <a:pt x="92" y="846"/>
                    <a:pt x="92" y="850"/>
                  </a:cubicBezTo>
                  <a:cubicBezTo>
                    <a:pt x="91" y="847"/>
                    <a:pt x="91" y="847"/>
                    <a:pt x="91" y="847"/>
                  </a:cubicBezTo>
                  <a:cubicBezTo>
                    <a:pt x="89" y="825"/>
                    <a:pt x="89" y="825"/>
                    <a:pt x="89" y="825"/>
                  </a:cubicBezTo>
                  <a:cubicBezTo>
                    <a:pt x="88" y="812"/>
                    <a:pt x="87" y="799"/>
                    <a:pt x="86" y="787"/>
                  </a:cubicBezTo>
                  <a:cubicBezTo>
                    <a:pt x="85" y="781"/>
                    <a:pt x="84" y="775"/>
                    <a:pt x="83" y="769"/>
                  </a:cubicBezTo>
                  <a:cubicBezTo>
                    <a:pt x="82" y="756"/>
                    <a:pt x="80" y="738"/>
                    <a:pt x="80" y="728"/>
                  </a:cubicBezTo>
                  <a:cubicBezTo>
                    <a:pt x="79" y="704"/>
                    <a:pt x="80" y="688"/>
                    <a:pt x="78" y="682"/>
                  </a:cubicBezTo>
                  <a:cubicBezTo>
                    <a:pt x="76" y="676"/>
                    <a:pt x="70" y="674"/>
                    <a:pt x="69" y="668"/>
                  </a:cubicBezTo>
                  <a:cubicBezTo>
                    <a:pt x="66" y="662"/>
                    <a:pt x="73" y="655"/>
                    <a:pt x="82" y="647"/>
                  </a:cubicBezTo>
                  <a:cubicBezTo>
                    <a:pt x="94" y="640"/>
                    <a:pt x="109" y="633"/>
                    <a:pt x="126" y="629"/>
                  </a:cubicBezTo>
                  <a:cubicBezTo>
                    <a:pt x="136" y="627"/>
                    <a:pt x="142" y="624"/>
                    <a:pt x="154" y="623"/>
                  </a:cubicBezTo>
                  <a:cubicBezTo>
                    <a:pt x="168" y="621"/>
                    <a:pt x="181" y="619"/>
                    <a:pt x="193" y="618"/>
                  </a:cubicBezTo>
                  <a:cubicBezTo>
                    <a:pt x="218" y="615"/>
                    <a:pt x="239" y="613"/>
                    <a:pt x="256" y="611"/>
                  </a:cubicBezTo>
                  <a:cubicBezTo>
                    <a:pt x="290" y="607"/>
                    <a:pt x="308" y="605"/>
                    <a:pt x="308" y="605"/>
                  </a:cubicBezTo>
                  <a:cubicBezTo>
                    <a:pt x="781" y="550"/>
                    <a:pt x="1332" y="508"/>
                    <a:pt x="1931" y="479"/>
                  </a:cubicBezTo>
                  <a:cubicBezTo>
                    <a:pt x="2231" y="464"/>
                    <a:pt x="2543" y="454"/>
                    <a:pt x="2864" y="446"/>
                  </a:cubicBezTo>
                  <a:cubicBezTo>
                    <a:pt x="3026" y="443"/>
                    <a:pt x="3188" y="441"/>
                    <a:pt x="3351" y="438"/>
                  </a:cubicBezTo>
                  <a:cubicBezTo>
                    <a:pt x="3434" y="437"/>
                    <a:pt x="3516" y="436"/>
                    <a:pt x="3599" y="436"/>
                  </a:cubicBezTo>
                  <a:cubicBezTo>
                    <a:pt x="3678" y="435"/>
                    <a:pt x="3764" y="438"/>
                    <a:pt x="3847" y="439"/>
                  </a:cubicBezTo>
                  <a:cubicBezTo>
                    <a:pt x="4502" y="458"/>
                    <a:pt x="5138" y="604"/>
                    <a:pt x="5649" y="875"/>
                  </a:cubicBezTo>
                  <a:cubicBezTo>
                    <a:pt x="5906" y="1009"/>
                    <a:pt x="6132" y="1170"/>
                    <a:pt x="6323" y="1344"/>
                  </a:cubicBezTo>
                  <a:cubicBezTo>
                    <a:pt x="6370" y="1389"/>
                    <a:pt x="6417" y="1432"/>
                    <a:pt x="6460" y="1477"/>
                  </a:cubicBezTo>
                  <a:cubicBezTo>
                    <a:pt x="6585" y="1612"/>
                    <a:pt x="6585" y="1612"/>
                    <a:pt x="6585" y="1612"/>
                  </a:cubicBezTo>
                  <a:cubicBezTo>
                    <a:pt x="6696" y="1751"/>
                    <a:pt x="6696" y="1751"/>
                    <a:pt x="6696" y="1751"/>
                  </a:cubicBezTo>
                  <a:cubicBezTo>
                    <a:pt x="6824" y="1899"/>
                    <a:pt x="6824" y="1899"/>
                    <a:pt x="6824" y="1899"/>
                  </a:cubicBezTo>
                  <a:cubicBezTo>
                    <a:pt x="9850" y="5455"/>
                    <a:pt x="9850" y="5455"/>
                    <a:pt x="9850" y="5455"/>
                  </a:cubicBezTo>
                  <a:cubicBezTo>
                    <a:pt x="9850" y="5455"/>
                    <a:pt x="10209" y="5790"/>
                    <a:pt x="10569" y="6126"/>
                  </a:cubicBezTo>
                  <a:cubicBezTo>
                    <a:pt x="10661" y="6211"/>
                    <a:pt x="10753" y="6295"/>
                    <a:pt x="10840" y="6375"/>
                  </a:cubicBezTo>
                  <a:cubicBezTo>
                    <a:pt x="10932" y="6457"/>
                    <a:pt x="11021" y="6536"/>
                    <a:pt x="11095" y="6599"/>
                  </a:cubicBezTo>
                  <a:cubicBezTo>
                    <a:pt x="11169" y="6662"/>
                    <a:pt x="11231" y="6715"/>
                    <a:pt x="11274" y="6752"/>
                  </a:cubicBezTo>
                  <a:cubicBezTo>
                    <a:pt x="11318" y="6788"/>
                    <a:pt x="11343" y="6808"/>
                    <a:pt x="11343" y="6808"/>
                  </a:cubicBezTo>
                  <a:cubicBezTo>
                    <a:pt x="11301" y="6720"/>
                    <a:pt x="11295" y="6656"/>
                    <a:pt x="11324" y="6622"/>
                  </a:cubicBezTo>
                  <a:cubicBezTo>
                    <a:pt x="11364" y="6574"/>
                    <a:pt x="11474" y="6586"/>
                    <a:pt x="11644" y="6650"/>
                  </a:cubicBezTo>
                  <a:cubicBezTo>
                    <a:pt x="11644" y="6650"/>
                    <a:pt x="11582" y="6586"/>
                    <a:pt x="11489" y="6491"/>
                  </a:cubicBezTo>
                  <a:cubicBezTo>
                    <a:pt x="11398" y="6394"/>
                    <a:pt x="11276" y="6265"/>
                    <a:pt x="11156" y="6131"/>
                  </a:cubicBezTo>
                  <a:cubicBezTo>
                    <a:pt x="11095" y="6065"/>
                    <a:pt x="11042" y="6001"/>
                    <a:pt x="10988" y="5940"/>
                  </a:cubicBezTo>
                  <a:cubicBezTo>
                    <a:pt x="10935" y="5877"/>
                    <a:pt x="10885" y="5819"/>
                    <a:pt x="10842" y="5770"/>
                  </a:cubicBezTo>
                  <a:cubicBezTo>
                    <a:pt x="10758" y="5672"/>
                    <a:pt x="10703" y="5606"/>
                    <a:pt x="10703" y="5606"/>
                  </a:cubicBezTo>
                  <a:cubicBezTo>
                    <a:pt x="10297" y="5258"/>
                    <a:pt x="9874" y="4879"/>
                    <a:pt x="9447" y="4480"/>
                  </a:cubicBezTo>
                  <a:cubicBezTo>
                    <a:pt x="8469" y="3568"/>
                    <a:pt x="7590" y="2666"/>
                    <a:pt x="6973" y="1941"/>
                  </a:cubicBezTo>
                  <a:cubicBezTo>
                    <a:pt x="6973" y="1941"/>
                    <a:pt x="6926" y="1886"/>
                    <a:pt x="6844" y="1789"/>
                  </a:cubicBezTo>
                  <a:cubicBezTo>
                    <a:pt x="6821" y="1763"/>
                    <a:pt x="6796" y="1734"/>
                    <a:pt x="6769" y="1702"/>
                  </a:cubicBezTo>
                  <a:cubicBezTo>
                    <a:pt x="6747" y="1673"/>
                    <a:pt x="6722" y="1642"/>
                    <a:pt x="6696" y="1608"/>
                  </a:cubicBezTo>
                  <a:cubicBezTo>
                    <a:pt x="6645" y="1539"/>
                    <a:pt x="6579" y="1470"/>
                    <a:pt x="6510" y="1389"/>
                  </a:cubicBezTo>
                  <a:cubicBezTo>
                    <a:pt x="6365" y="1236"/>
                    <a:pt x="6182" y="1066"/>
                    <a:pt x="5963" y="908"/>
                  </a:cubicBezTo>
                  <a:cubicBezTo>
                    <a:pt x="5744" y="750"/>
                    <a:pt x="5490" y="604"/>
                    <a:pt x="5219" y="486"/>
                  </a:cubicBezTo>
                  <a:cubicBezTo>
                    <a:pt x="4949" y="368"/>
                    <a:pt x="4664" y="278"/>
                    <a:pt x="4392" y="213"/>
                  </a:cubicBezTo>
                  <a:cubicBezTo>
                    <a:pt x="4323" y="198"/>
                    <a:pt x="4255" y="183"/>
                    <a:pt x="4189" y="169"/>
                  </a:cubicBezTo>
                  <a:cubicBezTo>
                    <a:pt x="4123" y="155"/>
                    <a:pt x="4056" y="145"/>
                    <a:pt x="3991" y="134"/>
                  </a:cubicBezTo>
                  <a:cubicBezTo>
                    <a:pt x="3959" y="128"/>
                    <a:pt x="3927" y="123"/>
                    <a:pt x="3896" y="118"/>
                  </a:cubicBezTo>
                  <a:cubicBezTo>
                    <a:pt x="3866" y="114"/>
                    <a:pt x="3836" y="110"/>
                    <a:pt x="3807" y="106"/>
                  </a:cubicBezTo>
                  <a:cubicBezTo>
                    <a:pt x="3778" y="102"/>
                    <a:pt x="3750" y="98"/>
                    <a:pt x="3722" y="94"/>
                  </a:cubicBezTo>
                  <a:cubicBezTo>
                    <a:pt x="3708" y="92"/>
                    <a:pt x="3694" y="91"/>
                    <a:pt x="3680" y="89"/>
                  </a:cubicBezTo>
                  <a:cubicBezTo>
                    <a:pt x="3659" y="86"/>
                    <a:pt x="3659" y="86"/>
                    <a:pt x="3659" y="86"/>
                  </a:cubicBezTo>
                  <a:cubicBezTo>
                    <a:pt x="3654" y="85"/>
                    <a:pt x="3654" y="85"/>
                    <a:pt x="3654" y="85"/>
                  </a:cubicBezTo>
                  <a:cubicBezTo>
                    <a:pt x="3648" y="85"/>
                    <a:pt x="3648" y="85"/>
                    <a:pt x="3648" y="85"/>
                  </a:cubicBezTo>
                  <a:cubicBezTo>
                    <a:pt x="3647" y="85"/>
                    <a:pt x="3647" y="85"/>
                    <a:pt x="3647" y="85"/>
                  </a:cubicBezTo>
                  <a:cubicBezTo>
                    <a:pt x="3644" y="85"/>
                    <a:pt x="3644" y="85"/>
                    <a:pt x="3644" y="85"/>
                  </a:cubicBezTo>
                  <a:cubicBezTo>
                    <a:pt x="3634" y="83"/>
                    <a:pt x="3634" y="83"/>
                    <a:pt x="3634" y="83"/>
                  </a:cubicBezTo>
                  <a:cubicBezTo>
                    <a:pt x="3202" y="33"/>
                    <a:pt x="2913" y="0"/>
                    <a:pt x="2913" y="0"/>
                  </a:cubicBezTo>
                  <a:cubicBezTo>
                    <a:pt x="2571" y="14"/>
                    <a:pt x="2244" y="33"/>
                    <a:pt x="1935" y="55"/>
                  </a:cubicBezTo>
                  <a:cubicBezTo>
                    <a:pt x="1988" y="85"/>
                    <a:pt x="2017" y="115"/>
                    <a:pt x="2017" y="146"/>
                  </a:cubicBezTo>
                  <a:cubicBezTo>
                    <a:pt x="2017" y="263"/>
                    <a:pt x="1624" y="372"/>
                    <a:pt x="912" y="455"/>
                  </a:cubicBezTo>
                  <a:cubicBezTo>
                    <a:pt x="912" y="455"/>
                    <a:pt x="633" y="487"/>
                    <a:pt x="216" y="535"/>
                  </a:cubicBezTo>
                  <a:cubicBezTo>
                    <a:pt x="203" y="537"/>
                    <a:pt x="190" y="538"/>
                    <a:pt x="176" y="540"/>
                  </a:cubicBezTo>
                  <a:cubicBezTo>
                    <a:pt x="164" y="541"/>
                    <a:pt x="148" y="543"/>
                    <a:pt x="140" y="545"/>
                  </a:cubicBezTo>
                  <a:cubicBezTo>
                    <a:pt x="112" y="551"/>
                    <a:pt x="112" y="551"/>
                    <a:pt x="112" y="551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56" y="570"/>
                    <a:pt x="34" y="586"/>
                    <a:pt x="24" y="601"/>
                  </a:cubicBezTo>
                  <a:cubicBezTo>
                    <a:pt x="14" y="616"/>
                    <a:pt x="11" y="630"/>
                    <a:pt x="7" y="655"/>
                  </a:cubicBezTo>
                  <a:cubicBezTo>
                    <a:pt x="3" y="680"/>
                    <a:pt x="0" y="716"/>
                    <a:pt x="3" y="758"/>
                  </a:cubicBezTo>
                  <a:cubicBezTo>
                    <a:pt x="31" y="1009"/>
                    <a:pt x="62" y="1276"/>
                    <a:pt x="93" y="1543"/>
                  </a:cubicBezTo>
                  <a:cubicBezTo>
                    <a:pt x="221" y="2655"/>
                    <a:pt x="350" y="3768"/>
                    <a:pt x="350" y="3768"/>
                  </a:cubicBezTo>
                  <a:cubicBezTo>
                    <a:pt x="433" y="4481"/>
                    <a:pt x="478" y="5429"/>
                    <a:pt x="478" y="6437"/>
                  </a:cubicBezTo>
                  <a:cubicBezTo>
                    <a:pt x="478" y="6463"/>
                    <a:pt x="478" y="6489"/>
                    <a:pt x="478" y="6515"/>
                  </a:cubicBezTo>
                  <a:cubicBezTo>
                    <a:pt x="492" y="6548"/>
                    <a:pt x="507" y="6576"/>
                    <a:pt x="522" y="6599"/>
                  </a:cubicBezTo>
                  <a:cubicBezTo>
                    <a:pt x="522" y="4558"/>
                    <a:pt x="522" y="4558"/>
                    <a:pt x="522" y="4558"/>
                  </a:cubicBezTo>
                  <a:cubicBezTo>
                    <a:pt x="522" y="4558"/>
                    <a:pt x="388" y="3399"/>
                    <a:pt x="254" y="2239"/>
                  </a:cubicBezTo>
                  <a:cubicBezTo>
                    <a:pt x="220" y="1949"/>
                    <a:pt x="187" y="1660"/>
                    <a:pt x="155" y="138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40">
              <a:extLst>
                <a:ext uri="{FF2B5EF4-FFF2-40B4-BE49-F238E27FC236}">
                  <a16:creationId xmlns:a16="http://schemas.microsoft.com/office/drawing/2014/main" id="{F939DBF7-6B26-4169-AD73-8BDA471C38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7" y="3963"/>
              <a:ext cx="1" cy="0"/>
            </a:xfrm>
            <a:custGeom>
              <a:avLst/>
              <a:gdLst>
                <a:gd name="T0" fmla="*/ 12 w 12"/>
                <a:gd name="T1" fmla="*/ 8 h 8"/>
                <a:gd name="T2" fmla="*/ 0 w 12"/>
                <a:gd name="T3" fmla="*/ 0 h 8"/>
                <a:gd name="T4" fmla="*/ 12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8" y="6"/>
                    <a:pt x="4" y="3"/>
                    <a:pt x="0" y="0"/>
                  </a:cubicBezTo>
                  <a:cubicBezTo>
                    <a:pt x="4" y="3"/>
                    <a:pt x="8" y="6"/>
                    <a:pt x="12" y="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9FF9B257-3E0D-4B05-9D59-63602E7635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0" y="3957"/>
              <a:ext cx="5" cy="4"/>
            </a:xfrm>
            <a:custGeom>
              <a:avLst/>
              <a:gdLst>
                <a:gd name="T0" fmla="*/ 125 w 139"/>
                <a:gd name="T1" fmla="*/ 96 h 107"/>
                <a:gd name="T2" fmla="*/ 139 w 139"/>
                <a:gd name="T3" fmla="*/ 107 h 107"/>
                <a:gd name="T4" fmla="*/ 0 w 139"/>
                <a:gd name="T5" fmla="*/ 0 h 107"/>
                <a:gd name="T6" fmla="*/ 125 w 139"/>
                <a:gd name="T7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7">
                  <a:moveTo>
                    <a:pt x="125" y="96"/>
                  </a:moveTo>
                  <a:cubicBezTo>
                    <a:pt x="130" y="100"/>
                    <a:pt x="134" y="103"/>
                    <a:pt x="139" y="107"/>
                  </a:cubicBezTo>
                  <a:cubicBezTo>
                    <a:pt x="96" y="74"/>
                    <a:pt x="50" y="38"/>
                    <a:pt x="0" y="0"/>
                  </a:cubicBezTo>
                  <a:cubicBezTo>
                    <a:pt x="44" y="34"/>
                    <a:pt x="86" y="67"/>
                    <a:pt x="125" y="9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FA4973B2-7758-4BB5-8142-C013D26F2F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2" cy="1"/>
            </a:xfrm>
            <a:custGeom>
              <a:avLst/>
              <a:gdLst>
                <a:gd name="T0" fmla="*/ 5 w 39"/>
                <a:gd name="T1" fmla="*/ 3 h 29"/>
                <a:gd name="T2" fmla="*/ 39 w 39"/>
                <a:gd name="T3" fmla="*/ 29 h 29"/>
                <a:gd name="T4" fmla="*/ 0 w 39"/>
                <a:gd name="T5" fmla="*/ 0 h 29"/>
                <a:gd name="T6" fmla="*/ 5 w 39"/>
                <a:gd name="T7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9">
                  <a:moveTo>
                    <a:pt x="5" y="3"/>
                  </a:moveTo>
                  <a:cubicBezTo>
                    <a:pt x="17" y="12"/>
                    <a:pt x="27" y="21"/>
                    <a:pt x="39" y="29"/>
                  </a:cubicBezTo>
                  <a:cubicBezTo>
                    <a:pt x="26" y="19"/>
                    <a:pt x="13" y="10"/>
                    <a:pt x="0" y="0"/>
                  </a:cubicBezTo>
                  <a:cubicBezTo>
                    <a:pt x="1" y="1"/>
                    <a:pt x="3" y="2"/>
                    <a:pt x="5" y="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C831139D-5137-49FB-A12C-473DCEF2AB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8" y="3963"/>
              <a:ext cx="2" cy="1"/>
            </a:xfrm>
            <a:custGeom>
              <a:avLst/>
              <a:gdLst>
                <a:gd name="T0" fmla="*/ 42 w 42"/>
                <a:gd name="T1" fmla="*/ 31 h 31"/>
                <a:gd name="T2" fmla="*/ 0 w 42"/>
                <a:gd name="T3" fmla="*/ 0 h 31"/>
                <a:gd name="T4" fmla="*/ 42 w 42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1">
                  <a:moveTo>
                    <a:pt x="42" y="31"/>
                  </a:moveTo>
                  <a:cubicBezTo>
                    <a:pt x="28" y="21"/>
                    <a:pt x="14" y="11"/>
                    <a:pt x="0" y="0"/>
                  </a:cubicBezTo>
                  <a:cubicBezTo>
                    <a:pt x="14" y="11"/>
                    <a:pt x="28" y="22"/>
                    <a:pt x="4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44">
              <a:extLst>
                <a:ext uri="{FF2B5EF4-FFF2-40B4-BE49-F238E27FC236}">
                  <a16:creationId xmlns:a16="http://schemas.microsoft.com/office/drawing/2014/main" id="{F39FEAA4-3510-4D6D-9AE6-FFE346500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" y="3737"/>
              <a:ext cx="361" cy="373"/>
            </a:xfrm>
            <a:custGeom>
              <a:avLst/>
              <a:gdLst>
                <a:gd name="T0" fmla="*/ 7988 w 9143"/>
                <a:gd name="T1" fmla="*/ 264 h 9455"/>
                <a:gd name="T2" fmla="*/ 7178 w 9143"/>
                <a:gd name="T3" fmla="*/ 57 h 9455"/>
                <a:gd name="T4" fmla="*/ 6991 w 9143"/>
                <a:gd name="T5" fmla="*/ 32 h 9455"/>
                <a:gd name="T6" fmla="*/ 6922 w 9143"/>
                <a:gd name="T7" fmla="*/ 23 h 9455"/>
                <a:gd name="T8" fmla="*/ 6031 w 9143"/>
                <a:gd name="T9" fmla="*/ 39 h 9455"/>
                <a:gd name="T10" fmla="*/ 4691 w 9143"/>
                <a:gd name="T11" fmla="*/ 605 h 9455"/>
                <a:gd name="T12" fmla="*/ 3937 w 9143"/>
                <a:gd name="T13" fmla="*/ 1885 h 9455"/>
                <a:gd name="T14" fmla="*/ 4022 w 9143"/>
                <a:gd name="T15" fmla="*/ 3659 h 9455"/>
                <a:gd name="T16" fmla="*/ 4189 w 9143"/>
                <a:gd name="T17" fmla="*/ 7697 h 9455"/>
                <a:gd name="T18" fmla="*/ 4183 w 9143"/>
                <a:gd name="T19" fmla="*/ 8064 h 9455"/>
                <a:gd name="T20" fmla="*/ 4180 w 9143"/>
                <a:gd name="T21" fmla="*/ 8175 h 9455"/>
                <a:gd name="T22" fmla="*/ 4171 w 9143"/>
                <a:gd name="T23" fmla="*/ 8311 h 9455"/>
                <a:gd name="T24" fmla="*/ 4123 w 9143"/>
                <a:gd name="T25" fmla="*/ 8555 h 9455"/>
                <a:gd name="T26" fmla="*/ 3899 w 9143"/>
                <a:gd name="T27" fmla="*/ 8975 h 9455"/>
                <a:gd name="T28" fmla="*/ 3461 w 9143"/>
                <a:gd name="T29" fmla="*/ 9277 h 9455"/>
                <a:gd name="T30" fmla="*/ 3244 w 9143"/>
                <a:gd name="T31" fmla="*/ 9332 h 9455"/>
                <a:gd name="T32" fmla="*/ 3059 w 9143"/>
                <a:gd name="T33" fmla="*/ 9345 h 9455"/>
                <a:gd name="T34" fmla="*/ 3014 w 9143"/>
                <a:gd name="T35" fmla="*/ 9345 h 9455"/>
                <a:gd name="T36" fmla="*/ 2929 w 9143"/>
                <a:gd name="T37" fmla="*/ 9341 h 9455"/>
                <a:gd name="T38" fmla="*/ 1956 w 9143"/>
                <a:gd name="T39" fmla="*/ 9282 h 9455"/>
                <a:gd name="T40" fmla="*/ 1373 w 9143"/>
                <a:gd name="T41" fmla="*/ 9230 h 9455"/>
                <a:gd name="T42" fmla="*/ 1271 w 9143"/>
                <a:gd name="T43" fmla="*/ 9219 h 9455"/>
                <a:gd name="T44" fmla="*/ 1262 w 9143"/>
                <a:gd name="T45" fmla="*/ 9218 h 9455"/>
                <a:gd name="T46" fmla="*/ 1249 w 9143"/>
                <a:gd name="T47" fmla="*/ 9217 h 9455"/>
                <a:gd name="T48" fmla="*/ 1182 w 9143"/>
                <a:gd name="T49" fmla="*/ 9209 h 9455"/>
                <a:gd name="T50" fmla="*/ 1021 w 9143"/>
                <a:gd name="T51" fmla="*/ 9186 h 9455"/>
                <a:gd name="T52" fmla="*/ 276 w 9143"/>
                <a:gd name="T53" fmla="*/ 9006 h 9455"/>
                <a:gd name="T54" fmla="*/ 112 w 9143"/>
                <a:gd name="T55" fmla="*/ 8945 h 9455"/>
                <a:gd name="T56" fmla="*/ 0 w 9143"/>
                <a:gd name="T57" fmla="*/ 9015 h 9455"/>
                <a:gd name="T58" fmla="*/ 783 w 9143"/>
                <a:gd name="T59" fmla="*/ 9234 h 9455"/>
                <a:gd name="T60" fmla="*/ 1034 w 9143"/>
                <a:gd name="T61" fmla="*/ 9275 h 9455"/>
                <a:gd name="T62" fmla="*/ 1182 w 9143"/>
                <a:gd name="T63" fmla="*/ 9296 h 9455"/>
                <a:gd name="T64" fmla="*/ 1240 w 9143"/>
                <a:gd name="T65" fmla="*/ 9303 h 9455"/>
                <a:gd name="T66" fmla="*/ 1247 w 9143"/>
                <a:gd name="T67" fmla="*/ 9304 h 9455"/>
                <a:gd name="T68" fmla="*/ 1262 w 9143"/>
                <a:gd name="T69" fmla="*/ 9305 h 9455"/>
                <a:gd name="T70" fmla="*/ 1291 w 9143"/>
                <a:gd name="T71" fmla="*/ 9308 h 9455"/>
                <a:gd name="T72" fmla="*/ 2565 w 9143"/>
                <a:gd name="T73" fmla="*/ 9455 h 9455"/>
                <a:gd name="T74" fmla="*/ 2978 w 9143"/>
                <a:gd name="T75" fmla="*/ 9455 h 9455"/>
                <a:gd name="T76" fmla="*/ 3027 w 9143"/>
                <a:gd name="T77" fmla="*/ 9455 h 9455"/>
                <a:gd name="T78" fmla="*/ 3139 w 9143"/>
                <a:gd name="T79" fmla="*/ 9451 h 9455"/>
                <a:gd name="T80" fmla="*/ 3637 w 9143"/>
                <a:gd name="T81" fmla="*/ 9310 h 9455"/>
                <a:gd name="T82" fmla="*/ 4230 w 9143"/>
                <a:gd name="T83" fmla="*/ 8502 h 9455"/>
                <a:gd name="T84" fmla="*/ 4264 w 9143"/>
                <a:gd name="T85" fmla="*/ 8251 h 9455"/>
                <a:gd name="T86" fmla="*/ 4266 w 9143"/>
                <a:gd name="T87" fmla="*/ 8214 h 9455"/>
                <a:gd name="T88" fmla="*/ 4267 w 9143"/>
                <a:gd name="T89" fmla="*/ 7951 h 9455"/>
                <a:gd name="T90" fmla="*/ 4267 w 9143"/>
                <a:gd name="T91" fmla="*/ 4890 h 9455"/>
                <a:gd name="T92" fmla="*/ 4053 w 9143"/>
                <a:gd name="T93" fmla="*/ 3230 h 9455"/>
                <a:gd name="T94" fmla="*/ 3975 w 9143"/>
                <a:gd name="T95" fmla="*/ 2258 h 9455"/>
                <a:gd name="T96" fmla="*/ 4283 w 9143"/>
                <a:gd name="T97" fmla="*/ 1211 h 9455"/>
                <a:gd name="T98" fmla="*/ 4334 w 9143"/>
                <a:gd name="T99" fmla="*/ 1129 h 9455"/>
                <a:gd name="T100" fmla="*/ 4402 w 9143"/>
                <a:gd name="T101" fmla="*/ 1036 h 9455"/>
                <a:gd name="T102" fmla="*/ 4410 w 9143"/>
                <a:gd name="T103" fmla="*/ 1023 h 9455"/>
                <a:gd name="T104" fmla="*/ 4414 w 9143"/>
                <a:gd name="T105" fmla="*/ 1018 h 9455"/>
                <a:gd name="T106" fmla="*/ 4441 w 9143"/>
                <a:gd name="T107" fmla="*/ 985 h 9455"/>
                <a:gd name="T108" fmla="*/ 4576 w 9143"/>
                <a:gd name="T109" fmla="*/ 827 h 9455"/>
                <a:gd name="T110" fmla="*/ 5939 w 9143"/>
                <a:gd name="T111" fmla="*/ 135 h 9455"/>
                <a:gd name="T112" fmla="*/ 6898 w 9143"/>
                <a:gd name="T113" fmla="*/ 104 h 9455"/>
                <a:gd name="T114" fmla="*/ 6974 w 9143"/>
                <a:gd name="T115" fmla="*/ 110 h 9455"/>
                <a:gd name="T116" fmla="*/ 7326 w 9143"/>
                <a:gd name="T117" fmla="*/ 164 h 9455"/>
                <a:gd name="T118" fmla="*/ 8086 w 9143"/>
                <a:gd name="T119" fmla="*/ 383 h 9455"/>
                <a:gd name="T120" fmla="*/ 9143 w 9143"/>
                <a:gd name="T121" fmla="*/ 849 h 9455"/>
                <a:gd name="T122" fmla="*/ 8165 w 9143"/>
                <a:gd name="T123" fmla="*/ 327 h 9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43" h="9455">
                  <a:moveTo>
                    <a:pt x="8165" y="327"/>
                  </a:moveTo>
                  <a:cubicBezTo>
                    <a:pt x="8165" y="327"/>
                    <a:pt x="8094" y="300"/>
                    <a:pt x="7988" y="264"/>
                  </a:cubicBezTo>
                  <a:cubicBezTo>
                    <a:pt x="7882" y="227"/>
                    <a:pt x="7737" y="181"/>
                    <a:pt x="7587" y="142"/>
                  </a:cubicBezTo>
                  <a:cubicBezTo>
                    <a:pt x="7440" y="104"/>
                    <a:pt x="7290" y="75"/>
                    <a:pt x="7178" y="57"/>
                  </a:cubicBezTo>
                  <a:cubicBezTo>
                    <a:pt x="7122" y="48"/>
                    <a:pt x="7076" y="41"/>
                    <a:pt x="7043" y="38"/>
                  </a:cubicBezTo>
                  <a:cubicBezTo>
                    <a:pt x="7010" y="34"/>
                    <a:pt x="6991" y="32"/>
                    <a:pt x="6991" y="32"/>
                  </a:cubicBezTo>
                  <a:cubicBezTo>
                    <a:pt x="6992" y="30"/>
                    <a:pt x="6992" y="30"/>
                    <a:pt x="6992" y="30"/>
                  </a:cubicBezTo>
                  <a:cubicBezTo>
                    <a:pt x="6992" y="30"/>
                    <a:pt x="6968" y="27"/>
                    <a:pt x="6922" y="23"/>
                  </a:cubicBezTo>
                  <a:cubicBezTo>
                    <a:pt x="6877" y="18"/>
                    <a:pt x="6810" y="13"/>
                    <a:pt x="6725" y="9"/>
                  </a:cubicBezTo>
                  <a:cubicBezTo>
                    <a:pt x="6556" y="1"/>
                    <a:pt x="6314" y="0"/>
                    <a:pt x="6031" y="39"/>
                  </a:cubicBezTo>
                  <a:cubicBezTo>
                    <a:pt x="5749" y="74"/>
                    <a:pt x="5424" y="158"/>
                    <a:pt x="5121" y="315"/>
                  </a:cubicBezTo>
                  <a:cubicBezTo>
                    <a:pt x="4969" y="394"/>
                    <a:pt x="4823" y="491"/>
                    <a:pt x="4691" y="605"/>
                  </a:cubicBezTo>
                  <a:cubicBezTo>
                    <a:pt x="4559" y="717"/>
                    <a:pt x="4437" y="850"/>
                    <a:pt x="4338" y="986"/>
                  </a:cubicBezTo>
                  <a:cubicBezTo>
                    <a:pt x="4125" y="1270"/>
                    <a:pt x="3996" y="1581"/>
                    <a:pt x="3937" y="1885"/>
                  </a:cubicBezTo>
                  <a:cubicBezTo>
                    <a:pt x="3878" y="2188"/>
                    <a:pt x="3884" y="2479"/>
                    <a:pt x="3914" y="2726"/>
                  </a:cubicBezTo>
                  <a:cubicBezTo>
                    <a:pt x="3979" y="3286"/>
                    <a:pt x="4022" y="3659"/>
                    <a:pt x="4022" y="3659"/>
                  </a:cubicBezTo>
                  <a:cubicBezTo>
                    <a:pt x="4131" y="4605"/>
                    <a:pt x="4191" y="5862"/>
                    <a:pt x="4191" y="7200"/>
                  </a:cubicBezTo>
                  <a:cubicBezTo>
                    <a:pt x="4191" y="7367"/>
                    <a:pt x="4190" y="7532"/>
                    <a:pt x="4189" y="7697"/>
                  </a:cubicBezTo>
                  <a:cubicBezTo>
                    <a:pt x="4188" y="7779"/>
                    <a:pt x="4186" y="7861"/>
                    <a:pt x="4185" y="7942"/>
                  </a:cubicBezTo>
                  <a:cubicBezTo>
                    <a:pt x="4183" y="8064"/>
                    <a:pt x="4183" y="8064"/>
                    <a:pt x="4183" y="8064"/>
                  </a:cubicBezTo>
                  <a:cubicBezTo>
                    <a:pt x="4182" y="8124"/>
                    <a:pt x="4182" y="8124"/>
                    <a:pt x="4182" y="8124"/>
                  </a:cubicBezTo>
                  <a:cubicBezTo>
                    <a:pt x="4180" y="8175"/>
                    <a:pt x="4180" y="8175"/>
                    <a:pt x="4180" y="8175"/>
                  </a:cubicBezTo>
                  <a:cubicBezTo>
                    <a:pt x="4179" y="8205"/>
                    <a:pt x="4179" y="8205"/>
                    <a:pt x="4179" y="8205"/>
                  </a:cubicBezTo>
                  <a:cubicBezTo>
                    <a:pt x="4179" y="8215"/>
                    <a:pt x="4175" y="8270"/>
                    <a:pt x="4171" y="8311"/>
                  </a:cubicBezTo>
                  <a:cubicBezTo>
                    <a:pt x="4167" y="8356"/>
                    <a:pt x="4159" y="8392"/>
                    <a:pt x="4153" y="8431"/>
                  </a:cubicBezTo>
                  <a:cubicBezTo>
                    <a:pt x="4146" y="8469"/>
                    <a:pt x="4134" y="8514"/>
                    <a:pt x="4123" y="8555"/>
                  </a:cubicBezTo>
                  <a:cubicBezTo>
                    <a:pt x="4109" y="8600"/>
                    <a:pt x="4095" y="8643"/>
                    <a:pt x="4074" y="8690"/>
                  </a:cubicBezTo>
                  <a:cubicBezTo>
                    <a:pt x="4035" y="8783"/>
                    <a:pt x="3978" y="8882"/>
                    <a:pt x="3899" y="8975"/>
                  </a:cubicBezTo>
                  <a:cubicBezTo>
                    <a:pt x="3820" y="9066"/>
                    <a:pt x="3721" y="9150"/>
                    <a:pt x="3616" y="9206"/>
                  </a:cubicBezTo>
                  <a:cubicBezTo>
                    <a:pt x="3564" y="9236"/>
                    <a:pt x="3512" y="9258"/>
                    <a:pt x="3461" y="9277"/>
                  </a:cubicBezTo>
                  <a:cubicBezTo>
                    <a:pt x="3412" y="9294"/>
                    <a:pt x="3359" y="9310"/>
                    <a:pt x="3314" y="9319"/>
                  </a:cubicBezTo>
                  <a:cubicBezTo>
                    <a:pt x="3291" y="9324"/>
                    <a:pt x="3267" y="9328"/>
                    <a:pt x="3244" y="9332"/>
                  </a:cubicBezTo>
                  <a:cubicBezTo>
                    <a:pt x="3180" y="9339"/>
                    <a:pt x="3180" y="9339"/>
                    <a:pt x="3180" y="9339"/>
                  </a:cubicBezTo>
                  <a:cubicBezTo>
                    <a:pt x="3135" y="9344"/>
                    <a:pt x="3098" y="9345"/>
                    <a:pt x="3059" y="9345"/>
                  </a:cubicBezTo>
                  <a:cubicBezTo>
                    <a:pt x="3030" y="9345"/>
                    <a:pt x="3030" y="9345"/>
                    <a:pt x="3030" y="9345"/>
                  </a:cubicBezTo>
                  <a:cubicBezTo>
                    <a:pt x="3014" y="9345"/>
                    <a:pt x="3014" y="9345"/>
                    <a:pt x="3014" y="9345"/>
                  </a:cubicBezTo>
                  <a:cubicBezTo>
                    <a:pt x="2986" y="9343"/>
                    <a:pt x="2986" y="9343"/>
                    <a:pt x="2986" y="9343"/>
                  </a:cubicBezTo>
                  <a:cubicBezTo>
                    <a:pt x="2929" y="9341"/>
                    <a:pt x="2929" y="9341"/>
                    <a:pt x="2929" y="9341"/>
                  </a:cubicBezTo>
                  <a:cubicBezTo>
                    <a:pt x="2816" y="9336"/>
                    <a:pt x="2816" y="9336"/>
                    <a:pt x="2816" y="9336"/>
                  </a:cubicBezTo>
                  <a:cubicBezTo>
                    <a:pt x="2516" y="9321"/>
                    <a:pt x="2228" y="9304"/>
                    <a:pt x="1956" y="9282"/>
                  </a:cubicBezTo>
                  <a:cubicBezTo>
                    <a:pt x="1821" y="9272"/>
                    <a:pt x="1689" y="9261"/>
                    <a:pt x="1561" y="9249"/>
                  </a:cubicBezTo>
                  <a:cubicBezTo>
                    <a:pt x="1373" y="9230"/>
                    <a:pt x="1373" y="9230"/>
                    <a:pt x="1373" y="9230"/>
                  </a:cubicBezTo>
                  <a:cubicBezTo>
                    <a:pt x="1282" y="9220"/>
                    <a:pt x="1282" y="9220"/>
                    <a:pt x="1282" y="9220"/>
                  </a:cubicBezTo>
                  <a:cubicBezTo>
                    <a:pt x="1271" y="9219"/>
                    <a:pt x="1271" y="9219"/>
                    <a:pt x="1271" y="9219"/>
                  </a:cubicBezTo>
                  <a:cubicBezTo>
                    <a:pt x="1265" y="9218"/>
                    <a:pt x="1265" y="9218"/>
                    <a:pt x="1265" y="9218"/>
                  </a:cubicBezTo>
                  <a:cubicBezTo>
                    <a:pt x="1262" y="9218"/>
                    <a:pt x="1262" y="9218"/>
                    <a:pt x="1262" y="9218"/>
                  </a:cubicBezTo>
                  <a:cubicBezTo>
                    <a:pt x="1261" y="9218"/>
                    <a:pt x="1261" y="9218"/>
                    <a:pt x="1261" y="9218"/>
                  </a:cubicBezTo>
                  <a:cubicBezTo>
                    <a:pt x="1249" y="9217"/>
                    <a:pt x="1249" y="9217"/>
                    <a:pt x="1249" y="9217"/>
                  </a:cubicBezTo>
                  <a:cubicBezTo>
                    <a:pt x="1227" y="9214"/>
                    <a:pt x="1227" y="9214"/>
                    <a:pt x="1227" y="9214"/>
                  </a:cubicBezTo>
                  <a:cubicBezTo>
                    <a:pt x="1182" y="9209"/>
                    <a:pt x="1182" y="9209"/>
                    <a:pt x="1182" y="9209"/>
                  </a:cubicBezTo>
                  <a:cubicBezTo>
                    <a:pt x="1182" y="9209"/>
                    <a:pt x="1167" y="9206"/>
                    <a:pt x="1141" y="9203"/>
                  </a:cubicBezTo>
                  <a:cubicBezTo>
                    <a:pt x="1112" y="9199"/>
                    <a:pt x="1071" y="9193"/>
                    <a:pt x="1021" y="9186"/>
                  </a:cubicBezTo>
                  <a:cubicBezTo>
                    <a:pt x="911" y="9170"/>
                    <a:pt x="778" y="9146"/>
                    <a:pt x="643" y="9113"/>
                  </a:cubicBezTo>
                  <a:cubicBezTo>
                    <a:pt x="508" y="9082"/>
                    <a:pt x="375" y="9041"/>
                    <a:pt x="276" y="9006"/>
                  </a:cubicBezTo>
                  <a:cubicBezTo>
                    <a:pt x="226" y="8990"/>
                    <a:pt x="185" y="8974"/>
                    <a:pt x="157" y="8963"/>
                  </a:cubicBezTo>
                  <a:cubicBezTo>
                    <a:pt x="128" y="8951"/>
                    <a:pt x="112" y="8945"/>
                    <a:pt x="112" y="8945"/>
                  </a:cubicBezTo>
                  <a:cubicBezTo>
                    <a:pt x="49" y="8962"/>
                    <a:pt x="10" y="8982"/>
                    <a:pt x="0" y="9014"/>
                  </a:cubicBezTo>
                  <a:cubicBezTo>
                    <a:pt x="0" y="9015"/>
                    <a:pt x="0" y="9015"/>
                    <a:pt x="0" y="9015"/>
                  </a:cubicBezTo>
                  <a:cubicBezTo>
                    <a:pt x="180" y="9085"/>
                    <a:pt x="358" y="9138"/>
                    <a:pt x="530" y="9181"/>
                  </a:cubicBezTo>
                  <a:cubicBezTo>
                    <a:pt x="616" y="9199"/>
                    <a:pt x="701" y="9220"/>
                    <a:pt x="783" y="9234"/>
                  </a:cubicBezTo>
                  <a:cubicBezTo>
                    <a:pt x="825" y="9242"/>
                    <a:pt x="865" y="9250"/>
                    <a:pt x="907" y="9257"/>
                  </a:cubicBezTo>
                  <a:cubicBezTo>
                    <a:pt x="1034" y="9275"/>
                    <a:pt x="1034" y="9275"/>
                    <a:pt x="1034" y="9275"/>
                  </a:cubicBezTo>
                  <a:cubicBezTo>
                    <a:pt x="1034" y="9275"/>
                    <a:pt x="1061" y="9279"/>
                    <a:pt x="1108" y="9286"/>
                  </a:cubicBezTo>
                  <a:cubicBezTo>
                    <a:pt x="1129" y="9289"/>
                    <a:pt x="1154" y="9292"/>
                    <a:pt x="1182" y="9296"/>
                  </a:cubicBezTo>
                  <a:cubicBezTo>
                    <a:pt x="1197" y="9298"/>
                    <a:pt x="1212" y="9300"/>
                    <a:pt x="1228" y="9302"/>
                  </a:cubicBezTo>
                  <a:cubicBezTo>
                    <a:pt x="1240" y="9303"/>
                    <a:pt x="1240" y="9303"/>
                    <a:pt x="1240" y="9303"/>
                  </a:cubicBezTo>
                  <a:cubicBezTo>
                    <a:pt x="1246" y="9304"/>
                    <a:pt x="1246" y="9304"/>
                    <a:pt x="1246" y="9304"/>
                  </a:cubicBezTo>
                  <a:cubicBezTo>
                    <a:pt x="1247" y="9304"/>
                    <a:pt x="1247" y="9304"/>
                    <a:pt x="1247" y="9304"/>
                  </a:cubicBezTo>
                  <a:cubicBezTo>
                    <a:pt x="1260" y="9305"/>
                    <a:pt x="1260" y="9305"/>
                    <a:pt x="1260" y="9305"/>
                  </a:cubicBezTo>
                  <a:cubicBezTo>
                    <a:pt x="1262" y="9305"/>
                    <a:pt x="1262" y="9305"/>
                    <a:pt x="1262" y="9305"/>
                  </a:cubicBezTo>
                  <a:cubicBezTo>
                    <a:pt x="1265" y="9305"/>
                    <a:pt x="1265" y="9305"/>
                    <a:pt x="1265" y="9305"/>
                  </a:cubicBezTo>
                  <a:cubicBezTo>
                    <a:pt x="1273" y="9306"/>
                    <a:pt x="1282" y="9307"/>
                    <a:pt x="1291" y="9308"/>
                  </a:cubicBezTo>
                  <a:cubicBezTo>
                    <a:pt x="1432" y="9325"/>
                    <a:pt x="1621" y="9346"/>
                    <a:pt x="1810" y="9368"/>
                  </a:cubicBezTo>
                  <a:cubicBezTo>
                    <a:pt x="2187" y="9412"/>
                    <a:pt x="2565" y="9455"/>
                    <a:pt x="2565" y="9455"/>
                  </a:cubicBezTo>
                  <a:cubicBezTo>
                    <a:pt x="2565" y="9455"/>
                    <a:pt x="2635" y="9455"/>
                    <a:pt x="2757" y="9455"/>
                  </a:cubicBezTo>
                  <a:cubicBezTo>
                    <a:pt x="2818" y="9455"/>
                    <a:pt x="2893" y="9455"/>
                    <a:pt x="2978" y="9455"/>
                  </a:cubicBezTo>
                  <a:cubicBezTo>
                    <a:pt x="2989" y="9455"/>
                    <a:pt x="3000" y="9455"/>
                    <a:pt x="3011" y="9455"/>
                  </a:cubicBezTo>
                  <a:cubicBezTo>
                    <a:pt x="3027" y="9455"/>
                    <a:pt x="3027" y="9455"/>
                    <a:pt x="3027" y="9455"/>
                  </a:cubicBezTo>
                  <a:cubicBezTo>
                    <a:pt x="3064" y="9455"/>
                    <a:pt x="3064" y="9455"/>
                    <a:pt x="3064" y="9455"/>
                  </a:cubicBezTo>
                  <a:cubicBezTo>
                    <a:pt x="3089" y="9454"/>
                    <a:pt x="3114" y="9452"/>
                    <a:pt x="3139" y="9451"/>
                  </a:cubicBezTo>
                  <a:cubicBezTo>
                    <a:pt x="3167" y="9449"/>
                    <a:pt x="3196" y="9446"/>
                    <a:pt x="3224" y="9442"/>
                  </a:cubicBezTo>
                  <a:cubicBezTo>
                    <a:pt x="3341" y="9425"/>
                    <a:pt x="3483" y="9392"/>
                    <a:pt x="3637" y="9310"/>
                  </a:cubicBezTo>
                  <a:cubicBezTo>
                    <a:pt x="3791" y="9230"/>
                    <a:pt x="3947" y="9092"/>
                    <a:pt x="4047" y="8940"/>
                  </a:cubicBezTo>
                  <a:cubicBezTo>
                    <a:pt x="4149" y="8787"/>
                    <a:pt x="4201" y="8633"/>
                    <a:pt x="4230" y="8502"/>
                  </a:cubicBezTo>
                  <a:cubicBezTo>
                    <a:pt x="4245" y="8433"/>
                    <a:pt x="4254" y="8380"/>
                    <a:pt x="4260" y="8304"/>
                  </a:cubicBezTo>
                  <a:cubicBezTo>
                    <a:pt x="4264" y="8251"/>
                    <a:pt x="4264" y="8251"/>
                    <a:pt x="4264" y="8251"/>
                  </a:cubicBezTo>
                  <a:cubicBezTo>
                    <a:pt x="4266" y="8226"/>
                    <a:pt x="4266" y="8226"/>
                    <a:pt x="4266" y="8226"/>
                  </a:cubicBezTo>
                  <a:cubicBezTo>
                    <a:pt x="4266" y="8214"/>
                    <a:pt x="4266" y="8214"/>
                    <a:pt x="4266" y="8214"/>
                  </a:cubicBezTo>
                  <a:cubicBezTo>
                    <a:pt x="4267" y="8167"/>
                    <a:pt x="4267" y="8167"/>
                    <a:pt x="4267" y="8167"/>
                  </a:cubicBezTo>
                  <a:cubicBezTo>
                    <a:pt x="4267" y="8097"/>
                    <a:pt x="4267" y="8024"/>
                    <a:pt x="4267" y="7951"/>
                  </a:cubicBezTo>
                  <a:cubicBezTo>
                    <a:pt x="4267" y="7689"/>
                    <a:pt x="4267" y="7409"/>
                    <a:pt x="4267" y="7129"/>
                  </a:cubicBezTo>
                  <a:cubicBezTo>
                    <a:pt x="4267" y="6009"/>
                    <a:pt x="4267" y="4890"/>
                    <a:pt x="4267" y="4890"/>
                  </a:cubicBezTo>
                  <a:cubicBezTo>
                    <a:pt x="4233" y="4722"/>
                    <a:pt x="4201" y="4512"/>
                    <a:pt x="4172" y="4263"/>
                  </a:cubicBezTo>
                  <a:cubicBezTo>
                    <a:pt x="4172" y="4263"/>
                    <a:pt x="4124" y="3850"/>
                    <a:pt x="4053" y="3230"/>
                  </a:cubicBezTo>
                  <a:cubicBezTo>
                    <a:pt x="4035" y="3077"/>
                    <a:pt x="4016" y="2911"/>
                    <a:pt x="3996" y="2735"/>
                  </a:cubicBezTo>
                  <a:cubicBezTo>
                    <a:pt x="3977" y="2583"/>
                    <a:pt x="3968" y="2422"/>
                    <a:pt x="3975" y="2258"/>
                  </a:cubicBezTo>
                  <a:cubicBezTo>
                    <a:pt x="3988" y="1930"/>
                    <a:pt x="4069" y="1584"/>
                    <a:pt x="4250" y="1269"/>
                  </a:cubicBezTo>
                  <a:cubicBezTo>
                    <a:pt x="4283" y="1211"/>
                    <a:pt x="4283" y="1211"/>
                    <a:pt x="4283" y="1211"/>
                  </a:cubicBezTo>
                  <a:cubicBezTo>
                    <a:pt x="4317" y="1157"/>
                    <a:pt x="4317" y="1157"/>
                    <a:pt x="4317" y="1157"/>
                  </a:cubicBezTo>
                  <a:cubicBezTo>
                    <a:pt x="4334" y="1129"/>
                    <a:pt x="4334" y="1129"/>
                    <a:pt x="4334" y="1129"/>
                  </a:cubicBezTo>
                  <a:cubicBezTo>
                    <a:pt x="4340" y="1120"/>
                    <a:pt x="4349" y="1109"/>
                    <a:pt x="4356" y="1098"/>
                  </a:cubicBezTo>
                  <a:cubicBezTo>
                    <a:pt x="4402" y="1036"/>
                    <a:pt x="4402" y="1036"/>
                    <a:pt x="4402" y="1036"/>
                  </a:cubicBezTo>
                  <a:cubicBezTo>
                    <a:pt x="4414" y="1020"/>
                    <a:pt x="4414" y="1020"/>
                    <a:pt x="4414" y="1020"/>
                  </a:cubicBezTo>
                  <a:cubicBezTo>
                    <a:pt x="4418" y="1015"/>
                    <a:pt x="4409" y="1025"/>
                    <a:pt x="4410" y="1023"/>
                  </a:cubicBezTo>
                  <a:cubicBezTo>
                    <a:pt x="4412" y="1022"/>
                    <a:pt x="4412" y="1022"/>
                    <a:pt x="4412" y="1022"/>
                  </a:cubicBezTo>
                  <a:cubicBezTo>
                    <a:pt x="4414" y="1018"/>
                    <a:pt x="4414" y="1018"/>
                    <a:pt x="4414" y="1018"/>
                  </a:cubicBezTo>
                  <a:cubicBezTo>
                    <a:pt x="4420" y="1012"/>
                    <a:pt x="4420" y="1012"/>
                    <a:pt x="4420" y="1012"/>
                  </a:cubicBezTo>
                  <a:cubicBezTo>
                    <a:pt x="4441" y="985"/>
                    <a:pt x="4441" y="985"/>
                    <a:pt x="4441" y="985"/>
                  </a:cubicBezTo>
                  <a:cubicBezTo>
                    <a:pt x="4484" y="930"/>
                    <a:pt x="4484" y="930"/>
                    <a:pt x="4484" y="930"/>
                  </a:cubicBezTo>
                  <a:cubicBezTo>
                    <a:pt x="4515" y="896"/>
                    <a:pt x="4544" y="860"/>
                    <a:pt x="4576" y="827"/>
                  </a:cubicBezTo>
                  <a:cubicBezTo>
                    <a:pt x="4702" y="694"/>
                    <a:pt x="4844" y="577"/>
                    <a:pt x="4995" y="481"/>
                  </a:cubicBezTo>
                  <a:cubicBezTo>
                    <a:pt x="5298" y="288"/>
                    <a:pt x="5641" y="184"/>
                    <a:pt x="5939" y="135"/>
                  </a:cubicBezTo>
                  <a:cubicBezTo>
                    <a:pt x="6244" y="87"/>
                    <a:pt x="6503" y="83"/>
                    <a:pt x="6686" y="90"/>
                  </a:cubicBezTo>
                  <a:cubicBezTo>
                    <a:pt x="6777" y="93"/>
                    <a:pt x="6849" y="99"/>
                    <a:pt x="6898" y="104"/>
                  </a:cubicBezTo>
                  <a:cubicBezTo>
                    <a:pt x="6947" y="108"/>
                    <a:pt x="6974" y="111"/>
                    <a:pt x="6974" y="111"/>
                  </a:cubicBezTo>
                  <a:cubicBezTo>
                    <a:pt x="6974" y="110"/>
                    <a:pt x="6974" y="110"/>
                    <a:pt x="6974" y="110"/>
                  </a:cubicBezTo>
                  <a:cubicBezTo>
                    <a:pt x="6974" y="110"/>
                    <a:pt x="7009" y="114"/>
                    <a:pt x="7071" y="122"/>
                  </a:cubicBezTo>
                  <a:cubicBezTo>
                    <a:pt x="7133" y="130"/>
                    <a:pt x="7221" y="143"/>
                    <a:pt x="7326" y="164"/>
                  </a:cubicBezTo>
                  <a:cubicBezTo>
                    <a:pt x="7432" y="185"/>
                    <a:pt x="7554" y="214"/>
                    <a:pt x="7686" y="252"/>
                  </a:cubicBezTo>
                  <a:cubicBezTo>
                    <a:pt x="7816" y="289"/>
                    <a:pt x="7951" y="334"/>
                    <a:pt x="8086" y="383"/>
                  </a:cubicBezTo>
                  <a:cubicBezTo>
                    <a:pt x="8357" y="480"/>
                    <a:pt x="8622" y="594"/>
                    <a:pt x="8818" y="687"/>
                  </a:cubicBezTo>
                  <a:cubicBezTo>
                    <a:pt x="9015" y="780"/>
                    <a:pt x="9143" y="849"/>
                    <a:pt x="9143" y="849"/>
                  </a:cubicBezTo>
                  <a:cubicBezTo>
                    <a:pt x="9026" y="751"/>
                    <a:pt x="8907" y="657"/>
                    <a:pt x="8785" y="565"/>
                  </a:cubicBezTo>
                  <a:cubicBezTo>
                    <a:pt x="8604" y="495"/>
                    <a:pt x="8398" y="412"/>
                    <a:pt x="8165" y="3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45">
              <a:extLst>
                <a:ext uri="{FF2B5EF4-FFF2-40B4-BE49-F238E27FC236}">
                  <a16:creationId xmlns:a16="http://schemas.microsoft.com/office/drawing/2014/main" id="{4F7D34F7-8F65-49A0-97F4-F3B785C86E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7" y="3969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46">
              <a:extLst>
                <a:ext uri="{FF2B5EF4-FFF2-40B4-BE49-F238E27FC236}">
                  <a16:creationId xmlns:a16="http://schemas.microsoft.com/office/drawing/2014/main" id="{242AC1D8-2716-45AE-8113-C1FB767BFC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47">
              <a:extLst>
                <a:ext uri="{FF2B5EF4-FFF2-40B4-BE49-F238E27FC236}">
                  <a16:creationId xmlns:a16="http://schemas.microsoft.com/office/drawing/2014/main" id="{21F3D704-6709-41F6-BD15-BFAF623DC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1" y="3814"/>
              <a:ext cx="12" cy="12"/>
            </a:xfrm>
            <a:custGeom>
              <a:avLst/>
              <a:gdLst>
                <a:gd name="T0" fmla="*/ 0 w 328"/>
                <a:gd name="T1" fmla="*/ 0 h 316"/>
                <a:gd name="T2" fmla="*/ 291 w 328"/>
                <a:gd name="T3" fmla="*/ 281 h 316"/>
                <a:gd name="T4" fmla="*/ 328 w 328"/>
                <a:gd name="T5" fmla="*/ 316 h 316"/>
                <a:gd name="T6" fmla="*/ 42 w 328"/>
                <a:gd name="T7" fmla="*/ 41 h 316"/>
                <a:gd name="T8" fmla="*/ 0 w 328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316">
                  <a:moveTo>
                    <a:pt x="0" y="0"/>
                  </a:moveTo>
                  <a:cubicBezTo>
                    <a:pt x="96" y="93"/>
                    <a:pt x="193" y="187"/>
                    <a:pt x="291" y="281"/>
                  </a:cubicBezTo>
                  <a:cubicBezTo>
                    <a:pt x="303" y="293"/>
                    <a:pt x="315" y="304"/>
                    <a:pt x="328" y="316"/>
                  </a:cubicBezTo>
                  <a:cubicBezTo>
                    <a:pt x="223" y="215"/>
                    <a:pt x="121" y="117"/>
                    <a:pt x="42" y="41"/>
                  </a:cubicBezTo>
                  <a:cubicBezTo>
                    <a:pt x="27" y="26"/>
                    <a:pt x="13" y="13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48">
              <a:extLst>
                <a:ext uri="{FF2B5EF4-FFF2-40B4-BE49-F238E27FC236}">
                  <a16:creationId xmlns:a16="http://schemas.microsoft.com/office/drawing/2014/main" id="{B70280E2-67DD-4B45-B708-197A812954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6" y="3866"/>
              <a:ext cx="11" cy="10"/>
            </a:xfrm>
            <a:custGeom>
              <a:avLst/>
              <a:gdLst>
                <a:gd name="T0" fmla="*/ 13 w 276"/>
                <a:gd name="T1" fmla="*/ 11 h 250"/>
                <a:gd name="T2" fmla="*/ 0 w 276"/>
                <a:gd name="T3" fmla="*/ 0 h 250"/>
                <a:gd name="T4" fmla="*/ 14 w 276"/>
                <a:gd name="T5" fmla="*/ 12 h 250"/>
                <a:gd name="T6" fmla="*/ 118 w 276"/>
                <a:gd name="T7" fmla="*/ 107 h 250"/>
                <a:gd name="T8" fmla="*/ 276 w 276"/>
                <a:gd name="T9" fmla="*/ 250 h 250"/>
                <a:gd name="T10" fmla="*/ 178 w 276"/>
                <a:gd name="T11" fmla="*/ 161 h 250"/>
                <a:gd name="T12" fmla="*/ 13 w 276"/>
                <a:gd name="T13" fmla="*/ 1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250">
                  <a:moveTo>
                    <a:pt x="13" y="11"/>
                  </a:moveTo>
                  <a:cubicBezTo>
                    <a:pt x="9" y="7"/>
                    <a:pt x="5" y="4"/>
                    <a:pt x="0" y="0"/>
                  </a:cubicBezTo>
                  <a:cubicBezTo>
                    <a:pt x="5" y="4"/>
                    <a:pt x="10" y="8"/>
                    <a:pt x="14" y="12"/>
                  </a:cubicBezTo>
                  <a:cubicBezTo>
                    <a:pt x="77" y="69"/>
                    <a:pt x="118" y="107"/>
                    <a:pt x="118" y="107"/>
                  </a:cubicBezTo>
                  <a:cubicBezTo>
                    <a:pt x="118" y="107"/>
                    <a:pt x="176" y="160"/>
                    <a:pt x="276" y="250"/>
                  </a:cubicBezTo>
                  <a:cubicBezTo>
                    <a:pt x="243" y="220"/>
                    <a:pt x="211" y="191"/>
                    <a:pt x="178" y="161"/>
                  </a:cubicBezTo>
                  <a:cubicBezTo>
                    <a:pt x="123" y="111"/>
                    <a:pt x="68" y="61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49">
              <a:extLst>
                <a:ext uri="{FF2B5EF4-FFF2-40B4-BE49-F238E27FC236}">
                  <a16:creationId xmlns:a16="http://schemas.microsoft.com/office/drawing/2014/main" id="{E0C5CF90-1522-49BB-B9E1-ECB6A7DB82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0" y="3743"/>
              <a:ext cx="15" cy="9"/>
            </a:xfrm>
            <a:custGeom>
              <a:avLst/>
              <a:gdLst>
                <a:gd name="T0" fmla="*/ 0 w 391"/>
                <a:gd name="T1" fmla="*/ 0 h 245"/>
                <a:gd name="T2" fmla="*/ 391 w 391"/>
                <a:gd name="T3" fmla="*/ 245 h 245"/>
                <a:gd name="T4" fmla="*/ 4 w 391"/>
                <a:gd name="T5" fmla="*/ 2 h 245"/>
                <a:gd name="T6" fmla="*/ 0 w 391"/>
                <a:gd name="T7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1" h="245">
                  <a:moveTo>
                    <a:pt x="0" y="0"/>
                  </a:moveTo>
                  <a:cubicBezTo>
                    <a:pt x="120" y="71"/>
                    <a:pt x="252" y="153"/>
                    <a:pt x="391" y="245"/>
                  </a:cubicBezTo>
                  <a:cubicBezTo>
                    <a:pt x="277" y="170"/>
                    <a:pt x="143" y="83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50">
              <a:extLst>
                <a:ext uri="{FF2B5EF4-FFF2-40B4-BE49-F238E27FC236}">
                  <a16:creationId xmlns:a16="http://schemas.microsoft.com/office/drawing/2014/main" id="{E7BB037F-A98B-4669-BBBF-10DC983784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6" cy="5"/>
            </a:xfrm>
            <a:custGeom>
              <a:avLst/>
              <a:gdLst>
                <a:gd name="T0" fmla="*/ 0 w 161"/>
                <a:gd name="T1" fmla="*/ 0 h 114"/>
                <a:gd name="T2" fmla="*/ 144 w 161"/>
                <a:gd name="T3" fmla="*/ 102 h 114"/>
                <a:gd name="T4" fmla="*/ 161 w 161"/>
                <a:gd name="T5" fmla="*/ 114 h 114"/>
                <a:gd name="T6" fmla="*/ 161 w 161"/>
                <a:gd name="T7" fmla="*/ 114 h 114"/>
                <a:gd name="T8" fmla="*/ 0 w 161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14">
                  <a:moveTo>
                    <a:pt x="0" y="0"/>
                  </a:moveTo>
                  <a:cubicBezTo>
                    <a:pt x="47" y="33"/>
                    <a:pt x="95" y="67"/>
                    <a:pt x="144" y="102"/>
                  </a:cubicBezTo>
                  <a:cubicBezTo>
                    <a:pt x="150" y="106"/>
                    <a:pt x="156" y="110"/>
                    <a:pt x="161" y="114"/>
                  </a:cubicBezTo>
                  <a:cubicBezTo>
                    <a:pt x="161" y="114"/>
                    <a:pt x="161" y="114"/>
                    <a:pt x="161" y="114"/>
                  </a:cubicBezTo>
                  <a:cubicBezTo>
                    <a:pt x="161" y="114"/>
                    <a:pt x="99" y="69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51">
              <a:extLst>
                <a:ext uri="{FF2B5EF4-FFF2-40B4-BE49-F238E27FC236}">
                  <a16:creationId xmlns:a16="http://schemas.microsoft.com/office/drawing/2014/main" id="{4665215D-84E3-4B47-AB5E-646F6C9C9D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0" y="3964"/>
              <a:ext cx="7" cy="5"/>
            </a:xfrm>
            <a:custGeom>
              <a:avLst/>
              <a:gdLst>
                <a:gd name="T0" fmla="*/ 0 w 182"/>
                <a:gd name="T1" fmla="*/ 0 h 128"/>
                <a:gd name="T2" fmla="*/ 182 w 182"/>
                <a:gd name="T3" fmla="*/ 128 h 128"/>
                <a:gd name="T4" fmla="*/ 57 w 182"/>
                <a:gd name="T5" fmla="*/ 41 h 128"/>
                <a:gd name="T6" fmla="*/ 0 w 182"/>
                <a:gd name="T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28">
                  <a:moveTo>
                    <a:pt x="0" y="0"/>
                  </a:moveTo>
                  <a:cubicBezTo>
                    <a:pt x="112" y="82"/>
                    <a:pt x="177" y="125"/>
                    <a:pt x="182" y="128"/>
                  </a:cubicBezTo>
                  <a:cubicBezTo>
                    <a:pt x="176" y="124"/>
                    <a:pt x="131" y="94"/>
                    <a:pt x="57" y="41"/>
                  </a:cubicBezTo>
                  <a:cubicBezTo>
                    <a:pt x="40" y="29"/>
                    <a:pt x="20" y="1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52">
              <a:extLst>
                <a:ext uri="{FF2B5EF4-FFF2-40B4-BE49-F238E27FC236}">
                  <a16:creationId xmlns:a16="http://schemas.microsoft.com/office/drawing/2014/main" id="{BAB9CFBE-CD23-490E-B17F-E82C71D31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7" y="3761"/>
              <a:ext cx="144" cy="127"/>
            </a:xfrm>
            <a:custGeom>
              <a:avLst/>
              <a:gdLst>
                <a:gd name="T0" fmla="*/ 1101 w 3649"/>
                <a:gd name="T1" fmla="*/ 459 h 3225"/>
                <a:gd name="T2" fmla="*/ 792 w 3649"/>
                <a:gd name="T3" fmla="*/ 214 h 3225"/>
                <a:gd name="T4" fmla="*/ 641 w 3649"/>
                <a:gd name="T5" fmla="*/ 100 h 3225"/>
                <a:gd name="T6" fmla="*/ 505 w 3649"/>
                <a:gd name="T7" fmla="*/ 0 h 3225"/>
                <a:gd name="T8" fmla="*/ 542 w 3649"/>
                <a:gd name="T9" fmla="*/ 189 h 3225"/>
                <a:gd name="T10" fmla="*/ 373 w 3649"/>
                <a:gd name="T11" fmla="*/ 215 h 3225"/>
                <a:gd name="T12" fmla="*/ 29 w 3649"/>
                <a:gd name="T13" fmla="*/ 115 h 3225"/>
                <a:gd name="T14" fmla="*/ 0 w 3649"/>
                <a:gd name="T15" fmla="*/ 104 h 3225"/>
                <a:gd name="T16" fmla="*/ 230 w 3649"/>
                <a:gd name="T17" fmla="*/ 304 h 3225"/>
                <a:gd name="T18" fmla="*/ 345 w 3649"/>
                <a:gd name="T19" fmla="*/ 408 h 3225"/>
                <a:gd name="T20" fmla="*/ 453 w 3649"/>
                <a:gd name="T21" fmla="*/ 510 h 3225"/>
                <a:gd name="T22" fmla="*/ 499 w 3649"/>
                <a:gd name="T23" fmla="*/ 539 h 3225"/>
                <a:gd name="T24" fmla="*/ 1406 w 3649"/>
                <a:gd name="T25" fmla="*/ 1198 h 3225"/>
                <a:gd name="T26" fmla="*/ 1877 w 3649"/>
                <a:gd name="T27" fmla="*/ 1607 h 3225"/>
                <a:gd name="T28" fmla="*/ 2106 w 3649"/>
                <a:gd name="T29" fmla="*/ 1822 h 3225"/>
                <a:gd name="T30" fmla="*/ 2334 w 3649"/>
                <a:gd name="T31" fmla="*/ 2039 h 3225"/>
                <a:gd name="T32" fmla="*/ 2964 w 3649"/>
                <a:gd name="T33" fmla="*/ 2642 h 3225"/>
                <a:gd name="T34" fmla="*/ 3269 w 3649"/>
                <a:gd name="T35" fmla="*/ 2934 h 3225"/>
                <a:gd name="T36" fmla="*/ 3553 w 3649"/>
                <a:gd name="T37" fmla="*/ 3220 h 3225"/>
                <a:gd name="T38" fmla="*/ 3638 w 3649"/>
                <a:gd name="T39" fmla="*/ 3201 h 3225"/>
                <a:gd name="T40" fmla="*/ 3649 w 3649"/>
                <a:gd name="T41" fmla="*/ 3180 h 3225"/>
                <a:gd name="T42" fmla="*/ 3385 w 3649"/>
                <a:gd name="T43" fmla="*/ 2877 h 3225"/>
                <a:gd name="T44" fmla="*/ 3355 w 3649"/>
                <a:gd name="T45" fmla="*/ 2843 h 3225"/>
                <a:gd name="T46" fmla="*/ 3347 w 3649"/>
                <a:gd name="T47" fmla="*/ 2834 h 3225"/>
                <a:gd name="T48" fmla="*/ 3343 w 3649"/>
                <a:gd name="T49" fmla="*/ 2829 h 3225"/>
                <a:gd name="T50" fmla="*/ 3343 w 3649"/>
                <a:gd name="T51" fmla="*/ 2829 h 3225"/>
                <a:gd name="T52" fmla="*/ 3336 w 3649"/>
                <a:gd name="T53" fmla="*/ 2823 h 3225"/>
                <a:gd name="T54" fmla="*/ 3335 w 3649"/>
                <a:gd name="T55" fmla="*/ 2822 h 3225"/>
                <a:gd name="T56" fmla="*/ 3333 w 3649"/>
                <a:gd name="T57" fmla="*/ 2820 h 3225"/>
                <a:gd name="T58" fmla="*/ 3317 w 3649"/>
                <a:gd name="T59" fmla="*/ 2802 h 3225"/>
                <a:gd name="T60" fmla="*/ 3251 w 3649"/>
                <a:gd name="T61" fmla="*/ 2727 h 3225"/>
                <a:gd name="T62" fmla="*/ 3110 w 3649"/>
                <a:gd name="T63" fmla="*/ 2568 h 3225"/>
                <a:gd name="T64" fmla="*/ 2808 w 3649"/>
                <a:gd name="T65" fmla="*/ 2217 h 3225"/>
                <a:gd name="T66" fmla="*/ 2253 w 3649"/>
                <a:gd name="T67" fmla="*/ 1550 h 3225"/>
                <a:gd name="T68" fmla="*/ 2147 w 3649"/>
                <a:gd name="T69" fmla="*/ 1421 h 3225"/>
                <a:gd name="T70" fmla="*/ 2062 w 3649"/>
                <a:gd name="T71" fmla="*/ 1319 h 3225"/>
                <a:gd name="T72" fmla="*/ 1988 w 3649"/>
                <a:gd name="T73" fmla="*/ 1233 h 3225"/>
                <a:gd name="T74" fmla="*/ 1749 w 3649"/>
                <a:gd name="T75" fmla="*/ 1013 h 3225"/>
                <a:gd name="T76" fmla="*/ 1101 w 3649"/>
                <a:gd name="T77" fmla="*/ 459 h 3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49" h="3225">
                  <a:moveTo>
                    <a:pt x="1101" y="459"/>
                  </a:moveTo>
                  <a:cubicBezTo>
                    <a:pt x="996" y="374"/>
                    <a:pt x="892" y="292"/>
                    <a:pt x="792" y="214"/>
                  </a:cubicBezTo>
                  <a:cubicBezTo>
                    <a:pt x="740" y="176"/>
                    <a:pt x="690" y="137"/>
                    <a:pt x="641" y="100"/>
                  </a:cubicBezTo>
                  <a:cubicBezTo>
                    <a:pt x="595" y="66"/>
                    <a:pt x="550" y="33"/>
                    <a:pt x="505" y="0"/>
                  </a:cubicBezTo>
                  <a:cubicBezTo>
                    <a:pt x="557" y="91"/>
                    <a:pt x="570" y="154"/>
                    <a:pt x="542" y="189"/>
                  </a:cubicBezTo>
                  <a:cubicBezTo>
                    <a:pt x="518" y="222"/>
                    <a:pt x="460" y="230"/>
                    <a:pt x="373" y="215"/>
                  </a:cubicBezTo>
                  <a:cubicBezTo>
                    <a:pt x="286" y="201"/>
                    <a:pt x="173" y="167"/>
                    <a:pt x="29" y="11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8" y="170"/>
                    <a:pt x="155" y="237"/>
                    <a:pt x="230" y="304"/>
                  </a:cubicBezTo>
                  <a:cubicBezTo>
                    <a:pt x="268" y="339"/>
                    <a:pt x="307" y="373"/>
                    <a:pt x="345" y="408"/>
                  </a:cubicBezTo>
                  <a:cubicBezTo>
                    <a:pt x="381" y="442"/>
                    <a:pt x="417" y="476"/>
                    <a:pt x="453" y="510"/>
                  </a:cubicBezTo>
                  <a:cubicBezTo>
                    <a:pt x="499" y="539"/>
                    <a:pt x="499" y="539"/>
                    <a:pt x="499" y="539"/>
                  </a:cubicBezTo>
                  <a:cubicBezTo>
                    <a:pt x="786" y="721"/>
                    <a:pt x="1094" y="942"/>
                    <a:pt x="1406" y="1198"/>
                  </a:cubicBezTo>
                  <a:cubicBezTo>
                    <a:pt x="1563" y="1326"/>
                    <a:pt x="1718" y="1461"/>
                    <a:pt x="1877" y="1607"/>
                  </a:cubicBezTo>
                  <a:cubicBezTo>
                    <a:pt x="1953" y="1678"/>
                    <a:pt x="2029" y="1750"/>
                    <a:pt x="2106" y="1822"/>
                  </a:cubicBezTo>
                  <a:cubicBezTo>
                    <a:pt x="2181" y="1894"/>
                    <a:pt x="2257" y="1966"/>
                    <a:pt x="2334" y="2039"/>
                  </a:cubicBezTo>
                  <a:cubicBezTo>
                    <a:pt x="2547" y="2243"/>
                    <a:pt x="2757" y="2444"/>
                    <a:pt x="2964" y="2642"/>
                  </a:cubicBezTo>
                  <a:cubicBezTo>
                    <a:pt x="3067" y="2740"/>
                    <a:pt x="3168" y="2837"/>
                    <a:pt x="3269" y="2934"/>
                  </a:cubicBezTo>
                  <a:cubicBezTo>
                    <a:pt x="3367" y="3031"/>
                    <a:pt x="3461" y="3126"/>
                    <a:pt x="3553" y="3220"/>
                  </a:cubicBezTo>
                  <a:cubicBezTo>
                    <a:pt x="3593" y="3225"/>
                    <a:pt x="3622" y="3219"/>
                    <a:pt x="3638" y="3201"/>
                  </a:cubicBezTo>
                  <a:cubicBezTo>
                    <a:pt x="3643" y="3195"/>
                    <a:pt x="3647" y="3188"/>
                    <a:pt x="3649" y="3180"/>
                  </a:cubicBezTo>
                  <a:cubicBezTo>
                    <a:pt x="3649" y="3180"/>
                    <a:pt x="3544" y="3059"/>
                    <a:pt x="3385" y="2877"/>
                  </a:cubicBezTo>
                  <a:cubicBezTo>
                    <a:pt x="3375" y="2866"/>
                    <a:pt x="3365" y="2855"/>
                    <a:pt x="3355" y="2843"/>
                  </a:cubicBezTo>
                  <a:cubicBezTo>
                    <a:pt x="3347" y="2834"/>
                    <a:pt x="3347" y="2834"/>
                    <a:pt x="3347" y="2834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36" y="2823"/>
                    <a:pt x="3336" y="2823"/>
                    <a:pt x="3336" y="2823"/>
                  </a:cubicBezTo>
                  <a:cubicBezTo>
                    <a:pt x="3335" y="2822"/>
                    <a:pt x="3335" y="2822"/>
                    <a:pt x="3335" y="2822"/>
                  </a:cubicBezTo>
                  <a:cubicBezTo>
                    <a:pt x="3333" y="2820"/>
                    <a:pt x="3333" y="2820"/>
                    <a:pt x="3333" y="2820"/>
                  </a:cubicBezTo>
                  <a:cubicBezTo>
                    <a:pt x="3317" y="2802"/>
                    <a:pt x="3317" y="2802"/>
                    <a:pt x="3317" y="2802"/>
                  </a:cubicBezTo>
                  <a:cubicBezTo>
                    <a:pt x="3296" y="2778"/>
                    <a:pt x="3274" y="2753"/>
                    <a:pt x="3251" y="2727"/>
                  </a:cubicBezTo>
                  <a:cubicBezTo>
                    <a:pt x="3206" y="2677"/>
                    <a:pt x="3159" y="2623"/>
                    <a:pt x="3110" y="2568"/>
                  </a:cubicBezTo>
                  <a:cubicBezTo>
                    <a:pt x="3014" y="2456"/>
                    <a:pt x="2911" y="2337"/>
                    <a:pt x="2808" y="2217"/>
                  </a:cubicBezTo>
                  <a:cubicBezTo>
                    <a:pt x="2603" y="1977"/>
                    <a:pt x="2402" y="1734"/>
                    <a:pt x="2253" y="1550"/>
                  </a:cubicBezTo>
                  <a:cubicBezTo>
                    <a:pt x="2214" y="1503"/>
                    <a:pt x="2179" y="1460"/>
                    <a:pt x="2147" y="1421"/>
                  </a:cubicBezTo>
                  <a:cubicBezTo>
                    <a:pt x="2114" y="1382"/>
                    <a:pt x="2085" y="1348"/>
                    <a:pt x="2062" y="1319"/>
                  </a:cubicBezTo>
                  <a:cubicBezTo>
                    <a:pt x="2019" y="1269"/>
                    <a:pt x="1993" y="1239"/>
                    <a:pt x="1988" y="1233"/>
                  </a:cubicBezTo>
                  <a:cubicBezTo>
                    <a:pt x="1908" y="1158"/>
                    <a:pt x="1829" y="1085"/>
                    <a:pt x="1749" y="1013"/>
                  </a:cubicBezTo>
                  <a:cubicBezTo>
                    <a:pt x="1529" y="815"/>
                    <a:pt x="1312" y="630"/>
                    <a:pt x="1101" y="459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53">
              <a:extLst>
                <a:ext uri="{FF2B5EF4-FFF2-40B4-BE49-F238E27FC236}">
                  <a16:creationId xmlns:a16="http://schemas.microsoft.com/office/drawing/2014/main" id="{232122ED-0F96-4C64-A0F4-83E5C3569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6" y="3809"/>
              <a:ext cx="2" cy="2"/>
            </a:xfrm>
            <a:custGeom>
              <a:avLst/>
              <a:gdLst>
                <a:gd name="T0" fmla="*/ 2 w 49"/>
                <a:gd name="T1" fmla="*/ 2 h 46"/>
                <a:gd name="T2" fmla="*/ 49 w 49"/>
                <a:gd name="T3" fmla="*/ 46 h 46"/>
                <a:gd name="T4" fmla="*/ 0 w 49"/>
                <a:gd name="T5" fmla="*/ 0 h 46"/>
                <a:gd name="T6" fmla="*/ 2 w 49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6">
                  <a:moveTo>
                    <a:pt x="2" y="2"/>
                  </a:moveTo>
                  <a:cubicBezTo>
                    <a:pt x="18" y="17"/>
                    <a:pt x="33" y="31"/>
                    <a:pt x="49" y="46"/>
                  </a:cubicBezTo>
                  <a:cubicBezTo>
                    <a:pt x="18" y="17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54">
              <a:extLst>
                <a:ext uri="{FF2B5EF4-FFF2-40B4-BE49-F238E27FC236}">
                  <a16:creationId xmlns:a16="http://schemas.microsoft.com/office/drawing/2014/main" id="{A0AE397C-02F9-4E0B-8B36-1470274DF9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3879"/>
              <a:ext cx="47" cy="43"/>
            </a:xfrm>
            <a:custGeom>
              <a:avLst/>
              <a:gdLst>
                <a:gd name="T0" fmla="*/ 448 w 1205"/>
                <a:gd name="T1" fmla="*/ 407 h 1097"/>
                <a:gd name="T2" fmla="*/ 1050 w 1205"/>
                <a:gd name="T3" fmla="*/ 956 h 1097"/>
                <a:gd name="T4" fmla="*/ 1205 w 1205"/>
                <a:gd name="T5" fmla="*/ 1097 h 1097"/>
                <a:gd name="T6" fmla="*/ 0 w 1205"/>
                <a:gd name="T7" fmla="*/ 0 h 1097"/>
                <a:gd name="T8" fmla="*/ 448 w 1205"/>
                <a:gd name="T9" fmla="*/ 40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1097">
                  <a:moveTo>
                    <a:pt x="448" y="407"/>
                  </a:moveTo>
                  <a:cubicBezTo>
                    <a:pt x="657" y="598"/>
                    <a:pt x="859" y="782"/>
                    <a:pt x="1050" y="956"/>
                  </a:cubicBezTo>
                  <a:cubicBezTo>
                    <a:pt x="1103" y="1004"/>
                    <a:pt x="1154" y="1051"/>
                    <a:pt x="1205" y="1097"/>
                  </a:cubicBezTo>
                  <a:cubicBezTo>
                    <a:pt x="739" y="673"/>
                    <a:pt x="275" y="250"/>
                    <a:pt x="0" y="0"/>
                  </a:cubicBezTo>
                  <a:cubicBezTo>
                    <a:pt x="152" y="138"/>
                    <a:pt x="302" y="275"/>
                    <a:pt x="448" y="40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55">
              <a:extLst>
                <a:ext uri="{FF2B5EF4-FFF2-40B4-BE49-F238E27FC236}">
                  <a16:creationId xmlns:a16="http://schemas.microsoft.com/office/drawing/2014/main" id="{B509FD45-E158-4D06-9D1A-C9CD7F5DCF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6" y="3774"/>
              <a:ext cx="183" cy="321"/>
            </a:xfrm>
            <a:custGeom>
              <a:avLst/>
              <a:gdLst>
                <a:gd name="T0" fmla="*/ 2335 w 4646"/>
                <a:gd name="T1" fmla="*/ 7601 h 8128"/>
                <a:gd name="T2" fmla="*/ 2662 w 4646"/>
                <a:gd name="T3" fmla="*/ 8049 h 8128"/>
                <a:gd name="T4" fmla="*/ 3268 w 4646"/>
                <a:gd name="T5" fmla="*/ 8124 h 8128"/>
                <a:gd name="T6" fmla="*/ 3857 w 4646"/>
                <a:gd name="T7" fmla="*/ 8106 h 8128"/>
                <a:gd name="T8" fmla="*/ 3911 w 4646"/>
                <a:gd name="T9" fmla="*/ 8101 h 8128"/>
                <a:gd name="T10" fmla="*/ 3919 w 4646"/>
                <a:gd name="T11" fmla="*/ 8100 h 8128"/>
                <a:gd name="T12" fmla="*/ 4038 w 4646"/>
                <a:gd name="T13" fmla="*/ 8086 h 8128"/>
                <a:gd name="T14" fmla="*/ 4194 w 4646"/>
                <a:gd name="T15" fmla="*/ 7964 h 8128"/>
                <a:gd name="T16" fmla="*/ 3911 w 4646"/>
                <a:gd name="T17" fmla="*/ 7931 h 8128"/>
                <a:gd name="T18" fmla="*/ 3904 w 4646"/>
                <a:gd name="T19" fmla="*/ 7931 h 8128"/>
                <a:gd name="T20" fmla="*/ 3851 w 4646"/>
                <a:gd name="T21" fmla="*/ 7924 h 8128"/>
                <a:gd name="T22" fmla="*/ 2255 w 4646"/>
                <a:gd name="T23" fmla="*/ 7326 h 8128"/>
                <a:gd name="T24" fmla="*/ 1944 w 4646"/>
                <a:gd name="T25" fmla="*/ 7039 h 8128"/>
                <a:gd name="T26" fmla="*/ 1768 w 4646"/>
                <a:gd name="T27" fmla="*/ 6816 h 8128"/>
                <a:gd name="T28" fmla="*/ 1547 w 4646"/>
                <a:gd name="T29" fmla="*/ 6311 h 8128"/>
                <a:gd name="T30" fmla="*/ 1936 w 4646"/>
                <a:gd name="T31" fmla="*/ 6240 h 8128"/>
                <a:gd name="T32" fmla="*/ 2170 w 4646"/>
                <a:gd name="T33" fmla="*/ 6436 h 8128"/>
                <a:gd name="T34" fmla="*/ 2268 w 4646"/>
                <a:gd name="T35" fmla="*/ 6515 h 8128"/>
                <a:gd name="T36" fmla="*/ 2260 w 4646"/>
                <a:gd name="T37" fmla="*/ 6505 h 8128"/>
                <a:gd name="T38" fmla="*/ 2295 w 4646"/>
                <a:gd name="T39" fmla="*/ 6528 h 8128"/>
                <a:gd name="T40" fmla="*/ 2420 w 4646"/>
                <a:gd name="T41" fmla="*/ 6608 h 8128"/>
                <a:gd name="T42" fmla="*/ 3181 w 4646"/>
                <a:gd name="T43" fmla="*/ 6839 h 8128"/>
                <a:gd name="T44" fmla="*/ 3324 w 4646"/>
                <a:gd name="T45" fmla="*/ 6843 h 8128"/>
                <a:gd name="T46" fmla="*/ 3016 w 4646"/>
                <a:gd name="T47" fmla="*/ 6761 h 8128"/>
                <a:gd name="T48" fmla="*/ 2742 w 4646"/>
                <a:gd name="T49" fmla="*/ 6640 h 8128"/>
                <a:gd name="T50" fmla="*/ 2591 w 4646"/>
                <a:gd name="T51" fmla="*/ 6574 h 8128"/>
                <a:gd name="T52" fmla="*/ 2345 w 4646"/>
                <a:gd name="T53" fmla="*/ 6431 h 8128"/>
                <a:gd name="T54" fmla="*/ 2336 w 4646"/>
                <a:gd name="T55" fmla="*/ 6425 h 8128"/>
                <a:gd name="T56" fmla="*/ 2348 w 4646"/>
                <a:gd name="T57" fmla="*/ 6437 h 8128"/>
                <a:gd name="T58" fmla="*/ 2216 w 4646"/>
                <a:gd name="T59" fmla="*/ 6326 h 8128"/>
                <a:gd name="T60" fmla="*/ 2079 w 4646"/>
                <a:gd name="T61" fmla="*/ 6187 h 8128"/>
                <a:gd name="T62" fmla="*/ 1680 w 4646"/>
                <a:gd name="T63" fmla="*/ 4850 h 8128"/>
                <a:gd name="T64" fmla="*/ 1864 w 4646"/>
                <a:gd name="T65" fmla="*/ 1768 h 8128"/>
                <a:gd name="T66" fmla="*/ 1859 w 4646"/>
                <a:gd name="T67" fmla="*/ 1602 h 8128"/>
                <a:gd name="T68" fmla="*/ 1778 w 4646"/>
                <a:gd name="T69" fmla="*/ 966 h 8128"/>
                <a:gd name="T70" fmla="*/ 1760 w 4646"/>
                <a:gd name="T71" fmla="*/ 951 h 8128"/>
                <a:gd name="T72" fmla="*/ 1787 w 4646"/>
                <a:gd name="T73" fmla="*/ 1361 h 8128"/>
                <a:gd name="T74" fmla="*/ 1782 w 4646"/>
                <a:gd name="T75" fmla="*/ 1661 h 8128"/>
                <a:gd name="T76" fmla="*/ 1769 w 4646"/>
                <a:gd name="T77" fmla="*/ 1797 h 8128"/>
                <a:gd name="T78" fmla="*/ 1768 w 4646"/>
                <a:gd name="T79" fmla="*/ 1805 h 8128"/>
                <a:gd name="T80" fmla="*/ 1767 w 4646"/>
                <a:gd name="T81" fmla="*/ 1828 h 8128"/>
                <a:gd name="T82" fmla="*/ 1723 w 4646"/>
                <a:gd name="T83" fmla="*/ 2210 h 8128"/>
                <a:gd name="T84" fmla="*/ 1079 w 4646"/>
                <a:gd name="T85" fmla="*/ 2438 h 8128"/>
                <a:gd name="T86" fmla="*/ 961 w 4646"/>
                <a:gd name="T87" fmla="*/ 1529 h 8128"/>
                <a:gd name="T88" fmla="*/ 316 w 4646"/>
                <a:gd name="T89" fmla="*/ 269 h 8128"/>
                <a:gd name="T90" fmla="*/ 118 w 4646"/>
                <a:gd name="T91" fmla="*/ 91 h 8128"/>
                <a:gd name="T92" fmla="*/ 111 w 4646"/>
                <a:gd name="T93" fmla="*/ 86 h 8128"/>
                <a:gd name="T94" fmla="*/ 106 w 4646"/>
                <a:gd name="T95" fmla="*/ 82 h 8128"/>
                <a:gd name="T96" fmla="*/ 54 w 4646"/>
                <a:gd name="T97" fmla="*/ 66 h 8128"/>
                <a:gd name="T98" fmla="*/ 83 w 4646"/>
                <a:gd name="T99" fmla="*/ 104 h 8128"/>
                <a:gd name="T100" fmla="*/ 85 w 4646"/>
                <a:gd name="T101" fmla="*/ 106 h 8128"/>
                <a:gd name="T102" fmla="*/ 103 w 4646"/>
                <a:gd name="T103" fmla="*/ 132 h 8128"/>
                <a:gd name="T104" fmla="*/ 504 w 4646"/>
                <a:gd name="T105" fmla="*/ 1267 h 8128"/>
                <a:gd name="T106" fmla="*/ 704 w 4646"/>
                <a:gd name="T107" fmla="*/ 1542 h 8128"/>
                <a:gd name="T108" fmla="*/ 831 w 4646"/>
                <a:gd name="T109" fmla="*/ 1824 h 8128"/>
                <a:gd name="T110" fmla="*/ 832 w 4646"/>
                <a:gd name="T111" fmla="*/ 1821 h 8128"/>
                <a:gd name="T112" fmla="*/ 837 w 4646"/>
                <a:gd name="T113" fmla="*/ 1842 h 8128"/>
                <a:gd name="T114" fmla="*/ 924 w 4646"/>
                <a:gd name="T115" fmla="*/ 2254 h 8128"/>
                <a:gd name="T116" fmla="*/ 1231 w 4646"/>
                <a:gd name="T117" fmla="*/ 4932 h 8128"/>
                <a:gd name="T118" fmla="*/ 1320 w 4646"/>
                <a:gd name="T119" fmla="*/ 6156 h 8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46" h="8128">
                  <a:moveTo>
                    <a:pt x="1527" y="6658"/>
                  </a:moveTo>
                  <a:cubicBezTo>
                    <a:pt x="1555" y="6705"/>
                    <a:pt x="1571" y="6732"/>
                    <a:pt x="1571" y="6732"/>
                  </a:cubicBezTo>
                  <a:cubicBezTo>
                    <a:pt x="1821" y="7151"/>
                    <a:pt x="2124" y="7418"/>
                    <a:pt x="2335" y="7601"/>
                  </a:cubicBezTo>
                  <a:cubicBezTo>
                    <a:pt x="2547" y="7785"/>
                    <a:pt x="2671" y="7893"/>
                    <a:pt x="2646" y="7969"/>
                  </a:cubicBezTo>
                  <a:cubicBezTo>
                    <a:pt x="2637" y="7994"/>
                    <a:pt x="2610" y="8014"/>
                    <a:pt x="2565" y="8026"/>
                  </a:cubicBezTo>
                  <a:cubicBezTo>
                    <a:pt x="2565" y="8026"/>
                    <a:pt x="2600" y="8035"/>
                    <a:pt x="2662" y="8049"/>
                  </a:cubicBezTo>
                  <a:cubicBezTo>
                    <a:pt x="2692" y="8056"/>
                    <a:pt x="2729" y="8063"/>
                    <a:pt x="2772" y="8070"/>
                  </a:cubicBezTo>
                  <a:cubicBezTo>
                    <a:pt x="2815" y="8077"/>
                    <a:pt x="2862" y="8087"/>
                    <a:pt x="2915" y="8093"/>
                  </a:cubicBezTo>
                  <a:cubicBezTo>
                    <a:pt x="3019" y="8107"/>
                    <a:pt x="3140" y="8119"/>
                    <a:pt x="3268" y="8124"/>
                  </a:cubicBezTo>
                  <a:cubicBezTo>
                    <a:pt x="3332" y="8126"/>
                    <a:pt x="3398" y="8128"/>
                    <a:pt x="3464" y="8127"/>
                  </a:cubicBezTo>
                  <a:cubicBezTo>
                    <a:pt x="3529" y="8127"/>
                    <a:pt x="3599" y="8124"/>
                    <a:pt x="3668" y="8121"/>
                  </a:cubicBezTo>
                  <a:cubicBezTo>
                    <a:pt x="3742" y="8118"/>
                    <a:pt x="3797" y="8111"/>
                    <a:pt x="3857" y="8106"/>
                  </a:cubicBezTo>
                  <a:cubicBezTo>
                    <a:pt x="3901" y="8101"/>
                    <a:pt x="3901" y="8101"/>
                    <a:pt x="3901" y="8101"/>
                  </a:cubicBezTo>
                  <a:cubicBezTo>
                    <a:pt x="3903" y="8101"/>
                    <a:pt x="3903" y="8101"/>
                    <a:pt x="3903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4" y="8101"/>
                    <a:pt x="3914" y="8101"/>
                    <a:pt x="3914" y="8101"/>
                  </a:cubicBezTo>
                  <a:cubicBezTo>
                    <a:pt x="3919" y="8100"/>
                    <a:pt x="3919" y="8100"/>
                    <a:pt x="3919" y="8100"/>
                  </a:cubicBezTo>
                  <a:cubicBezTo>
                    <a:pt x="3930" y="8099"/>
                    <a:pt x="3930" y="8099"/>
                    <a:pt x="3930" y="8099"/>
                  </a:cubicBezTo>
                  <a:cubicBezTo>
                    <a:pt x="3952" y="8096"/>
                    <a:pt x="3952" y="8096"/>
                    <a:pt x="3952" y="8096"/>
                  </a:cubicBezTo>
                  <a:cubicBezTo>
                    <a:pt x="3981" y="8093"/>
                    <a:pt x="4010" y="8090"/>
                    <a:pt x="4038" y="8086"/>
                  </a:cubicBezTo>
                  <a:cubicBezTo>
                    <a:pt x="4151" y="8073"/>
                    <a:pt x="4256" y="8061"/>
                    <a:pt x="4346" y="8051"/>
                  </a:cubicBezTo>
                  <a:cubicBezTo>
                    <a:pt x="4526" y="8030"/>
                    <a:pt x="4646" y="8016"/>
                    <a:pt x="4646" y="8016"/>
                  </a:cubicBezTo>
                  <a:cubicBezTo>
                    <a:pt x="4646" y="8016"/>
                    <a:pt x="4465" y="7995"/>
                    <a:pt x="4194" y="7964"/>
                  </a:cubicBezTo>
                  <a:cubicBezTo>
                    <a:pt x="4126" y="7956"/>
                    <a:pt x="4052" y="7947"/>
                    <a:pt x="3974" y="7938"/>
                  </a:cubicBezTo>
                  <a:cubicBezTo>
                    <a:pt x="3955" y="7936"/>
                    <a:pt x="3935" y="7934"/>
                    <a:pt x="3915" y="7932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05" y="7931"/>
                    <a:pt x="3905" y="7931"/>
                    <a:pt x="3905" y="7931"/>
                  </a:cubicBezTo>
                  <a:cubicBezTo>
                    <a:pt x="3904" y="7931"/>
                    <a:pt x="3904" y="7931"/>
                    <a:pt x="3904" y="7931"/>
                  </a:cubicBezTo>
                  <a:cubicBezTo>
                    <a:pt x="3896" y="7930"/>
                    <a:pt x="3896" y="7930"/>
                    <a:pt x="3896" y="7930"/>
                  </a:cubicBezTo>
                  <a:cubicBezTo>
                    <a:pt x="3881" y="7928"/>
                    <a:pt x="3881" y="7928"/>
                    <a:pt x="3881" y="7928"/>
                  </a:cubicBezTo>
                  <a:cubicBezTo>
                    <a:pt x="3851" y="7924"/>
                    <a:pt x="3851" y="7924"/>
                    <a:pt x="3851" y="7924"/>
                  </a:cubicBezTo>
                  <a:cubicBezTo>
                    <a:pt x="3810" y="7918"/>
                    <a:pt x="3767" y="7912"/>
                    <a:pt x="3725" y="7906"/>
                  </a:cubicBezTo>
                  <a:cubicBezTo>
                    <a:pt x="3542" y="7880"/>
                    <a:pt x="3358" y="7839"/>
                    <a:pt x="3175" y="7785"/>
                  </a:cubicBezTo>
                  <a:cubicBezTo>
                    <a:pt x="2809" y="7678"/>
                    <a:pt x="2472" y="7499"/>
                    <a:pt x="2255" y="7326"/>
                  </a:cubicBezTo>
                  <a:cubicBezTo>
                    <a:pt x="2200" y="7285"/>
                    <a:pt x="2153" y="7242"/>
                    <a:pt x="2111" y="7206"/>
                  </a:cubicBezTo>
                  <a:cubicBezTo>
                    <a:pt x="2070" y="7167"/>
                    <a:pt x="2035" y="7135"/>
                    <a:pt x="2007" y="7106"/>
                  </a:cubicBezTo>
                  <a:cubicBezTo>
                    <a:pt x="1980" y="7077"/>
                    <a:pt x="1959" y="7055"/>
                    <a:pt x="1944" y="7039"/>
                  </a:cubicBezTo>
                  <a:cubicBezTo>
                    <a:pt x="1929" y="7024"/>
                    <a:pt x="1922" y="7015"/>
                    <a:pt x="1922" y="7015"/>
                  </a:cubicBezTo>
                  <a:cubicBezTo>
                    <a:pt x="1895" y="6982"/>
                    <a:pt x="1868" y="6949"/>
                    <a:pt x="1841" y="6916"/>
                  </a:cubicBezTo>
                  <a:cubicBezTo>
                    <a:pt x="1816" y="6882"/>
                    <a:pt x="1792" y="6849"/>
                    <a:pt x="1768" y="6816"/>
                  </a:cubicBezTo>
                  <a:cubicBezTo>
                    <a:pt x="1726" y="6750"/>
                    <a:pt x="1690" y="6690"/>
                    <a:pt x="1660" y="6628"/>
                  </a:cubicBezTo>
                  <a:cubicBezTo>
                    <a:pt x="1629" y="6570"/>
                    <a:pt x="1608" y="6510"/>
                    <a:pt x="1587" y="6459"/>
                  </a:cubicBezTo>
                  <a:cubicBezTo>
                    <a:pt x="1571" y="6404"/>
                    <a:pt x="1555" y="6357"/>
                    <a:pt x="1547" y="6311"/>
                  </a:cubicBezTo>
                  <a:cubicBezTo>
                    <a:pt x="1510" y="6132"/>
                    <a:pt x="1535" y="6028"/>
                    <a:pt x="1588" y="6007"/>
                  </a:cubicBezTo>
                  <a:cubicBezTo>
                    <a:pt x="1643" y="5985"/>
                    <a:pt x="1724" y="6045"/>
                    <a:pt x="1841" y="6152"/>
                  </a:cubicBezTo>
                  <a:cubicBezTo>
                    <a:pt x="1869" y="6180"/>
                    <a:pt x="1903" y="6208"/>
                    <a:pt x="1936" y="6240"/>
                  </a:cubicBezTo>
                  <a:cubicBezTo>
                    <a:pt x="1972" y="6270"/>
                    <a:pt x="2006" y="6306"/>
                    <a:pt x="2049" y="6339"/>
                  </a:cubicBezTo>
                  <a:cubicBezTo>
                    <a:pt x="2069" y="6355"/>
                    <a:pt x="2091" y="6378"/>
                    <a:pt x="2110" y="6390"/>
                  </a:cubicBezTo>
                  <a:cubicBezTo>
                    <a:pt x="2130" y="6405"/>
                    <a:pt x="2146" y="6417"/>
                    <a:pt x="2170" y="6436"/>
                  </a:cubicBezTo>
                  <a:cubicBezTo>
                    <a:pt x="2202" y="6461"/>
                    <a:pt x="2234" y="6487"/>
                    <a:pt x="2266" y="6513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9" y="6515"/>
                    <a:pt x="2269" y="6515"/>
                    <a:pt x="2269" y="6515"/>
                  </a:cubicBezTo>
                  <a:cubicBezTo>
                    <a:pt x="2280" y="6527"/>
                    <a:pt x="2254" y="6501"/>
                    <a:pt x="2257" y="6503"/>
                  </a:cubicBezTo>
                  <a:cubicBezTo>
                    <a:pt x="2260" y="6505"/>
                    <a:pt x="2260" y="6505"/>
                    <a:pt x="2260" y="6505"/>
                  </a:cubicBezTo>
                  <a:cubicBezTo>
                    <a:pt x="2265" y="6508"/>
                    <a:pt x="2265" y="6508"/>
                    <a:pt x="2265" y="6508"/>
                  </a:cubicBezTo>
                  <a:cubicBezTo>
                    <a:pt x="2275" y="6515"/>
                    <a:pt x="2275" y="6515"/>
                    <a:pt x="2275" y="6515"/>
                  </a:cubicBezTo>
                  <a:cubicBezTo>
                    <a:pt x="2295" y="6528"/>
                    <a:pt x="2295" y="6528"/>
                    <a:pt x="2295" y="6528"/>
                  </a:cubicBezTo>
                  <a:cubicBezTo>
                    <a:pt x="2335" y="6556"/>
                    <a:pt x="2335" y="6556"/>
                    <a:pt x="2335" y="6556"/>
                  </a:cubicBezTo>
                  <a:cubicBezTo>
                    <a:pt x="2335" y="6556"/>
                    <a:pt x="2350" y="6565"/>
                    <a:pt x="2375" y="6580"/>
                  </a:cubicBezTo>
                  <a:cubicBezTo>
                    <a:pt x="2387" y="6588"/>
                    <a:pt x="2403" y="6597"/>
                    <a:pt x="2420" y="6608"/>
                  </a:cubicBezTo>
                  <a:cubicBezTo>
                    <a:pt x="2438" y="6618"/>
                    <a:pt x="2458" y="6628"/>
                    <a:pt x="2480" y="6640"/>
                  </a:cubicBezTo>
                  <a:cubicBezTo>
                    <a:pt x="2569" y="6686"/>
                    <a:pt x="2690" y="6737"/>
                    <a:pt x="2818" y="6772"/>
                  </a:cubicBezTo>
                  <a:cubicBezTo>
                    <a:pt x="2945" y="6808"/>
                    <a:pt x="3079" y="6828"/>
                    <a:pt x="3181" y="6839"/>
                  </a:cubicBezTo>
                  <a:cubicBezTo>
                    <a:pt x="3233" y="6842"/>
                    <a:pt x="3275" y="6846"/>
                    <a:pt x="3306" y="6847"/>
                  </a:cubicBezTo>
                  <a:cubicBezTo>
                    <a:pt x="3337" y="6848"/>
                    <a:pt x="3354" y="6848"/>
                    <a:pt x="3354" y="6848"/>
                  </a:cubicBezTo>
                  <a:cubicBezTo>
                    <a:pt x="3354" y="6848"/>
                    <a:pt x="3343" y="6846"/>
                    <a:pt x="3324" y="6843"/>
                  </a:cubicBezTo>
                  <a:cubicBezTo>
                    <a:pt x="3304" y="6840"/>
                    <a:pt x="3277" y="6834"/>
                    <a:pt x="3244" y="6826"/>
                  </a:cubicBezTo>
                  <a:cubicBezTo>
                    <a:pt x="3212" y="6819"/>
                    <a:pt x="3174" y="6810"/>
                    <a:pt x="3136" y="6798"/>
                  </a:cubicBezTo>
                  <a:cubicBezTo>
                    <a:pt x="3096" y="6789"/>
                    <a:pt x="3056" y="6774"/>
                    <a:pt x="3016" y="6761"/>
                  </a:cubicBezTo>
                  <a:cubicBezTo>
                    <a:pt x="2976" y="6748"/>
                    <a:pt x="2938" y="6731"/>
                    <a:pt x="2902" y="6718"/>
                  </a:cubicBezTo>
                  <a:cubicBezTo>
                    <a:pt x="2867" y="6701"/>
                    <a:pt x="2834" y="6688"/>
                    <a:pt x="2807" y="6674"/>
                  </a:cubicBezTo>
                  <a:cubicBezTo>
                    <a:pt x="2780" y="6660"/>
                    <a:pt x="2758" y="6648"/>
                    <a:pt x="2742" y="6640"/>
                  </a:cubicBezTo>
                  <a:cubicBezTo>
                    <a:pt x="2727" y="6631"/>
                    <a:pt x="2719" y="6626"/>
                    <a:pt x="2719" y="6626"/>
                  </a:cubicBezTo>
                  <a:cubicBezTo>
                    <a:pt x="2719" y="6626"/>
                    <a:pt x="2686" y="6614"/>
                    <a:pt x="2654" y="6602"/>
                  </a:cubicBezTo>
                  <a:cubicBezTo>
                    <a:pt x="2623" y="6588"/>
                    <a:pt x="2591" y="6574"/>
                    <a:pt x="2591" y="6574"/>
                  </a:cubicBezTo>
                  <a:cubicBezTo>
                    <a:pt x="2554" y="6557"/>
                    <a:pt x="2520" y="6538"/>
                    <a:pt x="2486" y="6520"/>
                  </a:cubicBezTo>
                  <a:cubicBezTo>
                    <a:pt x="2454" y="6500"/>
                    <a:pt x="2420" y="6484"/>
                    <a:pt x="2391" y="6462"/>
                  </a:cubicBezTo>
                  <a:cubicBezTo>
                    <a:pt x="2375" y="6451"/>
                    <a:pt x="2360" y="6441"/>
                    <a:pt x="2345" y="6431"/>
                  </a:cubicBezTo>
                  <a:cubicBezTo>
                    <a:pt x="2340" y="6427"/>
                    <a:pt x="2340" y="6427"/>
                    <a:pt x="2340" y="6427"/>
                  </a:cubicBezTo>
                  <a:cubicBezTo>
                    <a:pt x="2337" y="6425"/>
                    <a:pt x="2337" y="6425"/>
                    <a:pt x="2337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23" y="6412"/>
                    <a:pt x="2353" y="6442"/>
                    <a:pt x="2350" y="6439"/>
                  </a:cubicBezTo>
                  <a:cubicBezTo>
                    <a:pt x="2348" y="6437"/>
                    <a:pt x="2348" y="6437"/>
                    <a:pt x="2348" y="6437"/>
                  </a:cubicBezTo>
                  <a:cubicBezTo>
                    <a:pt x="2333" y="6425"/>
                    <a:pt x="2333" y="6425"/>
                    <a:pt x="2333" y="6425"/>
                  </a:cubicBezTo>
                  <a:cubicBezTo>
                    <a:pt x="2304" y="6400"/>
                    <a:pt x="2304" y="6400"/>
                    <a:pt x="2304" y="6400"/>
                  </a:cubicBezTo>
                  <a:cubicBezTo>
                    <a:pt x="2274" y="6375"/>
                    <a:pt x="2245" y="6350"/>
                    <a:pt x="2216" y="6326"/>
                  </a:cubicBezTo>
                  <a:cubicBezTo>
                    <a:pt x="2205" y="6316"/>
                    <a:pt x="2196" y="6311"/>
                    <a:pt x="2184" y="6298"/>
                  </a:cubicBezTo>
                  <a:cubicBezTo>
                    <a:pt x="2171" y="6286"/>
                    <a:pt x="2160" y="6274"/>
                    <a:pt x="2148" y="6262"/>
                  </a:cubicBezTo>
                  <a:cubicBezTo>
                    <a:pt x="2123" y="6239"/>
                    <a:pt x="2102" y="6212"/>
                    <a:pt x="2079" y="6187"/>
                  </a:cubicBezTo>
                  <a:cubicBezTo>
                    <a:pt x="2034" y="6135"/>
                    <a:pt x="1994" y="6078"/>
                    <a:pt x="1956" y="6017"/>
                  </a:cubicBezTo>
                  <a:cubicBezTo>
                    <a:pt x="1879" y="5893"/>
                    <a:pt x="1814" y="5746"/>
                    <a:pt x="1764" y="5558"/>
                  </a:cubicBezTo>
                  <a:cubicBezTo>
                    <a:pt x="1713" y="5371"/>
                    <a:pt x="1682" y="5140"/>
                    <a:pt x="1680" y="4850"/>
                  </a:cubicBezTo>
                  <a:cubicBezTo>
                    <a:pt x="1680" y="3512"/>
                    <a:pt x="1732" y="3082"/>
                    <a:pt x="1842" y="2137"/>
                  </a:cubicBezTo>
                  <a:cubicBezTo>
                    <a:pt x="1865" y="1933"/>
                    <a:pt x="1865" y="1933"/>
                    <a:pt x="1865" y="1933"/>
                  </a:cubicBezTo>
                  <a:cubicBezTo>
                    <a:pt x="1865" y="1933"/>
                    <a:pt x="1865" y="1867"/>
                    <a:pt x="1864" y="1768"/>
                  </a:cubicBezTo>
                  <a:cubicBezTo>
                    <a:pt x="1864" y="1746"/>
                    <a:pt x="1863" y="1722"/>
                    <a:pt x="1863" y="1696"/>
                  </a:cubicBezTo>
                  <a:cubicBezTo>
                    <a:pt x="1863" y="1683"/>
                    <a:pt x="1862" y="1670"/>
                    <a:pt x="1862" y="1657"/>
                  </a:cubicBezTo>
                  <a:cubicBezTo>
                    <a:pt x="1861" y="1639"/>
                    <a:pt x="1860" y="1620"/>
                    <a:pt x="1859" y="1602"/>
                  </a:cubicBezTo>
                  <a:cubicBezTo>
                    <a:pt x="1857" y="1564"/>
                    <a:pt x="1855" y="1526"/>
                    <a:pt x="1853" y="1486"/>
                  </a:cubicBezTo>
                  <a:cubicBezTo>
                    <a:pt x="1850" y="1447"/>
                    <a:pt x="1846" y="1412"/>
                    <a:pt x="1842" y="1374"/>
                  </a:cubicBezTo>
                  <a:cubicBezTo>
                    <a:pt x="1828" y="1227"/>
                    <a:pt x="1801" y="1078"/>
                    <a:pt x="1778" y="966"/>
                  </a:cubicBezTo>
                  <a:cubicBezTo>
                    <a:pt x="1753" y="854"/>
                    <a:pt x="1734" y="780"/>
                    <a:pt x="1734" y="780"/>
                  </a:cubicBezTo>
                  <a:cubicBezTo>
                    <a:pt x="1734" y="780"/>
                    <a:pt x="1738" y="809"/>
                    <a:pt x="1746" y="860"/>
                  </a:cubicBezTo>
                  <a:cubicBezTo>
                    <a:pt x="1750" y="885"/>
                    <a:pt x="1754" y="916"/>
                    <a:pt x="1760" y="951"/>
                  </a:cubicBezTo>
                  <a:cubicBezTo>
                    <a:pt x="1763" y="986"/>
                    <a:pt x="1767" y="1026"/>
                    <a:pt x="1772" y="1069"/>
                  </a:cubicBezTo>
                  <a:cubicBezTo>
                    <a:pt x="1777" y="1113"/>
                    <a:pt x="1779" y="1159"/>
                    <a:pt x="1782" y="1208"/>
                  </a:cubicBezTo>
                  <a:cubicBezTo>
                    <a:pt x="1785" y="1257"/>
                    <a:pt x="1787" y="1309"/>
                    <a:pt x="1787" y="1361"/>
                  </a:cubicBezTo>
                  <a:cubicBezTo>
                    <a:pt x="1787" y="1415"/>
                    <a:pt x="1789" y="1467"/>
                    <a:pt x="1786" y="1528"/>
                  </a:cubicBezTo>
                  <a:cubicBezTo>
                    <a:pt x="1785" y="1557"/>
                    <a:pt x="1785" y="1587"/>
                    <a:pt x="1784" y="1617"/>
                  </a:cubicBezTo>
                  <a:cubicBezTo>
                    <a:pt x="1782" y="1661"/>
                    <a:pt x="1782" y="1661"/>
                    <a:pt x="1782" y="1661"/>
                  </a:cubicBezTo>
                  <a:cubicBezTo>
                    <a:pt x="1779" y="1695"/>
                    <a:pt x="1779" y="1695"/>
                    <a:pt x="1779" y="1695"/>
                  </a:cubicBezTo>
                  <a:cubicBezTo>
                    <a:pt x="1772" y="1763"/>
                    <a:pt x="1772" y="1763"/>
                    <a:pt x="1772" y="1763"/>
                  </a:cubicBezTo>
                  <a:cubicBezTo>
                    <a:pt x="1769" y="1797"/>
                    <a:pt x="1769" y="1797"/>
                    <a:pt x="1769" y="1797"/>
                  </a:cubicBezTo>
                  <a:cubicBezTo>
                    <a:pt x="1768" y="1802"/>
                    <a:pt x="1768" y="1802"/>
                    <a:pt x="1768" y="1802"/>
                  </a:cubicBezTo>
                  <a:cubicBezTo>
                    <a:pt x="1768" y="1804"/>
                    <a:pt x="1768" y="1804"/>
                    <a:pt x="1768" y="1804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20"/>
                    <a:pt x="1768" y="1820"/>
                    <a:pt x="1768" y="1820"/>
                  </a:cubicBezTo>
                  <a:cubicBezTo>
                    <a:pt x="1767" y="1828"/>
                    <a:pt x="1767" y="1828"/>
                    <a:pt x="1767" y="1828"/>
                  </a:cubicBezTo>
                  <a:cubicBezTo>
                    <a:pt x="1765" y="1845"/>
                    <a:pt x="1765" y="1845"/>
                    <a:pt x="1765" y="1845"/>
                  </a:cubicBezTo>
                  <a:cubicBezTo>
                    <a:pt x="1760" y="1890"/>
                    <a:pt x="1755" y="1934"/>
                    <a:pt x="1750" y="1977"/>
                  </a:cubicBezTo>
                  <a:cubicBezTo>
                    <a:pt x="1740" y="2062"/>
                    <a:pt x="1731" y="2142"/>
                    <a:pt x="1723" y="2210"/>
                  </a:cubicBezTo>
                  <a:cubicBezTo>
                    <a:pt x="1707" y="2347"/>
                    <a:pt x="1697" y="2438"/>
                    <a:pt x="1697" y="2438"/>
                  </a:cubicBezTo>
                  <a:cubicBezTo>
                    <a:pt x="1614" y="3151"/>
                    <a:pt x="1505" y="3544"/>
                    <a:pt x="1388" y="3544"/>
                  </a:cubicBezTo>
                  <a:cubicBezTo>
                    <a:pt x="1271" y="3544"/>
                    <a:pt x="1162" y="3151"/>
                    <a:pt x="1079" y="2438"/>
                  </a:cubicBezTo>
                  <a:cubicBezTo>
                    <a:pt x="1079" y="2438"/>
                    <a:pt x="1058" y="2257"/>
                    <a:pt x="1027" y="1986"/>
                  </a:cubicBezTo>
                  <a:cubicBezTo>
                    <a:pt x="1019" y="1918"/>
                    <a:pt x="1012" y="1843"/>
                    <a:pt x="1001" y="1768"/>
                  </a:cubicBezTo>
                  <a:cubicBezTo>
                    <a:pt x="991" y="1689"/>
                    <a:pt x="977" y="1610"/>
                    <a:pt x="961" y="1529"/>
                  </a:cubicBezTo>
                  <a:cubicBezTo>
                    <a:pt x="928" y="1366"/>
                    <a:pt x="880" y="1197"/>
                    <a:pt x="815" y="1037"/>
                  </a:cubicBezTo>
                  <a:cubicBezTo>
                    <a:pt x="751" y="876"/>
                    <a:pt x="672" y="726"/>
                    <a:pt x="584" y="596"/>
                  </a:cubicBezTo>
                  <a:cubicBezTo>
                    <a:pt x="497" y="466"/>
                    <a:pt x="403" y="356"/>
                    <a:pt x="316" y="269"/>
                  </a:cubicBezTo>
                  <a:cubicBezTo>
                    <a:pt x="274" y="225"/>
                    <a:pt x="231" y="189"/>
                    <a:pt x="195" y="155"/>
                  </a:cubicBezTo>
                  <a:cubicBezTo>
                    <a:pt x="176" y="139"/>
                    <a:pt x="158" y="124"/>
                    <a:pt x="141" y="111"/>
                  </a:cubicBezTo>
                  <a:cubicBezTo>
                    <a:pt x="133" y="104"/>
                    <a:pt x="125" y="97"/>
                    <a:pt x="118" y="91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6" y="81"/>
                    <a:pt x="106" y="81"/>
                    <a:pt x="106" y="81"/>
                  </a:cubicBezTo>
                  <a:cubicBezTo>
                    <a:pt x="109" y="83"/>
                    <a:pt x="101" y="76"/>
                    <a:pt x="111" y="86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37" y="30"/>
                    <a:pt x="0" y="0"/>
                    <a:pt x="2" y="2"/>
                  </a:cubicBezTo>
                  <a:cubicBezTo>
                    <a:pt x="2" y="2"/>
                    <a:pt x="21" y="25"/>
                    <a:pt x="54" y="66"/>
                  </a:cubicBezTo>
                  <a:cubicBezTo>
                    <a:pt x="62" y="76"/>
                    <a:pt x="71" y="87"/>
                    <a:pt x="81" y="100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77" y="97"/>
                    <a:pt x="86" y="106"/>
                    <a:pt x="83" y="10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4" y="119"/>
                    <a:pt x="98" y="125"/>
                    <a:pt x="103" y="132"/>
                  </a:cubicBezTo>
                  <a:cubicBezTo>
                    <a:pt x="121" y="158"/>
                    <a:pt x="144" y="187"/>
                    <a:pt x="164" y="220"/>
                  </a:cubicBezTo>
                  <a:cubicBezTo>
                    <a:pt x="250" y="352"/>
                    <a:pt x="347" y="534"/>
                    <a:pt x="406" y="727"/>
                  </a:cubicBezTo>
                  <a:cubicBezTo>
                    <a:pt x="468" y="918"/>
                    <a:pt x="496" y="1117"/>
                    <a:pt x="504" y="1267"/>
                  </a:cubicBezTo>
                  <a:cubicBezTo>
                    <a:pt x="513" y="1417"/>
                    <a:pt x="507" y="1519"/>
                    <a:pt x="507" y="1519"/>
                  </a:cubicBezTo>
                  <a:cubicBezTo>
                    <a:pt x="530" y="1490"/>
                    <a:pt x="555" y="1472"/>
                    <a:pt x="582" y="1469"/>
                  </a:cubicBezTo>
                  <a:cubicBezTo>
                    <a:pt x="621" y="1465"/>
                    <a:pt x="661" y="1488"/>
                    <a:pt x="704" y="1542"/>
                  </a:cubicBezTo>
                  <a:cubicBezTo>
                    <a:pt x="745" y="1594"/>
                    <a:pt x="788" y="1669"/>
                    <a:pt x="824" y="1799"/>
                  </a:cubicBezTo>
                  <a:cubicBezTo>
                    <a:pt x="831" y="1822"/>
                    <a:pt x="831" y="1822"/>
                    <a:pt x="831" y="1822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2"/>
                    <a:pt x="831" y="1829"/>
                    <a:pt x="831" y="1820"/>
                  </a:cubicBezTo>
                  <a:cubicBezTo>
                    <a:pt x="832" y="1821"/>
                    <a:pt x="832" y="1821"/>
                    <a:pt x="832" y="1821"/>
                  </a:cubicBezTo>
                  <a:cubicBezTo>
                    <a:pt x="832" y="1824"/>
                    <a:pt x="832" y="1824"/>
                    <a:pt x="832" y="1824"/>
                  </a:cubicBezTo>
                  <a:cubicBezTo>
                    <a:pt x="834" y="1830"/>
                    <a:pt x="834" y="1830"/>
                    <a:pt x="834" y="1830"/>
                  </a:cubicBezTo>
                  <a:cubicBezTo>
                    <a:pt x="837" y="1842"/>
                    <a:pt x="837" y="1842"/>
                    <a:pt x="837" y="1842"/>
                  </a:cubicBezTo>
                  <a:cubicBezTo>
                    <a:pt x="850" y="1893"/>
                    <a:pt x="850" y="1893"/>
                    <a:pt x="850" y="1893"/>
                  </a:cubicBezTo>
                  <a:cubicBezTo>
                    <a:pt x="858" y="1929"/>
                    <a:pt x="867" y="1966"/>
                    <a:pt x="875" y="2002"/>
                  </a:cubicBezTo>
                  <a:cubicBezTo>
                    <a:pt x="892" y="2079"/>
                    <a:pt x="908" y="2163"/>
                    <a:pt x="924" y="2254"/>
                  </a:cubicBezTo>
                  <a:cubicBezTo>
                    <a:pt x="955" y="2436"/>
                    <a:pt x="985" y="2646"/>
                    <a:pt x="1012" y="2882"/>
                  </a:cubicBezTo>
                  <a:cubicBezTo>
                    <a:pt x="1240" y="4850"/>
                    <a:pt x="1240" y="4850"/>
                    <a:pt x="1240" y="4850"/>
                  </a:cubicBezTo>
                  <a:cubicBezTo>
                    <a:pt x="1240" y="4850"/>
                    <a:pt x="1237" y="4880"/>
                    <a:pt x="1231" y="4932"/>
                  </a:cubicBezTo>
                  <a:cubicBezTo>
                    <a:pt x="1225" y="4984"/>
                    <a:pt x="1220" y="5058"/>
                    <a:pt x="1215" y="5147"/>
                  </a:cubicBezTo>
                  <a:cubicBezTo>
                    <a:pt x="1206" y="5326"/>
                    <a:pt x="1207" y="5567"/>
                    <a:pt x="1245" y="5806"/>
                  </a:cubicBezTo>
                  <a:cubicBezTo>
                    <a:pt x="1261" y="5927"/>
                    <a:pt x="1290" y="6045"/>
                    <a:pt x="1320" y="6156"/>
                  </a:cubicBezTo>
                  <a:cubicBezTo>
                    <a:pt x="1354" y="6266"/>
                    <a:pt x="1390" y="6368"/>
                    <a:pt x="1428" y="6454"/>
                  </a:cubicBezTo>
                  <a:cubicBezTo>
                    <a:pt x="1464" y="6540"/>
                    <a:pt x="1502" y="6608"/>
                    <a:pt x="1527" y="665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56">
              <a:extLst>
                <a:ext uri="{FF2B5EF4-FFF2-40B4-BE49-F238E27FC236}">
                  <a16:creationId xmlns:a16="http://schemas.microsoft.com/office/drawing/2014/main" id="{59773718-B770-4AE1-9FC6-FD4194863E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0" y="3968"/>
              <a:ext cx="219" cy="142"/>
            </a:xfrm>
            <a:custGeom>
              <a:avLst/>
              <a:gdLst>
                <a:gd name="T0" fmla="*/ 5392 w 5541"/>
                <a:gd name="T1" fmla="*/ 1827 h 3595"/>
                <a:gd name="T2" fmla="*/ 5381 w 5541"/>
                <a:gd name="T3" fmla="*/ 2054 h 3595"/>
                <a:gd name="T4" fmla="*/ 5372 w 5541"/>
                <a:gd name="T5" fmla="*/ 2304 h 3595"/>
                <a:gd name="T6" fmla="*/ 5369 w 5541"/>
                <a:gd name="T7" fmla="*/ 2362 h 3595"/>
                <a:gd name="T8" fmla="*/ 5357 w 5541"/>
                <a:gd name="T9" fmla="*/ 2480 h 3595"/>
                <a:gd name="T10" fmla="*/ 5337 w 5541"/>
                <a:gd name="T11" fmla="*/ 2589 h 3595"/>
                <a:gd name="T12" fmla="*/ 5304 w 5541"/>
                <a:gd name="T13" fmla="*/ 2708 h 3595"/>
                <a:gd name="T14" fmla="*/ 5282 w 5541"/>
                <a:gd name="T15" fmla="*/ 2770 h 3595"/>
                <a:gd name="T16" fmla="*/ 5253 w 5541"/>
                <a:gd name="T17" fmla="*/ 2836 h 3595"/>
                <a:gd name="T18" fmla="*/ 5179 w 5541"/>
                <a:gd name="T19" fmla="*/ 2969 h 3595"/>
                <a:gd name="T20" fmla="*/ 4942 w 5541"/>
                <a:gd name="T21" fmla="*/ 3215 h 3595"/>
                <a:gd name="T22" fmla="*/ 4384 w 5541"/>
                <a:gd name="T23" fmla="*/ 3406 h 3595"/>
                <a:gd name="T24" fmla="*/ 4326 w 5541"/>
                <a:gd name="T25" fmla="*/ 3408 h 3595"/>
                <a:gd name="T26" fmla="*/ 4299 w 5541"/>
                <a:gd name="T27" fmla="*/ 3408 h 3595"/>
                <a:gd name="T28" fmla="*/ 4283 w 5541"/>
                <a:gd name="T29" fmla="*/ 3408 h 3595"/>
                <a:gd name="T30" fmla="*/ 4222 w 5541"/>
                <a:gd name="T31" fmla="*/ 3407 h 3595"/>
                <a:gd name="T32" fmla="*/ 4099 w 5541"/>
                <a:gd name="T33" fmla="*/ 3405 h 3595"/>
                <a:gd name="T34" fmla="*/ 3602 w 5541"/>
                <a:gd name="T35" fmla="*/ 3402 h 3595"/>
                <a:gd name="T36" fmla="*/ 2888 w 5541"/>
                <a:gd name="T37" fmla="*/ 3408 h 3595"/>
                <a:gd name="T38" fmla="*/ 2540 w 5541"/>
                <a:gd name="T39" fmla="*/ 3415 h 3595"/>
                <a:gd name="T40" fmla="*/ 2357 w 5541"/>
                <a:gd name="T41" fmla="*/ 3417 h 3595"/>
                <a:gd name="T42" fmla="*/ 2150 w 5541"/>
                <a:gd name="T43" fmla="*/ 3411 h 3595"/>
                <a:gd name="T44" fmla="*/ 640 w 5541"/>
                <a:gd name="T45" fmla="*/ 3052 h 3595"/>
                <a:gd name="T46" fmla="*/ 0 w 5541"/>
                <a:gd name="T47" fmla="*/ 2725 h 3595"/>
                <a:gd name="T48" fmla="*/ 80 w 5541"/>
                <a:gd name="T49" fmla="*/ 2793 h 3595"/>
                <a:gd name="T50" fmla="*/ 316 w 5541"/>
                <a:gd name="T51" fmla="*/ 2972 h 3595"/>
                <a:gd name="T52" fmla="*/ 710 w 5541"/>
                <a:gd name="T53" fmla="*/ 3204 h 3595"/>
                <a:gd name="T54" fmla="*/ 1249 w 5541"/>
                <a:gd name="T55" fmla="*/ 3418 h 3595"/>
                <a:gd name="T56" fmla="*/ 1893 w 5541"/>
                <a:gd name="T57" fmla="*/ 3554 h 3595"/>
                <a:gd name="T58" fmla="*/ 2065 w 5541"/>
                <a:gd name="T59" fmla="*/ 3574 h 3595"/>
                <a:gd name="T60" fmla="*/ 2152 w 5541"/>
                <a:gd name="T61" fmla="*/ 3582 h 3595"/>
                <a:gd name="T62" fmla="*/ 2246 w 5541"/>
                <a:gd name="T63" fmla="*/ 3587 h 3595"/>
                <a:gd name="T64" fmla="*/ 2341 w 5541"/>
                <a:gd name="T65" fmla="*/ 3592 h 3595"/>
                <a:gd name="T66" fmla="*/ 2419 w 5541"/>
                <a:gd name="T67" fmla="*/ 3594 h 3595"/>
                <a:gd name="T68" fmla="*/ 2494 w 5541"/>
                <a:gd name="T69" fmla="*/ 3595 h 3595"/>
                <a:gd name="T70" fmla="*/ 2585 w 5541"/>
                <a:gd name="T71" fmla="*/ 3595 h 3595"/>
                <a:gd name="T72" fmla="*/ 3864 w 5541"/>
                <a:gd name="T73" fmla="*/ 3595 h 3595"/>
                <a:gd name="T74" fmla="*/ 4190 w 5541"/>
                <a:gd name="T75" fmla="*/ 3595 h 3595"/>
                <a:gd name="T76" fmla="*/ 4271 w 5541"/>
                <a:gd name="T77" fmla="*/ 3595 h 3595"/>
                <a:gd name="T78" fmla="*/ 4324 w 5541"/>
                <a:gd name="T79" fmla="*/ 3595 h 3595"/>
                <a:gd name="T80" fmla="*/ 4413 w 5541"/>
                <a:gd name="T81" fmla="*/ 3591 h 3595"/>
                <a:gd name="T82" fmla="*/ 4839 w 5541"/>
                <a:gd name="T83" fmla="*/ 3485 h 3595"/>
                <a:gd name="T84" fmla="*/ 5264 w 5541"/>
                <a:gd name="T85" fmla="*/ 3155 h 3595"/>
                <a:gd name="T86" fmla="*/ 5477 w 5541"/>
                <a:gd name="T87" fmla="*/ 2746 h 3595"/>
                <a:gd name="T88" fmla="*/ 5501 w 5541"/>
                <a:gd name="T89" fmla="*/ 2655 h 3595"/>
                <a:gd name="T90" fmla="*/ 5510 w 5541"/>
                <a:gd name="T91" fmla="*/ 2611 h 3595"/>
                <a:gd name="T92" fmla="*/ 5517 w 5541"/>
                <a:gd name="T93" fmla="*/ 2571 h 3595"/>
                <a:gd name="T94" fmla="*/ 5529 w 5541"/>
                <a:gd name="T95" fmla="*/ 2488 h 3595"/>
                <a:gd name="T96" fmla="*/ 5537 w 5541"/>
                <a:gd name="T97" fmla="*/ 2399 h 3595"/>
                <a:gd name="T98" fmla="*/ 5540 w 5541"/>
                <a:gd name="T99" fmla="*/ 2342 h 3595"/>
                <a:gd name="T100" fmla="*/ 5541 w 5541"/>
                <a:gd name="T101" fmla="*/ 2281 h 3595"/>
                <a:gd name="T102" fmla="*/ 5541 w 5541"/>
                <a:gd name="T103" fmla="*/ 2204 h 3595"/>
                <a:gd name="T104" fmla="*/ 5541 w 5541"/>
                <a:gd name="T105" fmla="*/ 1088 h 3595"/>
                <a:gd name="T106" fmla="*/ 5541 w 5541"/>
                <a:gd name="T107" fmla="*/ 0 h 3595"/>
                <a:gd name="T108" fmla="*/ 5517 w 5541"/>
                <a:gd name="T109" fmla="*/ 204 h 3595"/>
                <a:gd name="T110" fmla="*/ 5392 w 5541"/>
                <a:gd name="T111" fmla="*/ 1827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41" h="3595">
                  <a:moveTo>
                    <a:pt x="5392" y="1827"/>
                  </a:moveTo>
                  <a:cubicBezTo>
                    <a:pt x="5388" y="1902"/>
                    <a:pt x="5385" y="1978"/>
                    <a:pt x="5381" y="2054"/>
                  </a:cubicBezTo>
                  <a:cubicBezTo>
                    <a:pt x="5378" y="2137"/>
                    <a:pt x="5375" y="2220"/>
                    <a:pt x="5372" y="2304"/>
                  </a:cubicBezTo>
                  <a:cubicBezTo>
                    <a:pt x="5369" y="2362"/>
                    <a:pt x="5369" y="2362"/>
                    <a:pt x="5369" y="2362"/>
                  </a:cubicBezTo>
                  <a:cubicBezTo>
                    <a:pt x="5366" y="2400"/>
                    <a:pt x="5362" y="2441"/>
                    <a:pt x="5357" y="2480"/>
                  </a:cubicBezTo>
                  <a:cubicBezTo>
                    <a:pt x="5351" y="2516"/>
                    <a:pt x="5345" y="2551"/>
                    <a:pt x="5337" y="2589"/>
                  </a:cubicBezTo>
                  <a:cubicBezTo>
                    <a:pt x="5327" y="2629"/>
                    <a:pt x="5320" y="2665"/>
                    <a:pt x="5304" y="2708"/>
                  </a:cubicBezTo>
                  <a:cubicBezTo>
                    <a:pt x="5282" y="2770"/>
                    <a:pt x="5282" y="2770"/>
                    <a:pt x="5282" y="2770"/>
                  </a:cubicBezTo>
                  <a:cubicBezTo>
                    <a:pt x="5274" y="2791"/>
                    <a:pt x="5263" y="2814"/>
                    <a:pt x="5253" y="2836"/>
                  </a:cubicBezTo>
                  <a:cubicBezTo>
                    <a:pt x="5235" y="2878"/>
                    <a:pt x="5207" y="2925"/>
                    <a:pt x="5179" y="2969"/>
                  </a:cubicBezTo>
                  <a:cubicBezTo>
                    <a:pt x="5118" y="3059"/>
                    <a:pt x="5038" y="3147"/>
                    <a:pt x="4942" y="3215"/>
                  </a:cubicBezTo>
                  <a:cubicBezTo>
                    <a:pt x="4750" y="3354"/>
                    <a:pt x="4539" y="3398"/>
                    <a:pt x="4384" y="3406"/>
                  </a:cubicBezTo>
                  <a:cubicBezTo>
                    <a:pt x="4326" y="3408"/>
                    <a:pt x="4326" y="3408"/>
                    <a:pt x="4326" y="3408"/>
                  </a:cubicBezTo>
                  <a:cubicBezTo>
                    <a:pt x="4299" y="3408"/>
                    <a:pt x="4299" y="3408"/>
                    <a:pt x="4299" y="3408"/>
                  </a:cubicBezTo>
                  <a:cubicBezTo>
                    <a:pt x="4283" y="3408"/>
                    <a:pt x="4283" y="3408"/>
                    <a:pt x="4283" y="3408"/>
                  </a:cubicBezTo>
                  <a:cubicBezTo>
                    <a:pt x="4222" y="3407"/>
                    <a:pt x="4222" y="3407"/>
                    <a:pt x="4222" y="3407"/>
                  </a:cubicBezTo>
                  <a:cubicBezTo>
                    <a:pt x="4099" y="3405"/>
                    <a:pt x="4099" y="3405"/>
                    <a:pt x="4099" y="3405"/>
                  </a:cubicBezTo>
                  <a:cubicBezTo>
                    <a:pt x="3935" y="3404"/>
                    <a:pt x="3769" y="3403"/>
                    <a:pt x="3602" y="3402"/>
                  </a:cubicBezTo>
                  <a:cubicBezTo>
                    <a:pt x="3361" y="3402"/>
                    <a:pt x="3123" y="3404"/>
                    <a:pt x="2888" y="3408"/>
                  </a:cubicBezTo>
                  <a:cubicBezTo>
                    <a:pt x="2772" y="3411"/>
                    <a:pt x="2656" y="3413"/>
                    <a:pt x="2540" y="3415"/>
                  </a:cubicBezTo>
                  <a:cubicBezTo>
                    <a:pt x="2479" y="3416"/>
                    <a:pt x="2418" y="3416"/>
                    <a:pt x="2357" y="3417"/>
                  </a:cubicBezTo>
                  <a:cubicBezTo>
                    <a:pt x="2288" y="3415"/>
                    <a:pt x="2219" y="3413"/>
                    <a:pt x="2150" y="3411"/>
                  </a:cubicBezTo>
                  <a:cubicBezTo>
                    <a:pt x="1630" y="3387"/>
                    <a:pt x="1104" y="3274"/>
                    <a:pt x="640" y="3052"/>
                  </a:cubicBezTo>
                  <a:cubicBezTo>
                    <a:pt x="457" y="2991"/>
                    <a:pt x="235" y="2890"/>
                    <a:pt x="0" y="2725"/>
                  </a:cubicBezTo>
                  <a:cubicBezTo>
                    <a:pt x="0" y="2725"/>
                    <a:pt x="28" y="2748"/>
                    <a:pt x="80" y="2793"/>
                  </a:cubicBezTo>
                  <a:cubicBezTo>
                    <a:pt x="132" y="2837"/>
                    <a:pt x="211" y="2899"/>
                    <a:pt x="316" y="2972"/>
                  </a:cubicBezTo>
                  <a:cubicBezTo>
                    <a:pt x="421" y="3044"/>
                    <a:pt x="552" y="3126"/>
                    <a:pt x="710" y="3204"/>
                  </a:cubicBezTo>
                  <a:cubicBezTo>
                    <a:pt x="867" y="3282"/>
                    <a:pt x="1048" y="3357"/>
                    <a:pt x="1249" y="3418"/>
                  </a:cubicBezTo>
                  <a:cubicBezTo>
                    <a:pt x="1449" y="3479"/>
                    <a:pt x="1666" y="3525"/>
                    <a:pt x="1893" y="3554"/>
                  </a:cubicBezTo>
                  <a:cubicBezTo>
                    <a:pt x="1950" y="3563"/>
                    <a:pt x="2007" y="3568"/>
                    <a:pt x="2065" y="3574"/>
                  </a:cubicBezTo>
                  <a:cubicBezTo>
                    <a:pt x="2094" y="3576"/>
                    <a:pt x="2123" y="3579"/>
                    <a:pt x="2152" y="3582"/>
                  </a:cubicBezTo>
                  <a:cubicBezTo>
                    <a:pt x="2183" y="3583"/>
                    <a:pt x="2214" y="3585"/>
                    <a:pt x="2246" y="3587"/>
                  </a:cubicBezTo>
                  <a:cubicBezTo>
                    <a:pt x="2277" y="3589"/>
                    <a:pt x="2309" y="3590"/>
                    <a:pt x="2341" y="3592"/>
                  </a:cubicBezTo>
                  <a:cubicBezTo>
                    <a:pt x="2367" y="3592"/>
                    <a:pt x="2393" y="3593"/>
                    <a:pt x="2419" y="3594"/>
                  </a:cubicBezTo>
                  <a:cubicBezTo>
                    <a:pt x="2444" y="3594"/>
                    <a:pt x="2469" y="3594"/>
                    <a:pt x="2494" y="3595"/>
                  </a:cubicBezTo>
                  <a:cubicBezTo>
                    <a:pt x="2524" y="3595"/>
                    <a:pt x="2555" y="3595"/>
                    <a:pt x="2585" y="3595"/>
                  </a:cubicBezTo>
                  <a:cubicBezTo>
                    <a:pt x="2993" y="3595"/>
                    <a:pt x="3428" y="3595"/>
                    <a:pt x="3864" y="3595"/>
                  </a:cubicBezTo>
                  <a:cubicBezTo>
                    <a:pt x="3973" y="3595"/>
                    <a:pt x="4081" y="3595"/>
                    <a:pt x="4190" y="3595"/>
                  </a:cubicBezTo>
                  <a:cubicBezTo>
                    <a:pt x="4271" y="3595"/>
                    <a:pt x="4271" y="3595"/>
                    <a:pt x="4271" y="3595"/>
                  </a:cubicBezTo>
                  <a:cubicBezTo>
                    <a:pt x="4324" y="3595"/>
                    <a:pt x="4324" y="3595"/>
                    <a:pt x="4324" y="3595"/>
                  </a:cubicBezTo>
                  <a:cubicBezTo>
                    <a:pt x="4413" y="3591"/>
                    <a:pt x="4413" y="3591"/>
                    <a:pt x="4413" y="3591"/>
                  </a:cubicBezTo>
                  <a:cubicBezTo>
                    <a:pt x="4537" y="3581"/>
                    <a:pt x="4683" y="3555"/>
                    <a:pt x="4839" y="3485"/>
                  </a:cubicBezTo>
                  <a:cubicBezTo>
                    <a:pt x="4995" y="3417"/>
                    <a:pt x="5155" y="3296"/>
                    <a:pt x="5264" y="3155"/>
                  </a:cubicBezTo>
                  <a:cubicBezTo>
                    <a:pt x="5375" y="3016"/>
                    <a:pt x="5441" y="2868"/>
                    <a:pt x="5477" y="2746"/>
                  </a:cubicBezTo>
                  <a:cubicBezTo>
                    <a:pt x="5487" y="2713"/>
                    <a:pt x="5493" y="2686"/>
                    <a:pt x="5501" y="2655"/>
                  </a:cubicBezTo>
                  <a:cubicBezTo>
                    <a:pt x="5510" y="2611"/>
                    <a:pt x="5510" y="2611"/>
                    <a:pt x="5510" y="2611"/>
                  </a:cubicBezTo>
                  <a:cubicBezTo>
                    <a:pt x="5517" y="2571"/>
                    <a:pt x="5517" y="2571"/>
                    <a:pt x="5517" y="2571"/>
                  </a:cubicBezTo>
                  <a:cubicBezTo>
                    <a:pt x="5522" y="2543"/>
                    <a:pt x="5526" y="2518"/>
                    <a:pt x="5529" y="2488"/>
                  </a:cubicBezTo>
                  <a:cubicBezTo>
                    <a:pt x="5532" y="2459"/>
                    <a:pt x="5535" y="2429"/>
                    <a:pt x="5537" y="2399"/>
                  </a:cubicBezTo>
                  <a:cubicBezTo>
                    <a:pt x="5540" y="2362"/>
                    <a:pt x="5539" y="2357"/>
                    <a:pt x="5540" y="2342"/>
                  </a:cubicBezTo>
                  <a:cubicBezTo>
                    <a:pt x="5541" y="2281"/>
                    <a:pt x="5541" y="2281"/>
                    <a:pt x="5541" y="2281"/>
                  </a:cubicBezTo>
                  <a:cubicBezTo>
                    <a:pt x="5541" y="2255"/>
                    <a:pt x="5541" y="2229"/>
                    <a:pt x="5541" y="2204"/>
                  </a:cubicBezTo>
                  <a:cubicBezTo>
                    <a:pt x="5541" y="1796"/>
                    <a:pt x="5541" y="1415"/>
                    <a:pt x="5541" y="1088"/>
                  </a:cubicBezTo>
                  <a:cubicBezTo>
                    <a:pt x="5541" y="436"/>
                    <a:pt x="5541" y="0"/>
                    <a:pt x="5541" y="0"/>
                  </a:cubicBezTo>
                  <a:cubicBezTo>
                    <a:pt x="5517" y="204"/>
                    <a:pt x="5517" y="204"/>
                    <a:pt x="5517" y="204"/>
                  </a:cubicBezTo>
                  <a:cubicBezTo>
                    <a:pt x="5463" y="676"/>
                    <a:pt x="5420" y="1227"/>
                    <a:pt x="5392" y="18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57">
              <a:extLst>
                <a:ext uri="{FF2B5EF4-FFF2-40B4-BE49-F238E27FC236}">
                  <a16:creationId xmlns:a16="http://schemas.microsoft.com/office/drawing/2014/main" id="{6B8FCE7E-D325-4AB8-96C6-565A205CE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3" y="3416"/>
              <a:ext cx="56" cy="580"/>
            </a:xfrm>
            <a:custGeom>
              <a:avLst/>
              <a:gdLst>
                <a:gd name="T0" fmla="*/ 1373 w 1417"/>
                <a:gd name="T1" fmla="*/ 1341 h 14710"/>
                <a:gd name="T2" fmla="*/ 1098 w 1417"/>
                <a:gd name="T3" fmla="*/ 2183 h 14710"/>
                <a:gd name="T4" fmla="*/ 931 w 1417"/>
                <a:gd name="T5" fmla="*/ 1898 h 14710"/>
                <a:gd name="T6" fmla="*/ 856 w 1417"/>
                <a:gd name="T7" fmla="*/ 1552 h 14710"/>
                <a:gd name="T8" fmla="*/ 787 w 1417"/>
                <a:gd name="T9" fmla="*/ 1072 h 14710"/>
                <a:gd name="T10" fmla="*/ 779 w 1417"/>
                <a:gd name="T11" fmla="*/ 1024 h 14710"/>
                <a:gd name="T12" fmla="*/ 758 w 1417"/>
                <a:gd name="T13" fmla="*/ 898 h 14710"/>
                <a:gd name="T14" fmla="*/ 667 w 1417"/>
                <a:gd name="T15" fmla="*/ 520 h 14710"/>
                <a:gd name="T16" fmla="*/ 537 w 1417"/>
                <a:gd name="T17" fmla="*/ 158 h 14710"/>
                <a:gd name="T18" fmla="*/ 484 w 1417"/>
                <a:gd name="T19" fmla="*/ 43 h 14710"/>
                <a:gd name="T20" fmla="*/ 463 w 1417"/>
                <a:gd name="T21" fmla="*/ 0 h 14710"/>
                <a:gd name="T22" fmla="*/ 512 w 1417"/>
                <a:gd name="T23" fmla="*/ 264 h 14710"/>
                <a:gd name="T24" fmla="*/ 519 w 1417"/>
                <a:gd name="T25" fmla="*/ 314 h 14710"/>
                <a:gd name="T26" fmla="*/ 535 w 1417"/>
                <a:gd name="T27" fmla="*/ 456 h 14710"/>
                <a:gd name="T28" fmla="*/ 541 w 1417"/>
                <a:gd name="T29" fmla="*/ 959 h 14710"/>
                <a:gd name="T30" fmla="*/ 512 w 1417"/>
                <a:gd name="T31" fmla="*/ 1292 h 14710"/>
                <a:gd name="T32" fmla="*/ 468 w 1417"/>
                <a:gd name="T33" fmla="*/ 1668 h 14710"/>
                <a:gd name="T34" fmla="*/ 374 w 1417"/>
                <a:gd name="T35" fmla="*/ 2485 h 14710"/>
                <a:gd name="T36" fmla="*/ 116 w 1417"/>
                <a:gd name="T37" fmla="*/ 4710 h 14710"/>
                <a:gd name="T38" fmla="*/ 0 w 1417"/>
                <a:gd name="T39" fmla="*/ 6517 h 14710"/>
                <a:gd name="T40" fmla="*/ 282 w 1417"/>
                <a:gd name="T41" fmla="*/ 5622 h 14710"/>
                <a:gd name="T42" fmla="*/ 591 w 1417"/>
                <a:gd name="T43" fmla="*/ 6727 h 14710"/>
                <a:gd name="T44" fmla="*/ 1105 w 1417"/>
                <a:gd name="T45" fmla="*/ 11178 h 14710"/>
                <a:gd name="T46" fmla="*/ 1233 w 1417"/>
                <a:gd name="T47" fmla="*/ 13847 h 14710"/>
                <a:gd name="T48" fmla="*/ 1222 w 1417"/>
                <a:gd name="T49" fmla="*/ 14710 h 14710"/>
                <a:gd name="T50" fmla="*/ 1248 w 1417"/>
                <a:gd name="T51" fmla="*/ 14499 h 14710"/>
                <a:gd name="T52" fmla="*/ 1414 w 1417"/>
                <a:gd name="T53" fmla="*/ 13071 h 14710"/>
                <a:gd name="T54" fmla="*/ 1178 w 1417"/>
                <a:gd name="T55" fmla="*/ 11038 h 14710"/>
                <a:gd name="T56" fmla="*/ 1009 w 1417"/>
                <a:gd name="T57" fmla="*/ 7497 h 14710"/>
                <a:gd name="T58" fmla="*/ 1178 w 1417"/>
                <a:gd name="T59" fmla="*/ 3956 h 14710"/>
                <a:gd name="T60" fmla="*/ 1417 w 1417"/>
                <a:gd name="T61" fmla="*/ 1894 h 14710"/>
                <a:gd name="T62" fmla="*/ 1417 w 1417"/>
                <a:gd name="T63" fmla="*/ 1717 h 14710"/>
                <a:gd name="T64" fmla="*/ 1373 w 1417"/>
                <a:gd name="T65" fmla="*/ 1341 h 14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7" h="14710">
                  <a:moveTo>
                    <a:pt x="1373" y="1341"/>
                  </a:moveTo>
                  <a:cubicBezTo>
                    <a:pt x="1296" y="1886"/>
                    <a:pt x="1200" y="2183"/>
                    <a:pt x="1098" y="2183"/>
                  </a:cubicBezTo>
                  <a:cubicBezTo>
                    <a:pt x="1040" y="2183"/>
                    <a:pt x="984" y="2085"/>
                    <a:pt x="931" y="1898"/>
                  </a:cubicBezTo>
                  <a:cubicBezTo>
                    <a:pt x="905" y="1804"/>
                    <a:pt x="880" y="1689"/>
                    <a:pt x="856" y="1552"/>
                  </a:cubicBezTo>
                  <a:cubicBezTo>
                    <a:pt x="832" y="1413"/>
                    <a:pt x="812" y="1260"/>
                    <a:pt x="787" y="1072"/>
                  </a:cubicBezTo>
                  <a:cubicBezTo>
                    <a:pt x="787" y="1072"/>
                    <a:pt x="784" y="1055"/>
                    <a:pt x="779" y="1024"/>
                  </a:cubicBezTo>
                  <a:cubicBezTo>
                    <a:pt x="774" y="993"/>
                    <a:pt x="767" y="950"/>
                    <a:pt x="758" y="898"/>
                  </a:cubicBezTo>
                  <a:cubicBezTo>
                    <a:pt x="737" y="793"/>
                    <a:pt x="708" y="655"/>
                    <a:pt x="667" y="520"/>
                  </a:cubicBezTo>
                  <a:cubicBezTo>
                    <a:pt x="629" y="385"/>
                    <a:pt x="577" y="254"/>
                    <a:pt x="537" y="158"/>
                  </a:cubicBezTo>
                  <a:cubicBezTo>
                    <a:pt x="515" y="110"/>
                    <a:pt x="497" y="71"/>
                    <a:pt x="484" y="43"/>
                  </a:cubicBezTo>
                  <a:cubicBezTo>
                    <a:pt x="472" y="15"/>
                    <a:pt x="463" y="0"/>
                    <a:pt x="463" y="0"/>
                  </a:cubicBezTo>
                  <a:cubicBezTo>
                    <a:pt x="481" y="83"/>
                    <a:pt x="498" y="170"/>
                    <a:pt x="512" y="264"/>
                  </a:cubicBezTo>
                  <a:cubicBezTo>
                    <a:pt x="512" y="264"/>
                    <a:pt x="514" y="281"/>
                    <a:pt x="519" y="314"/>
                  </a:cubicBezTo>
                  <a:cubicBezTo>
                    <a:pt x="523" y="347"/>
                    <a:pt x="528" y="394"/>
                    <a:pt x="535" y="456"/>
                  </a:cubicBezTo>
                  <a:cubicBezTo>
                    <a:pt x="544" y="578"/>
                    <a:pt x="553" y="752"/>
                    <a:pt x="541" y="959"/>
                  </a:cubicBezTo>
                  <a:cubicBezTo>
                    <a:pt x="536" y="1063"/>
                    <a:pt x="525" y="1172"/>
                    <a:pt x="512" y="1292"/>
                  </a:cubicBezTo>
                  <a:cubicBezTo>
                    <a:pt x="498" y="1411"/>
                    <a:pt x="483" y="1537"/>
                    <a:pt x="468" y="1668"/>
                  </a:cubicBezTo>
                  <a:cubicBezTo>
                    <a:pt x="438" y="1928"/>
                    <a:pt x="406" y="2207"/>
                    <a:pt x="374" y="2485"/>
                  </a:cubicBezTo>
                  <a:cubicBezTo>
                    <a:pt x="245" y="3598"/>
                    <a:pt x="116" y="4710"/>
                    <a:pt x="116" y="4710"/>
                  </a:cubicBezTo>
                  <a:cubicBezTo>
                    <a:pt x="58" y="5215"/>
                    <a:pt x="18" y="5838"/>
                    <a:pt x="0" y="6517"/>
                  </a:cubicBezTo>
                  <a:cubicBezTo>
                    <a:pt x="79" y="5938"/>
                    <a:pt x="177" y="5622"/>
                    <a:pt x="282" y="5622"/>
                  </a:cubicBezTo>
                  <a:cubicBezTo>
                    <a:pt x="399" y="5622"/>
                    <a:pt x="508" y="6014"/>
                    <a:pt x="591" y="6727"/>
                  </a:cubicBezTo>
                  <a:cubicBezTo>
                    <a:pt x="1105" y="11178"/>
                    <a:pt x="1105" y="11178"/>
                    <a:pt x="1105" y="11178"/>
                  </a:cubicBezTo>
                  <a:cubicBezTo>
                    <a:pt x="1188" y="11891"/>
                    <a:pt x="1233" y="12839"/>
                    <a:pt x="1233" y="13847"/>
                  </a:cubicBezTo>
                  <a:cubicBezTo>
                    <a:pt x="1233" y="14142"/>
                    <a:pt x="1229" y="14430"/>
                    <a:pt x="1222" y="14710"/>
                  </a:cubicBezTo>
                  <a:cubicBezTo>
                    <a:pt x="1231" y="14640"/>
                    <a:pt x="1239" y="14570"/>
                    <a:pt x="1248" y="14499"/>
                  </a:cubicBezTo>
                  <a:cubicBezTo>
                    <a:pt x="1414" y="13071"/>
                    <a:pt x="1414" y="13071"/>
                    <a:pt x="1414" y="13071"/>
                  </a:cubicBezTo>
                  <a:cubicBezTo>
                    <a:pt x="1178" y="11038"/>
                    <a:pt x="1178" y="11038"/>
                    <a:pt x="1178" y="11038"/>
                  </a:cubicBezTo>
                  <a:cubicBezTo>
                    <a:pt x="1069" y="10092"/>
                    <a:pt x="1009" y="8835"/>
                    <a:pt x="1009" y="7497"/>
                  </a:cubicBezTo>
                  <a:cubicBezTo>
                    <a:pt x="1009" y="6160"/>
                    <a:pt x="1069" y="4902"/>
                    <a:pt x="1178" y="3956"/>
                  </a:cubicBezTo>
                  <a:cubicBezTo>
                    <a:pt x="1417" y="1894"/>
                    <a:pt x="1417" y="1894"/>
                    <a:pt x="1417" y="1894"/>
                  </a:cubicBezTo>
                  <a:cubicBezTo>
                    <a:pt x="1417" y="1717"/>
                    <a:pt x="1417" y="1717"/>
                    <a:pt x="1417" y="1717"/>
                  </a:cubicBezTo>
                  <a:lnTo>
                    <a:pt x="1373" y="13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58">
              <a:extLst>
                <a:ext uri="{FF2B5EF4-FFF2-40B4-BE49-F238E27FC236}">
                  <a16:creationId xmlns:a16="http://schemas.microsoft.com/office/drawing/2014/main" id="{8860DE23-E56F-4DA3-941C-F7161EC2B6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0" cy="0"/>
            </a:xfrm>
            <a:custGeom>
              <a:avLst/>
              <a:gdLst>
                <a:gd name="T0" fmla="*/ 0 w 10"/>
                <a:gd name="T1" fmla="*/ 0 h 10"/>
                <a:gd name="T2" fmla="*/ 1 w 10"/>
                <a:gd name="T3" fmla="*/ 1 h 10"/>
                <a:gd name="T4" fmla="*/ 10 w 10"/>
                <a:gd name="T5" fmla="*/ 10 h 10"/>
                <a:gd name="T6" fmla="*/ 0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8"/>
                    <a:pt x="5" y="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59">
              <a:extLst>
                <a:ext uri="{FF2B5EF4-FFF2-40B4-BE49-F238E27FC236}">
                  <a16:creationId xmlns:a16="http://schemas.microsoft.com/office/drawing/2014/main" id="{C3029F2A-5FED-4AC0-838F-075B54E313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8" y="3772"/>
              <a:ext cx="490" cy="289"/>
            </a:xfrm>
            <a:custGeom>
              <a:avLst/>
              <a:gdLst>
                <a:gd name="T0" fmla="*/ 12212 w 12416"/>
                <a:gd name="T1" fmla="*/ 118 h 7342"/>
                <a:gd name="T2" fmla="*/ 12416 w 12416"/>
                <a:gd name="T3" fmla="*/ 0 h 7342"/>
                <a:gd name="T4" fmla="*/ 11124 w 12416"/>
                <a:gd name="T5" fmla="*/ 679 h 7342"/>
                <a:gd name="T6" fmla="*/ 10710 w 12416"/>
                <a:gd name="T7" fmla="*/ 950 h 7342"/>
                <a:gd name="T8" fmla="*/ 9609 w 12416"/>
                <a:gd name="T9" fmla="*/ 1728 h 7342"/>
                <a:gd name="T10" fmla="*/ 9285 w 12416"/>
                <a:gd name="T11" fmla="*/ 1964 h 7342"/>
                <a:gd name="T12" fmla="*/ 7809 w 12416"/>
                <a:gd name="T13" fmla="*/ 3058 h 7342"/>
                <a:gd name="T14" fmla="*/ 4959 w 12416"/>
                <a:gd name="T15" fmla="*/ 4841 h 7342"/>
                <a:gd name="T16" fmla="*/ 4753 w 12416"/>
                <a:gd name="T17" fmla="*/ 4700 h 7342"/>
                <a:gd name="T18" fmla="*/ 4022 w 12416"/>
                <a:gd name="T19" fmla="*/ 5357 h 7342"/>
                <a:gd name="T20" fmla="*/ 3385 w 12416"/>
                <a:gd name="T21" fmla="*/ 5828 h 7342"/>
                <a:gd name="T22" fmla="*/ 3086 w 12416"/>
                <a:gd name="T23" fmla="*/ 6005 h 7342"/>
                <a:gd name="T24" fmla="*/ 1610 w 12416"/>
                <a:gd name="T25" fmla="*/ 6379 h 7342"/>
                <a:gd name="T26" fmla="*/ 430 w 12416"/>
                <a:gd name="T27" fmla="*/ 6191 h 7342"/>
                <a:gd name="T28" fmla="*/ 0 w 12416"/>
                <a:gd name="T29" fmla="*/ 6032 h 7342"/>
                <a:gd name="T30" fmla="*/ 288 w 12416"/>
                <a:gd name="T31" fmla="*/ 6228 h 7342"/>
                <a:gd name="T32" fmla="*/ 805 w 12416"/>
                <a:gd name="T33" fmla="*/ 6515 h 7342"/>
                <a:gd name="T34" fmla="*/ 1816 w 12416"/>
                <a:gd name="T35" fmla="*/ 6857 h 7342"/>
                <a:gd name="T36" fmla="*/ 2046 w 12416"/>
                <a:gd name="T37" fmla="*/ 6940 h 7342"/>
                <a:gd name="T38" fmla="*/ 1886 w 12416"/>
                <a:gd name="T39" fmla="*/ 7173 h 7342"/>
                <a:gd name="T40" fmla="*/ 1821 w 12416"/>
                <a:gd name="T41" fmla="*/ 7188 h 7342"/>
                <a:gd name="T42" fmla="*/ 1567 w 12416"/>
                <a:gd name="T43" fmla="*/ 7223 h 7342"/>
                <a:gd name="T44" fmla="*/ 1348 w 12416"/>
                <a:gd name="T45" fmla="*/ 7281 h 7342"/>
                <a:gd name="T46" fmla="*/ 1683 w 12416"/>
                <a:gd name="T47" fmla="*/ 7337 h 7342"/>
                <a:gd name="T48" fmla="*/ 1796 w 12416"/>
                <a:gd name="T49" fmla="*/ 7342 h 7342"/>
                <a:gd name="T50" fmla="*/ 1862 w 12416"/>
                <a:gd name="T51" fmla="*/ 7339 h 7342"/>
                <a:gd name="T52" fmla="*/ 1946 w 12416"/>
                <a:gd name="T53" fmla="*/ 7330 h 7342"/>
                <a:gd name="T54" fmla="*/ 1951 w 12416"/>
                <a:gd name="T55" fmla="*/ 7330 h 7342"/>
                <a:gd name="T56" fmla="*/ 1961 w 12416"/>
                <a:gd name="T57" fmla="*/ 7330 h 7342"/>
                <a:gd name="T58" fmla="*/ 1971 w 12416"/>
                <a:gd name="T59" fmla="*/ 7328 h 7342"/>
                <a:gd name="T60" fmla="*/ 2022 w 12416"/>
                <a:gd name="T61" fmla="*/ 7323 h 7342"/>
                <a:gd name="T62" fmla="*/ 3014 w 12416"/>
                <a:gd name="T63" fmla="*/ 7095 h 7342"/>
                <a:gd name="T64" fmla="*/ 3613 w 12416"/>
                <a:gd name="T65" fmla="*/ 6822 h 7342"/>
                <a:gd name="T66" fmla="*/ 3766 w 12416"/>
                <a:gd name="T67" fmla="*/ 6733 h 7342"/>
                <a:gd name="T68" fmla="*/ 4728 w 12416"/>
                <a:gd name="T69" fmla="*/ 6049 h 7342"/>
                <a:gd name="T70" fmla="*/ 4986 w 12416"/>
                <a:gd name="T71" fmla="*/ 5837 h 7342"/>
                <a:gd name="T72" fmla="*/ 5410 w 12416"/>
                <a:gd name="T73" fmla="*/ 5468 h 7342"/>
                <a:gd name="T74" fmla="*/ 6476 w 12416"/>
                <a:gd name="T75" fmla="*/ 4491 h 7342"/>
                <a:gd name="T76" fmla="*/ 7578 w 12416"/>
                <a:gd name="T77" fmla="*/ 3499 h 7342"/>
                <a:gd name="T78" fmla="*/ 7844 w 12416"/>
                <a:gd name="T79" fmla="*/ 3271 h 7342"/>
                <a:gd name="T80" fmla="*/ 8293 w 12416"/>
                <a:gd name="T81" fmla="*/ 2897 h 7342"/>
                <a:gd name="T82" fmla="*/ 9273 w 12416"/>
                <a:gd name="T83" fmla="*/ 2089 h 7342"/>
                <a:gd name="T84" fmla="*/ 10373 w 12416"/>
                <a:gd name="T85" fmla="*/ 1325 h 7342"/>
                <a:gd name="T86" fmla="*/ 11202 w 12416"/>
                <a:gd name="T87" fmla="*/ 854 h 7342"/>
                <a:gd name="T88" fmla="*/ 11912 w 12416"/>
                <a:gd name="T89" fmla="*/ 310 h 7342"/>
                <a:gd name="T90" fmla="*/ 12086 w 12416"/>
                <a:gd name="T91" fmla="*/ 196 h 7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6" h="7342">
                  <a:moveTo>
                    <a:pt x="12086" y="196"/>
                  </a:moveTo>
                  <a:cubicBezTo>
                    <a:pt x="12138" y="164"/>
                    <a:pt x="12181" y="137"/>
                    <a:pt x="12212" y="118"/>
                  </a:cubicBezTo>
                  <a:cubicBezTo>
                    <a:pt x="12241" y="101"/>
                    <a:pt x="12257" y="91"/>
                    <a:pt x="12257" y="91"/>
                  </a:cubicBezTo>
                  <a:cubicBezTo>
                    <a:pt x="12312" y="58"/>
                    <a:pt x="12365" y="28"/>
                    <a:pt x="12416" y="0"/>
                  </a:cubicBezTo>
                  <a:cubicBezTo>
                    <a:pt x="12198" y="87"/>
                    <a:pt x="11957" y="208"/>
                    <a:pt x="11718" y="335"/>
                  </a:cubicBezTo>
                  <a:cubicBezTo>
                    <a:pt x="11513" y="445"/>
                    <a:pt x="11315" y="561"/>
                    <a:pt x="11124" y="679"/>
                  </a:cubicBezTo>
                  <a:cubicBezTo>
                    <a:pt x="11029" y="739"/>
                    <a:pt x="10936" y="799"/>
                    <a:pt x="10845" y="859"/>
                  </a:cubicBezTo>
                  <a:cubicBezTo>
                    <a:pt x="10800" y="890"/>
                    <a:pt x="10755" y="920"/>
                    <a:pt x="10710" y="950"/>
                  </a:cubicBezTo>
                  <a:cubicBezTo>
                    <a:pt x="10574" y="1044"/>
                    <a:pt x="10574" y="1044"/>
                    <a:pt x="10574" y="1044"/>
                  </a:cubicBezTo>
                  <a:cubicBezTo>
                    <a:pt x="10219" y="1291"/>
                    <a:pt x="9892" y="1527"/>
                    <a:pt x="9609" y="1728"/>
                  </a:cubicBezTo>
                  <a:cubicBezTo>
                    <a:pt x="9609" y="1728"/>
                    <a:pt x="9554" y="1767"/>
                    <a:pt x="9457" y="1837"/>
                  </a:cubicBezTo>
                  <a:cubicBezTo>
                    <a:pt x="9409" y="1872"/>
                    <a:pt x="9351" y="1915"/>
                    <a:pt x="9285" y="1964"/>
                  </a:cubicBezTo>
                  <a:cubicBezTo>
                    <a:pt x="9218" y="2015"/>
                    <a:pt x="9142" y="2073"/>
                    <a:pt x="9060" y="2135"/>
                  </a:cubicBezTo>
                  <a:cubicBezTo>
                    <a:pt x="8723" y="2394"/>
                    <a:pt x="8271" y="2733"/>
                    <a:pt x="7809" y="3058"/>
                  </a:cubicBezTo>
                  <a:cubicBezTo>
                    <a:pt x="6900" y="3710"/>
                    <a:pt x="5991" y="4363"/>
                    <a:pt x="5991" y="4363"/>
                  </a:cubicBezTo>
                  <a:cubicBezTo>
                    <a:pt x="5406" y="4779"/>
                    <a:pt x="5030" y="4931"/>
                    <a:pt x="4959" y="4841"/>
                  </a:cubicBezTo>
                  <a:cubicBezTo>
                    <a:pt x="4893" y="4759"/>
                    <a:pt x="5074" y="4492"/>
                    <a:pt x="5443" y="4061"/>
                  </a:cubicBezTo>
                  <a:cubicBezTo>
                    <a:pt x="5202" y="4287"/>
                    <a:pt x="4970" y="4501"/>
                    <a:pt x="4753" y="4700"/>
                  </a:cubicBezTo>
                  <a:cubicBezTo>
                    <a:pt x="4534" y="4900"/>
                    <a:pt x="4337" y="5083"/>
                    <a:pt x="4159" y="5239"/>
                  </a:cubicBezTo>
                  <a:cubicBezTo>
                    <a:pt x="4159" y="5239"/>
                    <a:pt x="4110" y="5283"/>
                    <a:pt x="4022" y="5357"/>
                  </a:cubicBezTo>
                  <a:cubicBezTo>
                    <a:pt x="3935" y="5431"/>
                    <a:pt x="3807" y="5534"/>
                    <a:pt x="3648" y="5649"/>
                  </a:cubicBezTo>
                  <a:cubicBezTo>
                    <a:pt x="3568" y="5707"/>
                    <a:pt x="3480" y="5767"/>
                    <a:pt x="3385" y="5828"/>
                  </a:cubicBezTo>
                  <a:cubicBezTo>
                    <a:pt x="3339" y="5858"/>
                    <a:pt x="3286" y="5890"/>
                    <a:pt x="3240" y="5919"/>
                  </a:cubicBezTo>
                  <a:cubicBezTo>
                    <a:pt x="3181" y="5952"/>
                    <a:pt x="3139" y="5977"/>
                    <a:pt x="3086" y="6005"/>
                  </a:cubicBezTo>
                  <a:cubicBezTo>
                    <a:pt x="2875" y="6117"/>
                    <a:pt x="2635" y="6213"/>
                    <a:pt x="2381" y="6276"/>
                  </a:cubicBezTo>
                  <a:cubicBezTo>
                    <a:pt x="2129" y="6340"/>
                    <a:pt x="1861" y="6374"/>
                    <a:pt x="1610" y="6379"/>
                  </a:cubicBezTo>
                  <a:cubicBezTo>
                    <a:pt x="1357" y="6385"/>
                    <a:pt x="1119" y="6359"/>
                    <a:pt x="916" y="6320"/>
                  </a:cubicBezTo>
                  <a:cubicBezTo>
                    <a:pt x="713" y="6282"/>
                    <a:pt x="547" y="6230"/>
                    <a:pt x="430" y="6191"/>
                  </a:cubicBezTo>
                  <a:cubicBezTo>
                    <a:pt x="314" y="6152"/>
                    <a:pt x="248" y="6127"/>
                    <a:pt x="248" y="6127"/>
                  </a:cubicBezTo>
                  <a:cubicBezTo>
                    <a:pt x="164" y="6095"/>
                    <a:pt x="82" y="6063"/>
                    <a:pt x="0" y="6032"/>
                  </a:cubicBezTo>
                  <a:cubicBezTo>
                    <a:pt x="0" y="6032"/>
                    <a:pt x="56" y="6072"/>
                    <a:pt x="140" y="6131"/>
                  </a:cubicBezTo>
                  <a:cubicBezTo>
                    <a:pt x="183" y="6160"/>
                    <a:pt x="233" y="6193"/>
                    <a:pt x="288" y="6228"/>
                  </a:cubicBezTo>
                  <a:cubicBezTo>
                    <a:pt x="343" y="6263"/>
                    <a:pt x="403" y="6300"/>
                    <a:pt x="460" y="6335"/>
                  </a:cubicBezTo>
                  <a:cubicBezTo>
                    <a:pt x="582" y="6407"/>
                    <a:pt x="707" y="6471"/>
                    <a:pt x="805" y="6515"/>
                  </a:cubicBezTo>
                  <a:cubicBezTo>
                    <a:pt x="902" y="6559"/>
                    <a:pt x="969" y="6585"/>
                    <a:pt x="969" y="6585"/>
                  </a:cubicBezTo>
                  <a:cubicBezTo>
                    <a:pt x="1321" y="6725"/>
                    <a:pt x="1610" y="6797"/>
                    <a:pt x="1816" y="6857"/>
                  </a:cubicBezTo>
                  <a:cubicBezTo>
                    <a:pt x="1871" y="6873"/>
                    <a:pt x="1908" y="6886"/>
                    <a:pt x="1944" y="6900"/>
                  </a:cubicBezTo>
                  <a:cubicBezTo>
                    <a:pt x="1990" y="6914"/>
                    <a:pt x="2018" y="6927"/>
                    <a:pt x="2046" y="6940"/>
                  </a:cubicBezTo>
                  <a:cubicBezTo>
                    <a:pt x="2100" y="6967"/>
                    <a:pt x="2129" y="6994"/>
                    <a:pt x="2130" y="7024"/>
                  </a:cubicBezTo>
                  <a:cubicBezTo>
                    <a:pt x="2134" y="7074"/>
                    <a:pt x="2047" y="7129"/>
                    <a:pt x="1886" y="7173"/>
                  </a:cubicBezTo>
                  <a:cubicBezTo>
                    <a:pt x="1858" y="7181"/>
                    <a:pt x="1858" y="7181"/>
                    <a:pt x="1858" y="7181"/>
                  </a:cubicBezTo>
                  <a:cubicBezTo>
                    <a:pt x="1821" y="7188"/>
                    <a:pt x="1821" y="7188"/>
                    <a:pt x="1821" y="7188"/>
                  </a:cubicBezTo>
                  <a:cubicBezTo>
                    <a:pt x="1741" y="7202"/>
                    <a:pt x="1741" y="7202"/>
                    <a:pt x="1741" y="7202"/>
                  </a:cubicBezTo>
                  <a:cubicBezTo>
                    <a:pt x="1688" y="7210"/>
                    <a:pt x="1630" y="7218"/>
                    <a:pt x="1567" y="7223"/>
                  </a:cubicBezTo>
                  <a:cubicBezTo>
                    <a:pt x="1440" y="7233"/>
                    <a:pt x="1292" y="7234"/>
                    <a:pt x="1125" y="7221"/>
                  </a:cubicBezTo>
                  <a:cubicBezTo>
                    <a:pt x="1125" y="7221"/>
                    <a:pt x="1235" y="7255"/>
                    <a:pt x="1348" y="7281"/>
                  </a:cubicBezTo>
                  <a:cubicBezTo>
                    <a:pt x="1461" y="7309"/>
                    <a:pt x="1575" y="7329"/>
                    <a:pt x="1575" y="7329"/>
                  </a:cubicBezTo>
                  <a:cubicBezTo>
                    <a:pt x="1575" y="7329"/>
                    <a:pt x="1629" y="7334"/>
                    <a:pt x="1683" y="7337"/>
                  </a:cubicBezTo>
                  <a:cubicBezTo>
                    <a:pt x="1711" y="7338"/>
                    <a:pt x="1738" y="7340"/>
                    <a:pt x="1759" y="7341"/>
                  </a:cubicBezTo>
                  <a:cubicBezTo>
                    <a:pt x="1781" y="7342"/>
                    <a:pt x="1796" y="7342"/>
                    <a:pt x="1796" y="7342"/>
                  </a:cubicBezTo>
                  <a:cubicBezTo>
                    <a:pt x="1796" y="7342"/>
                    <a:pt x="1807" y="7342"/>
                    <a:pt x="1827" y="7341"/>
                  </a:cubicBezTo>
                  <a:cubicBezTo>
                    <a:pt x="1836" y="7340"/>
                    <a:pt x="1851" y="7340"/>
                    <a:pt x="1862" y="7339"/>
                  </a:cubicBezTo>
                  <a:cubicBezTo>
                    <a:pt x="1873" y="7338"/>
                    <a:pt x="1886" y="7336"/>
                    <a:pt x="1900" y="7335"/>
                  </a:cubicBezTo>
                  <a:cubicBezTo>
                    <a:pt x="1914" y="7333"/>
                    <a:pt x="1929" y="7332"/>
                    <a:pt x="1946" y="7330"/>
                  </a:cubicBezTo>
                  <a:cubicBezTo>
                    <a:pt x="1950" y="7330"/>
                    <a:pt x="1950" y="7330"/>
                    <a:pt x="1950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61" y="7330"/>
                    <a:pt x="1961" y="7330"/>
                    <a:pt x="1961" y="7330"/>
                  </a:cubicBezTo>
                  <a:cubicBezTo>
                    <a:pt x="1963" y="7329"/>
                    <a:pt x="1963" y="7329"/>
                    <a:pt x="1963" y="7329"/>
                  </a:cubicBezTo>
                  <a:cubicBezTo>
                    <a:pt x="1971" y="7328"/>
                    <a:pt x="1971" y="7328"/>
                    <a:pt x="1971" y="7328"/>
                  </a:cubicBezTo>
                  <a:cubicBezTo>
                    <a:pt x="1977" y="7328"/>
                    <a:pt x="1982" y="7327"/>
                    <a:pt x="1988" y="7327"/>
                  </a:cubicBezTo>
                  <a:cubicBezTo>
                    <a:pt x="1999" y="7326"/>
                    <a:pt x="2010" y="7324"/>
                    <a:pt x="2022" y="7323"/>
                  </a:cubicBezTo>
                  <a:cubicBezTo>
                    <a:pt x="2070" y="7318"/>
                    <a:pt x="2123" y="7311"/>
                    <a:pt x="2181" y="7303"/>
                  </a:cubicBezTo>
                  <a:cubicBezTo>
                    <a:pt x="2414" y="7270"/>
                    <a:pt x="2722" y="7202"/>
                    <a:pt x="3014" y="7095"/>
                  </a:cubicBezTo>
                  <a:cubicBezTo>
                    <a:pt x="3160" y="7042"/>
                    <a:pt x="3302" y="6981"/>
                    <a:pt x="3431" y="6917"/>
                  </a:cubicBezTo>
                  <a:cubicBezTo>
                    <a:pt x="3493" y="6886"/>
                    <a:pt x="3572" y="6847"/>
                    <a:pt x="3613" y="6822"/>
                  </a:cubicBezTo>
                  <a:cubicBezTo>
                    <a:pt x="3641" y="6806"/>
                    <a:pt x="3668" y="6790"/>
                    <a:pt x="3694" y="6775"/>
                  </a:cubicBezTo>
                  <a:cubicBezTo>
                    <a:pt x="3719" y="6761"/>
                    <a:pt x="3743" y="6746"/>
                    <a:pt x="3766" y="6733"/>
                  </a:cubicBezTo>
                  <a:cubicBezTo>
                    <a:pt x="3949" y="6621"/>
                    <a:pt x="4064" y="6540"/>
                    <a:pt x="4064" y="6540"/>
                  </a:cubicBezTo>
                  <a:cubicBezTo>
                    <a:pt x="4278" y="6394"/>
                    <a:pt x="4501" y="6230"/>
                    <a:pt x="4728" y="6049"/>
                  </a:cubicBezTo>
                  <a:cubicBezTo>
                    <a:pt x="4898" y="5910"/>
                    <a:pt x="4898" y="5910"/>
                    <a:pt x="4898" y="5910"/>
                  </a:cubicBezTo>
                  <a:cubicBezTo>
                    <a:pt x="4986" y="5837"/>
                    <a:pt x="4986" y="5837"/>
                    <a:pt x="4986" y="5837"/>
                  </a:cubicBezTo>
                  <a:cubicBezTo>
                    <a:pt x="5069" y="5765"/>
                    <a:pt x="5069" y="5765"/>
                    <a:pt x="5069" y="5765"/>
                  </a:cubicBezTo>
                  <a:cubicBezTo>
                    <a:pt x="5182" y="5666"/>
                    <a:pt x="5296" y="5567"/>
                    <a:pt x="5410" y="5468"/>
                  </a:cubicBezTo>
                  <a:cubicBezTo>
                    <a:pt x="5640" y="5264"/>
                    <a:pt x="5876" y="5050"/>
                    <a:pt x="6116" y="4827"/>
                  </a:cubicBezTo>
                  <a:cubicBezTo>
                    <a:pt x="6236" y="4716"/>
                    <a:pt x="6355" y="4604"/>
                    <a:pt x="6476" y="4491"/>
                  </a:cubicBezTo>
                  <a:cubicBezTo>
                    <a:pt x="6597" y="4379"/>
                    <a:pt x="6719" y="4267"/>
                    <a:pt x="6842" y="4154"/>
                  </a:cubicBezTo>
                  <a:cubicBezTo>
                    <a:pt x="7089" y="3929"/>
                    <a:pt x="7335" y="3710"/>
                    <a:pt x="7578" y="3499"/>
                  </a:cubicBezTo>
                  <a:cubicBezTo>
                    <a:pt x="7638" y="3447"/>
                    <a:pt x="7698" y="3395"/>
                    <a:pt x="7758" y="3343"/>
                  </a:cubicBezTo>
                  <a:cubicBezTo>
                    <a:pt x="7844" y="3271"/>
                    <a:pt x="7844" y="3271"/>
                    <a:pt x="7844" y="3271"/>
                  </a:cubicBezTo>
                  <a:cubicBezTo>
                    <a:pt x="7935" y="3195"/>
                    <a:pt x="7935" y="3195"/>
                    <a:pt x="7935" y="3195"/>
                  </a:cubicBezTo>
                  <a:cubicBezTo>
                    <a:pt x="8055" y="3095"/>
                    <a:pt x="8174" y="2996"/>
                    <a:pt x="8293" y="2897"/>
                  </a:cubicBezTo>
                  <a:cubicBezTo>
                    <a:pt x="8518" y="2710"/>
                    <a:pt x="8741" y="2525"/>
                    <a:pt x="8964" y="2340"/>
                  </a:cubicBezTo>
                  <a:cubicBezTo>
                    <a:pt x="9070" y="2253"/>
                    <a:pt x="9175" y="2166"/>
                    <a:pt x="9273" y="2089"/>
                  </a:cubicBezTo>
                  <a:cubicBezTo>
                    <a:pt x="9370" y="2012"/>
                    <a:pt x="9465" y="1940"/>
                    <a:pt x="9558" y="1873"/>
                  </a:cubicBezTo>
                  <a:cubicBezTo>
                    <a:pt x="9558" y="1873"/>
                    <a:pt x="9957" y="1583"/>
                    <a:pt x="10373" y="1325"/>
                  </a:cubicBezTo>
                  <a:cubicBezTo>
                    <a:pt x="10581" y="1195"/>
                    <a:pt x="10792" y="1070"/>
                    <a:pt x="10944" y="988"/>
                  </a:cubicBezTo>
                  <a:cubicBezTo>
                    <a:pt x="11098" y="905"/>
                    <a:pt x="11202" y="854"/>
                    <a:pt x="11202" y="854"/>
                  </a:cubicBezTo>
                  <a:cubicBezTo>
                    <a:pt x="11202" y="854"/>
                    <a:pt x="11448" y="639"/>
                    <a:pt x="11714" y="448"/>
                  </a:cubicBezTo>
                  <a:cubicBezTo>
                    <a:pt x="11781" y="400"/>
                    <a:pt x="11848" y="353"/>
                    <a:pt x="11912" y="310"/>
                  </a:cubicBezTo>
                  <a:cubicBezTo>
                    <a:pt x="11943" y="289"/>
                    <a:pt x="11974" y="269"/>
                    <a:pt x="12003" y="249"/>
                  </a:cubicBezTo>
                  <a:cubicBezTo>
                    <a:pt x="12032" y="231"/>
                    <a:pt x="12055" y="214"/>
                    <a:pt x="12086" y="196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60">
              <a:extLst>
                <a:ext uri="{FF2B5EF4-FFF2-40B4-BE49-F238E27FC236}">
                  <a16:creationId xmlns:a16="http://schemas.microsoft.com/office/drawing/2014/main" id="{65A336E6-62AE-49D8-A84C-3D0A2CC42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1" cy="1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1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3"/>
                    <a:pt x="2" y="2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61">
              <a:extLst>
                <a:ext uri="{FF2B5EF4-FFF2-40B4-BE49-F238E27FC236}">
                  <a16:creationId xmlns:a16="http://schemas.microsoft.com/office/drawing/2014/main" id="{E5E96159-8CC2-4DE0-B724-03AD58E22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8" y="3764"/>
              <a:ext cx="143" cy="106"/>
            </a:xfrm>
            <a:custGeom>
              <a:avLst/>
              <a:gdLst>
                <a:gd name="T0" fmla="*/ 3480 w 3602"/>
                <a:gd name="T1" fmla="*/ 1137 h 2675"/>
                <a:gd name="T2" fmla="*/ 3143 w 3602"/>
                <a:gd name="T3" fmla="*/ 585 h 2675"/>
                <a:gd name="T4" fmla="*/ 3115 w 3602"/>
                <a:gd name="T5" fmla="*/ 553 h 2675"/>
                <a:gd name="T6" fmla="*/ 3110 w 3602"/>
                <a:gd name="T7" fmla="*/ 548 h 2675"/>
                <a:gd name="T8" fmla="*/ 3110 w 3602"/>
                <a:gd name="T9" fmla="*/ 548 h 2675"/>
                <a:gd name="T10" fmla="*/ 3041 w 3602"/>
                <a:gd name="T11" fmla="*/ 479 h 2675"/>
                <a:gd name="T12" fmla="*/ 3015 w 3602"/>
                <a:gd name="T13" fmla="*/ 455 h 2675"/>
                <a:gd name="T14" fmla="*/ 2947 w 3602"/>
                <a:gd name="T15" fmla="*/ 396 h 2675"/>
                <a:gd name="T16" fmla="*/ 2163 w 3602"/>
                <a:gd name="T17" fmla="*/ 35 h 2675"/>
                <a:gd name="T18" fmla="*/ 1698 w 3602"/>
                <a:gd name="T19" fmla="*/ 3 h 2675"/>
                <a:gd name="T20" fmla="*/ 1663 w 3602"/>
                <a:gd name="T21" fmla="*/ 4 h 2675"/>
                <a:gd name="T22" fmla="*/ 1657 w 3602"/>
                <a:gd name="T23" fmla="*/ 4 h 2675"/>
                <a:gd name="T24" fmla="*/ 1663 w 3602"/>
                <a:gd name="T25" fmla="*/ 4 h 2675"/>
                <a:gd name="T26" fmla="*/ 1602 w 3602"/>
                <a:gd name="T27" fmla="*/ 7 h 2675"/>
                <a:gd name="T28" fmla="*/ 1505 w 3602"/>
                <a:gd name="T29" fmla="*/ 15 h 2675"/>
                <a:gd name="T30" fmla="*/ 726 w 3602"/>
                <a:gd name="T31" fmla="*/ 207 h 2675"/>
                <a:gd name="T32" fmla="*/ 292 w 3602"/>
                <a:gd name="T33" fmla="*/ 426 h 2675"/>
                <a:gd name="T34" fmla="*/ 0 w 3602"/>
                <a:gd name="T35" fmla="*/ 615 h 2675"/>
                <a:gd name="T36" fmla="*/ 136 w 3602"/>
                <a:gd name="T37" fmla="*/ 547 h 2675"/>
                <a:gd name="T38" fmla="*/ 303 w 3602"/>
                <a:gd name="T39" fmla="*/ 469 h 2675"/>
                <a:gd name="T40" fmla="*/ 505 w 3602"/>
                <a:gd name="T41" fmla="*/ 384 h 2675"/>
                <a:gd name="T42" fmla="*/ 1722 w 3602"/>
                <a:gd name="T43" fmla="*/ 168 h 2675"/>
                <a:gd name="T44" fmla="*/ 2763 w 3602"/>
                <a:gd name="T45" fmla="*/ 497 h 2675"/>
                <a:gd name="T46" fmla="*/ 2880 w 3602"/>
                <a:gd name="T47" fmla="*/ 592 h 2675"/>
                <a:gd name="T48" fmla="*/ 2899 w 3602"/>
                <a:gd name="T49" fmla="*/ 608 h 2675"/>
                <a:gd name="T50" fmla="*/ 2975 w 3602"/>
                <a:gd name="T51" fmla="*/ 683 h 2675"/>
                <a:gd name="T52" fmla="*/ 2981 w 3602"/>
                <a:gd name="T53" fmla="*/ 689 h 2675"/>
                <a:gd name="T54" fmla="*/ 3009 w 3602"/>
                <a:gd name="T55" fmla="*/ 720 h 2675"/>
                <a:gd name="T56" fmla="*/ 3146 w 3602"/>
                <a:gd name="T57" fmla="*/ 886 h 2675"/>
                <a:gd name="T58" fmla="*/ 3458 w 3602"/>
                <a:gd name="T59" fmla="*/ 1700 h 2675"/>
                <a:gd name="T60" fmla="*/ 3476 w 3602"/>
                <a:gd name="T61" fmla="*/ 1870 h 2675"/>
                <a:gd name="T62" fmla="*/ 3479 w 3602"/>
                <a:gd name="T63" fmla="*/ 1924 h 2675"/>
                <a:gd name="T64" fmla="*/ 3482 w 3602"/>
                <a:gd name="T65" fmla="*/ 2048 h 2675"/>
                <a:gd name="T66" fmla="*/ 3483 w 3602"/>
                <a:gd name="T67" fmla="*/ 2675 h 2675"/>
                <a:gd name="T68" fmla="*/ 3600 w 3602"/>
                <a:gd name="T69" fmla="*/ 1869 h 2675"/>
                <a:gd name="T70" fmla="*/ 3591 w 3602"/>
                <a:gd name="T71" fmla="*/ 1625 h 2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02" h="2675">
                  <a:moveTo>
                    <a:pt x="3591" y="1625"/>
                  </a:moveTo>
                  <a:cubicBezTo>
                    <a:pt x="3576" y="1459"/>
                    <a:pt x="3538" y="1295"/>
                    <a:pt x="3480" y="1137"/>
                  </a:cubicBezTo>
                  <a:cubicBezTo>
                    <a:pt x="3421" y="979"/>
                    <a:pt x="3338" y="829"/>
                    <a:pt x="3230" y="688"/>
                  </a:cubicBezTo>
                  <a:cubicBezTo>
                    <a:pt x="3201" y="653"/>
                    <a:pt x="3174" y="618"/>
                    <a:pt x="3143" y="585"/>
                  </a:cubicBezTo>
                  <a:cubicBezTo>
                    <a:pt x="3120" y="560"/>
                    <a:pt x="3120" y="560"/>
                    <a:pt x="3120" y="560"/>
                  </a:cubicBezTo>
                  <a:cubicBezTo>
                    <a:pt x="3115" y="553"/>
                    <a:pt x="3115" y="553"/>
                    <a:pt x="3115" y="553"/>
                  </a:cubicBezTo>
                  <a:cubicBezTo>
                    <a:pt x="3112" y="550"/>
                    <a:pt x="3112" y="550"/>
                    <a:pt x="3112" y="550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04" y="542"/>
                    <a:pt x="3104" y="542"/>
                    <a:pt x="3104" y="542"/>
                  </a:cubicBezTo>
                  <a:cubicBezTo>
                    <a:pt x="3041" y="479"/>
                    <a:pt x="3041" y="479"/>
                    <a:pt x="3041" y="479"/>
                  </a:cubicBezTo>
                  <a:cubicBezTo>
                    <a:pt x="3026" y="464"/>
                    <a:pt x="3026" y="464"/>
                    <a:pt x="3026" y="464"/>
                  </a:cubicBezTo>
                  <a:cubicBezTo>
                    <a:pt x="3015" y="455"/>
                    <a:pt x="3015" y="455"/>
                    <a:pt x="3015" y="455"/>
                  </a:cubicBezTo>
                  <a:cubicBezTo>
                    <a:pt x="2993" y="436"/>
                    <a:pt x="2993" y="436"/>
                    <a:pt x="2993" y="436"/>
                  </a:cubicBezTo>
                  <a:cubicBezTo>
                    <a:pt x="2978" y="423"/>
                    <a:pt x="2966" y="411"/>
                    <a:pt x="2947" y="396"/>
                  </a:cubicBezTo>
                  <a:cubicBezTo>
                    <a:pt x="2912" y="368"/>
                    <a:pt x="2877" y="340"/>
                    <a:pt x="2839" y="314"/>
                  </a:cubicBezTo>
                  <a:cubicBezTo>
                    <a:pt x="2635" y="171"/>
                    <a:pt x="2406" y="80"/>
                    <a:pt x="2163" y="35"/>
                  </a:cubicBezTo>
                  <a:cubicBezTo>
                    <a:pt x="2042" y="13"/>
                    <a:pt x="1918" y="1"/>
                    <a:pt x="1793" y="2"/>
                  </a:cubicBezTo>
                  <a:cubicBezTo>
                    <a:pt x="1762" y="0"/>
                    <a:pt x="1730" y="3"/>
                    <a:pt x="1698" y="3"/>
                  </a:cubicBezTo>
                  <a:cubicBezTo>
                    <a:pt x="1675" y="4"/>
                    <a:pt x="1675" y="4"/>
                    <a:pt x="167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60" y="4"/>
                    <a:pt x="1647" y="4"/>
                    <a:pt x="166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9" y="4"/>
                    <a:pt x="1659" y="4"/>
                    <a:pt x="1659" y="4"/>
                  </a:cubicBezTo>
                  <a:cubicBezTo>
                    <a:pt x="1602" y="7"/>
                    <a:pt x="1602" y="7"/>
                    <a:pt x="1602" y="7"/>
                  </a:cubicBezTo>
                  <a:cubicBezTo>
                    <a:pt x="1584" y="9"/>
                    <a:pt x="1561" y="9"/>
                    <a:pt x="1548" y="11"/>
                  </a:cubicBezTo>
                  <a:cubicBezTo>
                    <a:pt x="1505" y="15"/>
                    <a:pt x="1505" y="15"/>
                    <a:pt x="1505" y="15"/>
                  </a:cubicBezTo>
                  <a:cubicBezTo>
                    <a:pt x="1478" y="18"/>
                    <a:pt x="1445" y="22"/>
                    <a:pt x="1415" y="26"/>
                  </a:cubicBezTo>
                  <a:cubicBezTo>
                    <a:pt x="1167" y="59"/>
                    <a:pt x="936" y="123"/>
                    <a:pt x="726" y="207"/>
                  </a:cubicBezTo>
                  <a:cubicBezTo>
                    <a:pt x="622" y="249"/>
                    <a:pt x="522" y="297"/>
                    <a:pt x="428" y="347"/>
                  </a:cubicBezTo>
                  <a:cubicBezTo>
                    <a:pt x="382" y="373"/>
                    <a:pt x="336" y="399"/>
                    <a:pt x="292" y="426"/>
                  </a:cubicBezTo>
                  <a:cubicBezTo>
                    <a:pt x="255" y="450"/>
                    <a:pt x="185" y="489"/>
                    <a:pt x="150" y="514"/>
                  </a:cubicBezTo>
                  <a:cubicBezTo>
                    <a:pt x="0" y="615"/>
                    <a:pt x="0" y="615"/>
                    <a:pt x="0" y="615"/>
                  </a:cubicBezTo>
                  <a:cubicBezTo>
                    <a:pt x="0" y="615"/>
                    <a:pt x="22" y="604"/>
                    <a:pt x="62" y="584"/>
                  </a:cubicBezTo>
                  <a:cubicBezTo>
                    <a:pt x="83" y="574"/>
                    <a:pt x="107" y="562"/>
                    <a:pt x="136" y="547"/>
                  </a:cubicBezTo>
                  <a:cubicBezTo>
                    <a:pt x="167" y="533"/>
                    <a:pt x="201" y="516"/>
                    <a:pt x="240" y="498"/>
                  </a:cubicBezTo>
                  <a:cubicBezTo>
                    <a:pt x="260" y="489"/>
                    <a:pt x="281" y="479"/>
                    <a:pt x="303" y="469"/>
                  </a:cubicBezTo>
                  <a:cubicBezTo>
                    <a:pt x="322" y="460"/>
                    <a:pt x="343" y="451"/>
                    <a:pt x="365" y="442"/>
                  </a:cubicBezTo>
                  <a:cubicBezTo>
                    <a:pt x="408" y="423"/>
                    <a:pt x="455" y="403"/>
                    <a:pt x="505" y="384"/>
                  </a:cubicBezTo>
                  <a:cubicBezTo>
                    <a:pt x="606" y="345"/>
                    <a:pt x="721" y="307"/>
                    <a:pt x="847" y="273"/>
                  </a:cubicBezTo>
                  <a:cubicBezTo>
                    <a:pt x="1099" y="205"/>
                    <a:pt x="1402" y="159"/>
                    <a:pt x="1722" y="168"/>
                  </a:cubicBezTo>
                  <a:cubicBezTo>
                    <a:pt x="2035" y="174"/>
                    <a:pt x="2331" y="242"/>
                    <a:pt x="2581" y="381"/>
                  </a:cubicBezTo>
                  <a:cubicBezTo>
                    <a:pt x="2645" y="414"/>
                    <a:pt x="2705" y="455"/>
                    <a:pt x="2763" y="497"/>
                  </a:cubicBezTo>
                  <a:cubicBezTo>
                    <a:pt x="2792" y="519"/>
                    <a:pt x="2823" y="544"/>
                    <a:pt x="2847" y="564"/>
                  </a:cubicBezTo>
                  <a:cubicBezTo>
                    <a:pt x="2880" y="592"/>
                    <a:pt x="2880" y="592"/>
                    <a:pt x="2880" y="592"/>
                  </a:cubicBezTo>
                  <a:cubicBezTo>
                    <a:pt x="2888" y="599"/>
                    <a:pt x="2888" y="599"/>
                    <a:pt x="2888" y="599"/>
                  </a:cubicBezTo>
                  <a:cubicBezTo>
                    <a:pt x="2891" y="601"/>
                    <a:pt x="2893" y="603"/>
                    <a:pt x="2899" y="608"/>
                  </a:cubicBezTo>
                  <a:cubicBezTo>
                    <a:pt x="2927" y="636"/>
                    <a:pt x="2927" y="636"/>
                    <a:pt x="2927" y="636"/>
                  </a:cubicBezTo>
                  <a:cubicBezTo>
                    <a:pt x="2975" y="683"/>
                    <a:pt x="2975" y="683"/>
                    <a:pt x="2975" y="683"/>
                  </a:cubicBezTo>
                  <a:cubicBezTo>
                    <a:pt x="2976" y="684"/>
                    <a:pt x="2976" y="684"/>
                    <a:pt x="2976" y="684"/>
                  </a:cubicBezTo>
                  <a:cubicBezTo>
                    <a:pt x="2981" y="689"/>
                    <a:pt x="2981" y="689"/>
                    <a:pt x="2981" y="689"/>
                  </a:cubicBezTo>
                  <a:cubicBezTo>
                    <a:pt x="2990" y="699"/>
                    <a:pt x="2990" y="699"/>
                    <a:pt x="2990" y="699"/>
                  </a:cubicBezTo>
                  <a:cubicBezTo>
                    <a:pt x="3009" y="720"/>
                    <a:pt x="3009" y="720"/>
                    <a:pt x="3009" y="720"/>
                  </a:cubicBezTo>
                  <a:cubicBezTo>
                    <a:pt x="3035" y="746"/>
                    <a:pt x="3057" y="775"/>
                    <a:pt x="3081" y="802"/>
                  </a:cubicBezTo>
                  <a:cubicBezTo>
                    <a:pt x="3104" y="829"/>
                    <a:pt x="3124" y="859"/>
                    <a:pt x="3146" y="886"/>
                  </a:cubicBezTo>
                  <a:cubicBezTo>
                    <a:pt x="3164" y="916"/>
                    <a:pt x="3186" y="943"/>
                    <a:pt x="3203" y="973"/>
                  </a:cubicBezTo>
                  <a:cubicBezTo>
                    <a:pt x="3348" y="1205"/>
                    <a:pt x="3425" y="1460"/>
                    <a:pt x="3458" y="1700"/>
                  </a:cubicBezTo>
                  <a:cubicBezTo>
                    <a:pt x="3463" y="1730"/>
                    <a:pt x="3466" y="1760"/>
                    <a:pt x="3469" y="1789"/>
                  </a:cubicBezTo>
                  <a:cubicBezTo>
                    <a:pt x="3472" y="1819"/>
                    <a:pt x="3475" y="1847"/>
                    <a:pt x="3476" y="1870"/>
                  </a:cubicBezTo>
                  <a:cubicBezTo>
                    <a:pt x="3477" y="1883"/>
                    <a:pt x="3477" y="1895"/>
                    <a:pt x="3478" y="1906"/>
                  </a:cubicBezTo>
                  <a:cubicBezTo>
                    <a:pt x="3479" y="1924"/>
                    <a:pt x="3479" y="1924"/>
                    <a:pt x="3479" y="1924"/>
                  </a:cubicBezTo>
                  <a:cubicBezTo>
                    <a:pt x="3480" y="1929"/>
                    <a:pt x="3480" y="1936"/>
                    <a:pt x="3480" y="1946"/>
                  </a:cubicBezTo>
                  <a:cubicBezTo>
                    <a:pt x="3481" y="1981"/>
                    <a:pt x="3482" y="2015"/>
                    <a:pt x="3482" y="2048"/>
                  </a:cubicBezTo>
                  <a:cubicBezTo>
                    <a:pt x="3483" y="2175"/>
                    <a:pt x="3483" y="2285"/>
                    <a:pt x="3483" y="2376"/>
                  </a:cubicBezTo>
                  <a:cubicBezTo>
                    <a:pt x="3483" y="2566"/>
                    <a:pt x="3483" y="2675"/>
                    <a:pt x="3483" y="2675"/>
                  </a:cubicBezTo>
                  <a:cubicBezTo>
                    <a:pt x="3515" y="2462"/>
                    <a:pt x="3550" y="2281"/>
                    <a:pt x="3586" y="2133"/>
                  </a:cubicBezTo>
                  <a:cubicBezTo>
                    <a:pt x="3594" y="2069"/>
                    <a:pt x="3599" y="1922"/>
                    <a:pt x="3600" y="1869"/>
                  </a:cubicBezTo>
                  <a:cubicBezTo>
                    <a:pt x="3602" y="1834"/>
                    <a:pt x="3600" y="1791"/>
                    <a:pt x="3599" y="1750"/>
                  </a:cubicBezTo>
                  <a:cubicBezTo>
                    <a:pt x="3599" y="1708"/>
                    <a:pt x="3593" y="1667"/>
                    <a:pt x="3591" y="1625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62">
              <a:extLst>
                <a:ext uri="{FF2B5EF4-FFF2-40B4-BE49-F238E27FC236}">
                  <a16:creationId xmlns:a16="http://schemas.microsoft.com/office/drawing/2014/main" id="{2068D1D1-3BEB-4E60-9FE3-6D937D6F70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8" y="3811"/>
              <a:ext cx="3" cy="3"/>
            </a:xfrm>
            <a:custGeom>
              <a:avLst/>
              <a:gdLst>
                <a:gd name="T0" fmla="*/ 0 w 73"/>
                <a:gd name="T1" fmla="*/ 0 h 69"/>
                <a:gd name="T2" fmla="*/ 73 w 73"/>
                <a:gd name="T3" fmla="*/ 69 h 69"/>
                <a:gd name="T4" fmla="*/ 45 w 73"/>
                <a:gd name="T5" fmla="*/ 42 h 69"/>
                <a:gd name="T6" fmla="*/ 0 w 73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69">
                  <a:moveTo>
                    <a:pt x="0" y="0"/>
                  </a:moveTo>
                  <a:cubicBezTo>
                    <a:pt x="19" y="19"/>
                    <a:pt x="44" y="42"/>
                    <a:pt x="73" y="69"/>
                  </a:cubicBezTo>
                  <a:cubicBezTo>
                    <a:pt x="64" y="60"/>
                    <a:pt x="54" y="51"/>
                    <a:pt x="45" y="42"/>
                  </a:cubicBezTo>
                  <a:cubicBezTo>
                    <a:pt x="30" y="28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63">
              <a:extLst>
                <a:ext uri="{FF2B5EF4-FFF2-40B4-BE49-F238E27FC236}">
                  <a16:creationId xmlns:a16="http://schemas.microsoft.com/office/drawing/2014/main" id="{C97F8F37-3A30-4E9B-8422-5DF234421F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6" y="3847"/>
              <a:ext cx="6" cy="6"/>
            </a:xfrm>
            <a:custGeom>
              <a:avLst/>
              <a:gdLst>
                <a:gd name="T0" fmla="*/ 32 w 164"/>
                <a:gd name="T1" fmla="*/ 31 h 150"/>
                <a:gd name="T2" fmla="*/ 164 w 164"/>
                <a:gd name="T3" fmla="*/ 150 h 150"/>
                <a:gd name="T4" fmla="*/ 0 w 164"/>
                <a:gd name="T5" fmla="*/ 0 h 150"/>
                <a:gd name="T6" fmla="*/ 32 w 164"/>
                <a:gd name="T7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4" h="150">
                  <a:moveTo>
                    <a:pt x="32" y="31"/>
                  </a:moveTo>
                  <a:cubicBezTo>
                    <a:pt x="76" y="70"/>
                    <a:pt x="120" y="110"/>
                    <a:pt x="164" y="150"/>
                  </a:cubicBezTo>
                  <a:cubicBezTo>
                    <a:pt x="94" y="86"/>
                    <a:pt x="34" y="31"/>
                    <a:pt x="0" y="0"/>
                  </a:cubicBezTo>
                  <a:cubicBezTo>
                    <a:pt x="11" y="10"/>
                    <a:pt x="22" y="21"/>
                    <a:pt x="3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id="{6A0D30F1-0F6A-47B1-A55C-6F099F78C6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5" y="3837"/>
              <a:ext cx="11" cy="10"/>
            </a:xfrm>
            <a:custGeom>
              <a:avLst/>
              <a:gdLst>
                <a:gd name="T0" fmla="*/ 254 w 284"/>
                <a:gd name="T1" fmla="*/ 237 h 264"/>
                <a:gd name="T2" fmla="*/ 284 w 284"/>
                <a:gd name="T3" fmla="*/ 264 h 264"/>
                <a:gd name="T4" fmla="*/ 0 w 284"/>
                <a:gd name="T5" fmla="*/ 0 h 264"/>
                <a:gd name="T6" fmla="*/ 254 w 284"/>
                <a:gd name="T7" fmla="*/ 23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264">
                  <a:moveTo>
                    <a:pt x="254" y="237"/>
                  </a:moveTo>
                  <a:cubicBezTo>
                    <a:pt x="254" y="237"/>
                    <a:pt x="265" y="247"/>
                    <a:pt x="284" y="264"/>
                  </a:cubicBezTo>
                  <a:cubicBezTo>
                    <a:pt x="189" y="177"/>
                    <a:pt x="94" y="89"/>
                    <a:pt x="0" y="0"/>
                  </a:cubicBezTo>
                  <a:cubicBezTo>
                    <a:pt x="145" y="136"/>
                    <a:pt x="254" y="237"/>
                    <a:pt x="254" y="2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id="{CEA9EFFF-FA65-4ACC-8C93-5ACD7BE29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2" y="3853"/>
              <a:ext cx="7" cy="7"/>
            </a:xfrm>
            <a:custGeom>
              <a:avLst/>
              <a:gdLst>
                <a:gd name="T0" fmla="*/ 131 w 180"/>
                <a:gd name="T1" fmla="*/ 119 h 163"/>
                <a:gd name="T2" fmla="*/ 180 w 180"/>
                <a:gd name="T3" fmla="*/ 163 h 163"/>
                <a:gd name="T4" fmla="*/ 0 w 180"/>
                <a:gd name="T5" fmla="*/ 0 h 163"/>
                <a:gd name="T6" fmla="*/ 131 w 180"/>
                <a:gd name="T7" fmla="*/ 11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63">
                  <a:moveTo>
                    <a:pt x="131" y="119"/>
                  </a:moveTo>
                  <a:cubicBezTo>
                    <a:pt x="147" y="134"/>
                    <a:pt x="164" y="148"/>
                    <a:pt x="180" y="163"/>
                  </a:cubicBezTo>
                  <a:cubicBezTo>
                    <a:pt x="120" y="108"/>
                    <a:pt x="60" y="54"/>
                    <a:pt x="0" y="0"/>
                  </a:cubicBezTo>
                  <a:cubicBezTo>
                    <a:pt x="41" y="37"/>
                    <a:pt x="86" y="78"/>
                    <a:pt x="131" y="11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id="{CF6AA100-BB34-44F2-874E-6ECB5665CC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4" y="3837"/>
              <a:ext cx="1" cy="0"/>
            </a:xfrm>
            <a:custGeom>
              <a:avLst/>
              <a:gdLst>
                <a:gd name="T0" fmla="*/ 9 w 9"/>
                <a:gd name="T1" fmla="*/ 9 h 9"/>
                <a:gd name="T2" fmla="*/ 0 w 9"/>
                <a:gd name="T3" fmla="*/ 0 h 9"/>
                <a:gd name="T4" fmla="*/ 9 w 9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cubicBezTo>
                    <a:pt x="6" y="6"/>
                    <a:pt x="3" y="3"/>
                    <a:pt x="0" y="0"/>
                  </a:cubicBezTo>
                  <a:cubicBezTo>
                    <a:pt x="3" y="3"/>
                    <a:pt x="6" y="6"/>
                    <a:pt x="9" y="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67">
              <a:extLst>
                <a:ext uri="{FF2B5EF4-FFF2-40B4-BE49-F238E27FC236}">
                  <a16:creationId xmlns:a16="http://schemas.microsoft.com/office/drawing/2014/main" id="{CCD66C48-49FB-4D4A-A415-728A3D8FD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9" y="3860"/>
              <a:ext cx="7" cy="6"/>
            </a:xfrm>
            <a:custGeom>
              <a:avLst/>
              <a:gdLst>
                <a:gd name="T0" fmla="*/ 13 w 172"/>
                <a:gd name="T1" fmla="*/ 11 h 154"/>
                <a:gd name="T2" fmla="*/ 172 w 172"/>
                <a:gd name="T3" fmla="*/ 154 h 154"/>
                <a:gd name="T4" fmla="*/ 0 w 172"/>
                <a:gd name="T5" fmla="*/ 0 h 154"/>
                <a:gd name="T6" fmla="*/ 13 w 172"/>
                <a:gd name="T7" fmla="*/ 1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54">
                  <a:moveTo>
                    <a:pt x="13" y="11"/>
                  </a:moveTo>
                  <a:cubicBezTo>
                    <a:pt x="66" y="59"/>
                    <a:pt x="119" y="106"/>
                    <a:pt x="172" y="154"/>
                  </a:cubicBezTo>
                  <a:cubicBezTo>
                    <a:pt x="123" y="109"/>
                    <a:pt x="63" y="56"/>
                    <a:pt x="0" y="0"/>
                  </a:cubicBezTo>
                  <a:cubicBezTo>
                    <a:pt x="4" y="3"/>
                    <a:pt x="8" y="7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68">
              <a:extLst>
                <a:ext uri="{FF2B5EF4-FFF2-40B4-BE49-F238E27FC236}">
                  <a16:creationId xmlns:a16="http://schemas.microsoft.com/office/drawing/2014/main" id="{3EBAE5E4-619F-48B8-857C-64B35314B6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4" cy="3"/>
            </a:xfrm>
            <a:custGeom>
              <a:avLst/>
              <a:gdLst>
                <a:gd name="T0" fmla="*/ 95 w 95"/>
                <a:gd name="T1" fmla="*/ 86 h 86"/>
                <a:gd name="T2" fmla="*/ 0 w 95"/>
                <a:gd name="T3" fmla="*/ 0 h 86"/>
                <a:gd name="T4" fmla="*/ 95 w 95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86">
                  <a:moveTo>
                    <a:pt x="95" y="86"/>
                  </a:moveTo>
                  <a:cubicBezTo>
                    <a:pt x="63" y="57"/>
                    <a:pt x="32" y="28"/>
                    <a:pt x="0" y="0"/>
                  </a:cubicBezTo>
                  <a:cubicBezTo>
                    <a:pt x="29" y="25"/>
                    <a:pt x="60" y="54"/>
                    <a:pt x="95" y="8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69">
              <a:extLst>
                <a:ext uri="{FF2B5EF4-FFF2-40B4-BE49-F238E27FC236}">
                  <a16:creationId xmlns:a16="http://schemas.microsoft.com/office/drawing/2014/main" id="{0D00C0E3-171E-44C0-85CC-D6B3459115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70">
              <a:extLst>
                <a:ext uri="{FF2B5EF4-FFF2-40B4-BE49-F238E27FC236}">
                  <a16:creationId xmlns:a16="http://schemas.microsoft.com/office/drawing/2014/main" id="{495DA93D-1541-42BF-83DE-90A57EE37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" y="3729"/>
              <a:ext cx="9" cy="5"/>
            </a:xfrm>
            <a:custGeom>
              <a:avLst/>
              <a:gdLst>
                <a:gd name="T0" fmla="*/ 0 w 236"/>
                <a:gd name="T1" fmla="*/ 0 h 119"/>
                <a:gd name="T2" fmla="*/ 236 w 236"/>
                <a:gd name="T3" fmla="*/ 119 h 119"/>
                <a:gd name="T4" fmla="*/ 6 w 236"/>
                <a:gd name="T5" fmla="*/ 3 h 119"/>
                <a:gd name="T6" fmla="*/ 0 w 236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6" h="119">
                  <a:moveTo>
                    <a:pt x="0" y="0"/>
                  </a:moveTo>
                  <a:cubicBezTo>
                    <a:pt x="59" y="29"/>
                    <a:pt x="142" y="70"/>
                    <a:pt x="236" y="119"/>
                  </a:cubicBezTo>
                  <a:cubicBezTo>
                    <a:pt x="141" y="69"/>
                    <a:pt x="63" y="30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71">
              <a:extLst>
                <a:ext uri="{FF2B5EF4-FFF2-40B4-BE49-F238E27FC236}">
                  <a16:creationId xmlns:a16="http://schemas.microsoft.com/office/drawing/2014/main" id="{ECB61588-579B-4E64-8B3D-2E205F4435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" y="3734"/>
              <a:ext cx="15" cy="8"/>
            </a:xfrm>
            <a:custGeom>
              <a:avLst/>
              <a:gdLst>
                <a:gd name="T0" fmla="*/ 68 w 393"/>
                <a:gd name="T1" fmla="*/ 37 h 220"/>
                <a:gd name="T2" fmla="*/ 393 w 393"/>
                <a:gd name="T3" fmla="*/ 220 h 220"/>
                <a:gd name="T4" fmla="*/ 0 w 393"/>
                <a:gd name="T5" fmla="*/ 0 h 220"/>
                <a:gd name="T6" fmla="*/ 68 w 393"/>
                <a:gd name="T7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3" h="220">
                  <a:moveTo>
                    <a:pt x="68" y="37"/>
                  </a:moveTo>
                  <a:cubicBezTo>
                    <a:pt x="163" y="88"/>
                    <a:pt x="273" y="149"/>
                    <a:pt x="393" y="220"/>
                  </a:cubicBezTo>
                  <a:cubicBezTo>
                    <a:pt x="257" y="139"/>
                    <a:pt x="119" y="63"/>
                    <a:pt x="0" y="0"/>
                  </a:cubicBezTo>
                  <a:cubicBezTo>
                    <a:pt x="22" y="12"/>
                    <a:pt x="44" y="24"/>
                    <a:pt x="68" y="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72">
              <a:extLst>
                <a:ext uri="{FF2B5EF4-FFF2-40B4-BE49-F238E27FC236}">
                  <a16:creationId xmlns:a16="http://schemas.microsoft.com/office/drawing/2014/main" id="{D6430602-DD89-4121-AEE0-4DC074831D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9" y="3742"/>
              <a:ext cx="1" cy="1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73">
              <a:extLst>
                <a:ext uri="{FF2B5EF4-FFF2-40B4-BE49-F238E27FC236}">
                  <a16:creationId xmlns:a16="http://schemas.microsoft.com/office/drawing/2014/main" id="{CAC9DCBB-CEEF-4ABC-AF99-7634BAE96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4" cy="2"/>
            </a:xfrm>
            <a:custGeom>
              <a:avLst/>
              <a:gdLst>
                <a:gd name="T0" fmla="*/ 100 w 100"/>
                <a:gd name="T1" fmla="*/ 48 h 48"/>
                <a:gd name="T2" fmla="*/ 0 w 100"/>
                <a:gd name="T3" fmla="*/ 0 h 48"/>
                <a:gd name="T4" fmla="*/ 100 w 10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48">
                  <a:moveTo>
                    <a:pt x="100" y="48"/>
                  </a:moveTo>
                  <a:cubicBezTo>
                    <a:pt x="40" y="18"/>
                    <a:pt x="3" y="1"/>
                    <a:pt x="0" y="0"/>
                  </a:cubicBezTo>
                  <a:cubicBezTo>
                    <a:pt x="4" y="2"/>
                    <a:pt x="39" y="18"/>
                    <a:pt x="100" y="4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74">
              <a:extLst>
                <a:ext uri="{FF2B5EF4-FFF2-40B4-BE49-F238E27FC236}">
                  <a16:creationId xmlns:a16="http://schemas.microsoft.com/office/drawing/2014/main" id="{631B38AE-A121-4FCF-A26A-5472855BAA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0" cy="0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5" y="3"/>
                    <a:pt x="3" y="1"/>
                    <a:pt x="0" y="0"/>
                  </a:cubicBezTo>
                  <a:cubicBezTo>
                    <a:pt x="3" y="1"/>
                    <a:pt x="5" y="3"/>
                    <a:pt x="7" y="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DCEB5B66-B70B-40F3-81FD-494A3A8EDC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3" y="3826"/>
              <a:ext cx="11" cy="11"/>
            </a:xfrm>
            <a:custGeom>
              <a:avLst/>
              <a:gdLst>
                <a:gd name="T0" fmla="*/ 50 w 275"/>
                <a:gd name="T1" fmla="*/ 49 h 262"/>
                <a:gd name="T2" fmla="*/ 275 w 275"/>
                <a:gd name="T3" fmla="*/ 262 h 262"/>
                <a:gd name="T4" fmla="*/ 0 w 275"/>
                <a:gd name="T5" fmla="*/ 0 h 262"/>
                <a:gd name="T6" fmla="*/ 50 w 275"/>
                <a:gd name="T7" fmla="*/ 4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2">
                  <a:moveTo>
                    <a:pt x="50" y="49"/>
                  </a:moveTo>
                  <a:cubicBezTo>
                    <a:pt x="128" y="123"/>
                    <a:pt x="205" y="197"/>
                    <a:pt x="275" y="262"/>
                  </a:cubicBezTo>
                  <a:cubicBezTo>
                    <a:pt x="182" y="175"/>
                    <a:pt x="91" y="88"/>
                    <a:pt x="0" y="0"/>
                  </a:cubicBezTo>
                  <a:cubicBezTo>
                    <a:pt x="16" y="16"/>
                    <a:pt x="33" y="33"/>
                    <a:pt x="50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76">
              <a:extLst>
                <a:ext uri="{FF2B5EF4-FFF2-40B4-BE49-F238E27FC236}">
                  <a16:creationId xmlns:a16="http://schemas.microsoft.com/office/drawing/2014/main" id="{D262FD94-6A57-411D-A701-BAF2D6D21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0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77">
              <a:extLst>
                <a:ext uri="{FF2B5EF4-FFF2-40B4-BE49-F238E27FC236}">
                  <a16:creationId xmlns:a16="http://schemas.microsoft.com/office/drawing/2014/main" id="{D3FC70D2-F918-4450-A09D-3AFEFB0D4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6" cy="4"/>
            </a:xfrm>
            <a:custGeom>
              <a:avLst/>
              <a:gdLst>
                <a:gd name="T0" fmla="*/ 138 w 138"/>
                <a:gd name="T1" fmla="*/ 94 h 94"/>
                <a:gd name="T2" fmla="*/ 0 w 138"/>
                <a:gd name="T3" fmla="*/ 0 h 94"/>
                <a:gd name="T4" fmla="*/ 138 w 138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94">
                  <a:moveTo>
                    <a:pt x="138" y="94"/>
                  </a:moveTo>
                  <a:cubicBezTo>
                    <a:pt x="98" y="66"/>
                    <a:pt x="51" y="34"/>
                    <a:pt x="0" y="0"/>
                  </a:cubicBezTo>
                  <a:cubicBezTo>
                    <a:pt x="45" y="30"/>
                    <a:pt x="92" y="62"/>
                    <a:pt x="138" y="9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33485A93-A25E-4E11-B767-EED31AAA7E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7"/>
              <a:ext cx="1588" cy="781"/>
            </a:xfrm>
            <a:custGeom>
              <a:avLst/>
              <a:gdLst>
                <a:gd name="T0" fmla="*/ 34596 w 40218"/>
                <a:gd name="T1" fmla="*/ 18820 h 19781"/>
                <a:gd name="T2" fmla="*/ 39619 w 40218"/>
                <a:gd name="T3" fmla="*/ 19450 h 19781"/>
                <a:gd name="T4" fmla="*/ 40215 w 40218"/>
                <a:gd name="T5" fmla="*/ 15312 h 19781"/>
                <a:gd name="T6" fmla="*/ 39313 w 40218"/>
                <a:gd name="T7" fmla="*/ 2505 h 19781"/>
                <a:gd name="T8" fmla="*/ 40174 w 40218"/>
                <a:gd name="T9" fmla="*/ 3582 h 19781"/>
                <a:gd name="T10" fmla="*/ 39356 w 40218"/>
                <a:gd name="T11" fmla="*/ 1225 h 19781"/>
                <a:gd name="T12" fmla="*/ 36916 w 40218"/>
                <a:gd name="T13" fmla="*/ 263 h 19781"/>
                <a:gd name="T14" fmla="*/ 33274 w 40218"/>
                <a:gd name="T15" fmla="*/ 624 h 19781"/>
                <a:gd name="T16" fmla="*/ 26770 w 40218"/>
                <a:gd name="T17" fmla="*/ 5843 h 19781"/>
                <a:gd name="T18" fmla="*/ 21260 w 40218"/>
                <a:gd name="T19" fmla="*/ 9411 h 19781"/>
                <a:gd name="T20" fmla="*/ 13271 w 40218"/>
                <a:gd name="T21" fmla="*/ 7249 h 19781"/>
                <a:gd name="T22" fmla="*/ 7582 w 40218"/>
                <a:gd name="T23" fmla="*/ 534 h 19781"/>
                <a:gd name="T24" fmla="*/ 4765 w 40218"/>
                <a:gd name="T25" fmla="*/ 36 h 19781"/>
                <a:gd name="T26" fmla="*/ 663 w 40218"/>
                <a:gd name="T27" fmla="*/ 1219 h 19781"/>
                <a:gd name="T28" fmla="*/ 818 w 40218"/>
                <a:gd name="T29" fmla="*/ 18644 h 19781"/>
                <a:gd name="T30" fmla="*/ 2846 w 40218"/>
                <a:gd name="T31" fmla="*/ 19764 h 19781"/>
                <a:gd name="T32" fmla="*/ 5743 w 40218"/>
                <a:gd name="T33" fmla="*/ 18745 h 19781"/>
                <a:gd name="T34" fmla="*/ 5784 w 40218"/>
                <a:gd name="T35" fmla="*/ 11030 h 19781"/>
                <a:gd name="T36" fmla="*/ 8476 w 40218"/>
                <a:gd name="T37" fmla="*/ 9829 h 19781"/>
                <a:gd name="T38" fmla="*/ 15059 w 40218"/>
                <a:gd name="T39" fmla="*/ 15096 h 19781"/>
                <a:gd name="T40" fmla="*/ 18571 w 40218"/>
                <a:gd name="T41" fmla="*/ 18323 h 19781"/>
                <a:gd name="T42" fmla="*/ 17579 w 40218"/>
                <a:gd name="T43" fmla="*/ 17076 h 19781"/>
                <a:gd name="T44" fmla="*/ 23895 w 40218"/>
                <a:gd name="T45" fmla="*/ 15033 h 19781"/>
                <a:gd name="T46" fmla="*/ 31264 w 40218"/>
                <a:gd name="T47" fmla="*/ 10797 h 19781"/>
                <a:gd name="T48" fmla="*/ 30362 w 40218"/>
                <a:gd name="T49" fmla="*/ 11504 h 19781"/>
                <a:gd name="T50" fmla="*/ 31863 w 40218"/>
                <a:gd name="T51" fmla="*/ 11080 h 19781"/>
                <a:gd name="T52" fmla="*/ 33190 w 40218"/>
                <a:gd name="T53" fmla="*/ 11638 h 19781"/>
                <a:gd name="T54" fmla="*/ 33781 w 40218"/>
                <a:gd name="T55" fmla="*/ 13144 h 19781"/>
                <a:gd name="T56" fmla="*/ 33386 w 40218"/>
                <a:gd name="T57" fmla="*/ 11431 h 19781"/>
                <a:gd name="T58" fmla="*/ 30597 w 40218"/>
                <a:gd name="T59" fmla="*/ 10559 h 19781"/>
                <a:gd name="T60" fmla="*/ 27947 w 40218"/>
                <a:gd name="T61" fmla="*/ 11138 h 19781"/>
                <a:gd name="T62" fmla="*/ 21422 w 40218"/>
                <a:gd name="T63" fmla="*/ 17023 h 19781"/>
                <a:gd name="T64" fmla="*/ 18797 w 40218"/>
                <a:gd name="T65" fmla="*/ 17110 h 19781"/>
                <a:gd name="T66" fmla="*/ 14978 w 40218"/>
                <a:gd name="T67" fmla="*/ 13700 h 19781"/>
                <a:gd name="T68" fmla="*/ 14165 w 40218"/>
                <a:gd name="T69" fmla="*/ 13669 h 19781"/>
                <a:gd name="T70" fmla="*/ 10435 w 40218"/>
                <a:gd name="T71" fmla="*/ 10274 h 19781"/>
                <a:gd name="T72" fmla="*/ 8080 w 40218"/>
                <a:gd name="T73" fmla="*/ 9653 h 19781"/>
                <a:gd name="T74" fmla="*/ 5306 w 40218"/>
                <a:gd name="T75" fmla="*/ 11737 h 19781"/>
                <a:gd name="T76" fmla="*/ 5448 w 40218"/>
                <a:gd name="T77" fmla="*/ 18552 h 19781"/>
                <a:gd name="T78" fmla="*/ 3432 w 40218"/>
                <a:gd name="T79" fmla="*/ 18442 h 19781"/>
                <a:gd name="T80" fmla="*/ 2146 w 40218"/>
                <a:gd name="T81" fmla="*/ 17714 h 19781"/>
                <a:gd name="T82" fmla="*/ 1999 w 40218"/>
                <a:gd name="T83" fmla="*/ 17666 h 19781"/>
                <a:gd name="T84" fmla="*/ 3600 w 40218"/>
                <a:gd name="T85" fmla="*/ 18575 h 19781"/>
                <a:gd name="T86" fmla="*/ 3214 w 40218"/>
                <a:gd name="T87" fmla="*/ 19121 h 19781"/>
                <a:gd name="T88" fmla="*/ 571 w 40218"/>
                <a:gd name="T89" fmla="*/ 17531 h 19781"/>
                <a:gd name="T90" fmla="*/ 1613 w 40218"/>
                <a:gd name="T91" fmla="*/ 8741 h 19781"/>
                <a:gd name="T92" fmla="*/ 4836 w 40218"/>
                <a:gd name="T93" fmla="*/ 265 h 19781"/>
                <a:gd name="T94" fmla="*/ 8183 w 40218"/>
                <a:gd name="T95" fmla="*/ 1683 h 19781"/>
                <a:gd name="T96" fmla="*/ 15104 w 40218"/>
                <a:gd name="T97" fmla="*/ 8838 h 19781"/>
                <a:gd name="T98" fmla="*/ 20406 w 40218"/>
                <a:gd name="T99" fmla="*/ 9909 h 19781"/>
                <a:gd name="T100" fmla="*/ 23836 w 40218"/>
                <a:gd name="T101" fmla="*/ 8627 h 19781"/>
                <a:gd name="T102" fmla="*/ 33532 w 40218"/>
                <a:gd name="T103" fmla="*/ 801 h 19781"/>
                <a:gd name="T104" fmla="*/ 36558 w 40218"/>
                <a:gd name="T105" fmla="*/ 1287 h 19781"/>
                <a:gd name="T106" fmla="*/ 38299 w 40218"/>
                <a:gd name="T107" fmla="*/ 1669 h 19781"/>
                <a:gd name="T108" fmla="*/ 38844 w 40218"/>
                <a:gd name="T109" fmla="*/ 2441 h 19781"/>
                <a:gd name="T110" fmla="*/ 39479 w 40218"/>
                <a:gd name="T111" fmla="*/ 18174 h 19781"/>
                <a:gd name="T112" fmla="*/ 37230 w 40218"/>
                <a:gd name="T113" fmla="*/ 19422 h 19781"/>
                <a:gd name="T114" fmla="*/ 35816 w 40218"/>
                <a:gd name="T115" fmla="*/ 19337 h 19781"/>
                <a:gd name="T116" fmla="*/ 34570 w 40218"/>
                <a:gd name="T117" fmla="*/ 18668 h 19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218" h="19781">
                  <a:moveTo>
                    <a:pt x="34210" y="18439"/>
                  </a:moveTo>
                  <a:cubicBezTo>
                    <a:pt x="34210" y="18439"/>
                    <a:pt x="34256" y="18490"/>
                    <a:pt x="34302" y="18541"/>
                  </a:cubicBezTo>
                  <a:cubicBezTo>
                    <a:pt x="34323" y="18565"/>
                    <a:pt x="34353" y="18595"/>
                    <a:pt x="34372" y="18615"/>
                  </a:cubicBezTo>
                  <a:cubicBezTo>
                    <a:pt x="34392" y="18635"/>
                    <a:pt x="34406" y="18648"/>
                    <a:pt x="34406" y="18648"/>
                  </a:cubicBezTo>
                  <a:cubicBezTo>
                    <a:pt x="34458" y="18701"/>
                    <a:pt x="34458" y="18701"/>
                    <a:pt x="34458" y="18701"/>
                  </a:cubicBezTo>
                  <a:cubicBezTo>
                    <a:pt x="34498" y="18734"/>
                    <a:pt x="34498" y="18734"/>
                    <a:pt x="34498" y="18734"/>
                  </a:cubicBezTo>
                  <a:cubicBezTo>
                    <a:pt x="34537" y="18768"/>
                    <a:pt x="34537" y="18768"/>
                    <a:pt x="34537" y="18768"/>
                  </a:cubicBezTo>
                  <a:cubicBezTo>
                    <a:pt x="34557" y="18784"/>
                    <a:pt x="34557" y="18784"/>
                    <a:pt x="34557" y="18784"/>
                  </a:cubicBezTo>
                  <a:cubicBezTo>
                    <a:pt x="34562" y="18789"/>
                    <a:pt x="34562" y="18789"/>
                    <a:pt x="34562" y="18789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82" y="18809"/>
                    <a:pt x="34582" y="18809"/>
                    <a:pt x="34582" y="18809"/>
                  </a:cubicBezTo>
                  <a:cubicBezTo>
                    <a:pt x="34596" y="18820"/>
                    <a:pt x="34596" y="18820"/>
                    <a:pt x="34596" y="18820"/>
                  </a:cubicBezTo>
                  <a:cubicBezTo>
                    <a:pt x="34703" y="18907"/>
                    <a:pt x="34703" y="18907"/>
                    <a:pt x="34703" y="18907"/>
                  </a:cubicBezTo>
                  <a:cubicBezTo>
                    <a:pt x="34739" y="18935"/>
                    <a:pt x="34778" y="18962"/>
                    <a:pt x="34816" y="18990"/>
                  </a:cubicBezTo>
                  <a:cubicBezTo>
                    <a:pt x="34970" y="19100"/>
                    <a:pt x="35138" y="19200"/>
                    <a:pt x="35317" y="19287"/>
                  </a:cubicBezTo>
                  <a:cubicBezTo>
                    <a:pt x="35781" y="19509"/>
                    <a:pt x="36307" y="19622"/>
                    <a:pt x="36827" y="19646"/>
                  </a:cubicBezTo>
                  <a:cubicBezTo>
                    <a:pt x="36896" y="19648"/>
                    <a:pt x="36965" y="19650"/>
                    <a:pt x="37034" y="19652"/>
                  </a:cubicBezTo>
                  <a:cubicBezTo>
                    <a:pt x="37095" y="19651"/>
                    <a:pt x="37156" y="19651"/>
                    <a:pt x="37217" y="19650"/>
                  </a:cubicBezTo>
                  <a:cubicBezTo>
                    <a:pt x="37333" y="19648"/>
                    <a:pt x="37449" y="19646"/>
                    <a:pt x="37565" y="19643"/>
                  </a:cubicBezTo>
                  <a:cubicBezTo>
                    <a:pt x="37800" y="19639"/>
                    <a:pt x="38038" y="19637"/>
                    <a:pt x="38279" y="19637"/>
                  </a:cubicBezTo>
                  <a:cubicBezTo>
                    <a:pt x="38446" y="19638"/>
                    <a:pt x="38612" y="19639"/>
                    <a:pt x="38776" y="19640"/>
                  </a:cubicBezTo>
                  <a:cubicBezTo>
                    <a:pt x="38899" y="19642"/>
                    <a:pt x="38899" y="19642"/>
                    <a:pt x="38899" y="19642"/>
                  </a:cubicBezTo>
                  <a:cubicBezTo>
                    <a:pt x="38960" y="19643"/>
                    <a:pt x="38960" y="19643"/>
                    <a:pt x="38960" y="19643"/>
                  </a:cubicBezTo>
                  <a:cubicBezTo>
                    <a:pt x="38976" y="19643"/>
                    <a:pt x="38976" y="19643"/>
                    <a:pt x="38976" y="19643"/>
                  </a:cubicBezTo>
                  <a:cubicBezTo>
                    <a:pt x="39003" y="19643"/>
                    <a:pt x="39003" y="19643"/>
                    <a:pt x="39003" y="19643"/>
                  </a:cubicBezTo>
                  <a:cubicBezTo>
                    <a:pt x="39061" y="19641"/>
                    <a:pt x="39061" y="19641"/>
                    <a:pt x="39061" y="19641"/>
                  </a:cubicBezTo>
                  <a:cubicBezTo>
                    <a:pt x="39216" y="19633"/>
                    <a:pt x="39427" y="19589"/>
                    <a:pt x="39619" y="19450"/>
                  </a:cubicBezTo>
                  <a:cubicBezTo>
                    <a:pt x="39715" y="19382"/>
                    <a:pt x="39795" y="19294"/>
                    <a:pt x="39856" y="19204"/>
                  </a:cubicBezTo>
                  <a:cubicBezTo>
                    <a:pt x="39884" y="19160"/>
                    <a:pt x="39912" y="19113"/>
                    <a:pt x="39930" y="19071"/>
                  </a:cubicBezTo>
                  <a:cubicBezTo>
                    <a:pt x="39940" y="19049"/>
                    <a:pt x="39951" y="19026"/>
                    <a:pt x="39959" y="19005"/>
                  </a:cubicBezTo>
                  <a:cubicBezTo>
                    <a:pt x="39981" y="18943"/>
                    <a:pt x="39981" y="18943"/>
                    <a:pt x="39981" y="18943"/>
                  </a:cubicBezTo>
                  <a:cubicBezTo>
                    <a:pt x="39997" y="18900"/>
                    <a:pt x="40004" y="18864"/>
                    <a:pt x="40014" y="18824"/>
                  </a:cubicBezTo>
                  <a:cubicBezTo>
                    <a:pt x="40022" y="18786"/>
                    <a:pt x="40028" y="18751"/>
                    <a:pt x="40034" y="18715"/>
                  </a:cubicBezTo>
                  <a:cubicBezTo>
                    <a:pt x="40039" y="18676"/>
                    <a:pt x="40043" y="18635"/>
                    <a:pt x="40046" y="18597"/>
                  </a:cubicBezTo>
                  <a:cubicBezTo>
                    <a:pt x="40049" y="18539"/>
                    <a:pt x="40049" y="18539"/>
                    <a:pt x="40049" y="18539"/>
                  </a:cubicBezTo>
                  <a:cubicBezTo>
                    <a:pt x="40052" y="18455"/>
                    <a:pt x="40055" y="18372"/>
                    <a:pt x="40058" y="18289"/>
                  </a:cubicBezTo>
                  <a:cubicBezTo>
                    <a:pt x="40062" y="18213"/>
                    <a:pt x="40065" y="18137"/>
                    <a:pt x="40069" y="18062"/>
                  </a:cubicBezTo>
                  <a:cubicBezTo>
                    <a:pt x="40097" y="17462"/>
                    <a:pt x="40140" y="16911"/>
                    <a:pt x="40194" y="16439"/>
                  </a:cubicBezTo>
                  <a:cubicBezTo>
                    <a:pt x="40218" y="16235"/>
                    <a:pt x="40218" y="16235"/>
                    <a:pt x="40218" y="16235"/>
                  </a:cubicBezTo>
                  <a:cubicBezTo>
                    <a:pt x="40218" y="15341"/>
                    <a:pt x="40218" y="15341"/>
                    <a:pt x="40218" y="15341"/>
                  </a:cubicBezTo>
                  <a:cubicBezTo>
                    <a:pt x="40218" y="15282"/>
                    <a:pt x="40218" y="15282"/>
                    <a:pt x="40218" y="15282"/>
                  </a:cubicBezTo>
                  <a:cubicBezTo>
                    <a:pt x="40215" y="15312"/>
                    <a:pt x="40215" y="15312"/>
                    <a:pt x="40215" y="15312"/>
                  </a:cubicBezTo>
                  <a:cubicBezTo>
                    <a:pt x="40049" y="16740"/>
                    <a:pt x="40049" y="16740"/>
                    <a:pt x="40049" y="16740"/>
                  </a:cubicBezTo>
                  <a:cubicBezTo>
                    <a:pt x="40040" y="16811"/>
                    <a:pt x="40032" y="16881"/>
                    <a:pt x="40023" y="16951"/>
                  </a:cubicBezTo>
                  <a:cubicBezTo>
                    <a:pt x="39944" y="17529"/>
                    <a:pt x="39845" y="17846"/>
                    <a:pt x="39741" y="17846"/>
                  </a:cubicBezTo>
                  <a:cubicBezTo>
                    <a:pt x="39624" y="17846"/>
                    <a:pt x="39514" y="17453"/>
                    <a:pt x="39432" y="16740"/>
                  </a:cubicBezTo>
                  <a:cubicBezTo>
                    <a:pt x="38917" y="12289"/>
                    <a:pt x="38917" y="12289"/>
                    <a:pt x="38917" y="12289"/>
                  </a:cubicBezTo>
                  <a:cubicBezTo>
                    <a:pt x="38835" y="11576"/>
                    <a:pt x="38789" y="10628"/>
                    <a:pt x="38789" y="9620"/>
                  </a:cubicBezTo>
                  <a:cubicBezTo>
                    <a:pt x="38789" y="9326"/>
                    <a:pt x="38793" y="9037"/>
                    <a:pt x="38801" y="8758"/>
                  </a:cubicBezTo>
                  <a:cubicBezTo>
                    <a:pt x="38819" y="8079"/>
                    <a:pt x="38859" y="7456"/>
                    <a:pt x="38917" y="6951"/>
                  </a:cubicBezTo>
                  <a:cubicBezTo>
                    <a:pt x="38917" y="6951"/>
                    <a:pt x="39046" y="5839"/>
                    <a:pt x="39175" y="4726"/>
                  </a:cubicBezTo>
                  <a:cubicBezTo>
                    <a:pt x="39207" y="4448"/>
                    <a:pt x="39239" y="4169"/>
                    <a:pt x="39269" y="3909"/>
                  </a:cubicBezTo>
                  <a:cubicBezTo>
                    <a:pt x="39284" y="3778"/>
                    <a:pt x="39299" y="3652"/>
                    <a:pt x="39313" y="3533"/>
                  </a:cubicBezTo>
                  <a:cubicBezTo>
                    <a:pt x="39326" y="3413"/>
                    <a:pt x="39337" y="3304"/>
                    <a:pt x="39342" y="3200"/>
                  </a:cubicBezTo>
                  <a:cubicBezTo>
                    <a:pt x="39354" y="2993"/>
                    <a:pt x="39345" y="2819"/>
                    <a:pt x="39336" y="2697"/>
                  </a:cubicBezTo>
                  <a:cubicBezTo>
                    <a:pt x="39329" y="2635"/>
                    <a:pt x="39324" y="2588"/>
                    <a:pt x="39320" y="2555"/>
                  </a:cubicBezTo>
                  <a:cubicBezTo>
                    <a:pt x="39315" y="2522"/>
                    <a:pt x="39313" y="2505"/>
                    <a:pt x="39313" y="2505"/>
                  </a:cubicBezTo>
                  <a:cubicBezTo>
                    <a:pt x="39299" y="2411"/>
                    <a:pt x="39282" y="2324"/>
                    <a:pt x="39264" y="2241"/>
                  </a:cubicBezTo>
                  <a:cubicBezTo>
                    <a:pt x="39202" y="1967"/>
                    <a:pt x="39125" y="1753"/>
                    <a:pt x="39075" y="1602"/>
                  </a:cubicBezTo>
                  <a:cubicBezTo>
                    <a:pt x="39050" y="1525"/>
                    <a:pt x="39032" y="1464"/>
                    <a:pt x="39027" y="1417"/>
                  </a:cubicBezTo>
                  <a:cubicBezTo>
                    <a:pt x="39019" y="1369"/>
                    <a:pt x="39023" y="1336"/>
                    <a:pt x="39042" y="1319"/>
                  </a:cubicBezTo>
                  <a:cubicBezTo>
                    <a:pt x="39064" y="1300"/>
                    <a:pt x="39107" y="1304"/>
                    <a:pt x="39165" y="1333"/>
                  </a:cubicBezTo>
                  <a:cubicBezTo>
                    <a:pt x="39221" y="1360"/>
                    <a:pt x="39295" y="1411"/>
                    <a:pt x="39379" y="1491"/>
                  </a:cubicBezTo>
                  <a:cubicBezTo>
                    <a:pt x="39463" y="1571"/>
                    <a:pt x="39556" y="1682"/>
                    <a:pt x="39649" y="1824"/>
                  </a:cubicBezTo>
                  <a:cubicBezTo>
                    <a:pt x="39743" y="1965"/>
                    <a:pt x="39832" y="2140"/>
                    <a:pt x="39908" y="2344"/>
                  </a:cubicBezTo>
                  <a:cubicBezTo>
                    <a:pt x="39908" y="2344"/>
                    <a:pt x="39916" y="2363"/>
                    <a:pt x="39929" y="2397"/>
                  </a:cubicBezTo>
                  <a:cubicBezTo>
                    <a:pt x="39940" y="2431"/>
                    <a:pt x="39956" y="2480"/>
                    <a:pt x="39976" y="2538"/>
                  </a:cubicBezTo>
                  <a:cubicBezTo>
                    <a:pt x="39994" y="2596"/>
                    <a:pt x="40013" y="2665"/>
                    <a:pt x="40033" y="2739"/>
                  </a:cubicBezTo>
                  <a:cubicBezTo>
                    <a:pt x="40050" y="2812"/>
                    <a:pt x="40072" y="2891"/>
                    <a:pt x="40086" y="2970"/>
                  </a:cubicBezTo>
                  <a:cubicBezTo>
                    <a:pt x="40102" y="3049"/>
                    <a:pt x="40117" y="3127"/>
                    <a:pt x="40127" y="3201"/>
                  </a:cubicBezTo>
                  <a:cubicBezTo>
                    <a:pt x="40139" y="3275"/>
                    <a:pt x="40147" y="3344"/>
                    <a:pt x="40154" y="3402"/>
                  </a:cubicBezTo>
                  <a:cubicBezTo>
                    <a:pt x="40166" y="3510"/>
                    <a:pt x="40174" y="3582"/>
                    <a:pt x="40174" y="3582"/>
                  </a:cubicBezTo>
                  <a:cubicBezTo>
                    <a:pt x="40218" y="3958"/>
                    <a:pt x="40218" y="3958"/>
                    <a:pt x="40218" y="3958"/>
                  </a:cubicBezTo>
                  <a:cubicBezTo>
                    <a:pt x="40218" y="3958"/>
                    <a:pt x="40218" y="3777"/>
                    <a:pt x="40218" y="3596"/>
                  </a:cubicBezTo>
                  <a:cubicBezTo>
                    <a:pt x="40218" y="3550"/>
                    <a:pt x="40218" y="3504"/>
                    <a:pt x="40218" y="3461"/>
                  </a:cubicBezTo>
                  <a:cubicBezTo>
                    <a:pt x="40217" y="3411"/>
                    <a:pt x="40216" y="3364"/>
                    <a:pt x="40215" y="3324"/>
                  </a:cubicBezTo>
                  <a:cubicBezTo>
                    <a:pt x="40215" y="3285"/>
                    <a:pt x="40213" y="3251"/>
                    <a:pt x="40212" y="3227"/>
                  </a:cubicBezTo>
                  <a:cubicBezTo>
                    <a:pt x="40210" y="3204"/>
                    <a:pt x="40210" y="3190"/>
                    <a:pt x="40210" y="3190"/>
                  </a:cubicBezTo>
                  <a:cubicBezTo>
                    <a:pt x="40210" y="3190"/>
                    <a:pt x="40209" y="3172"/>
                    <a:pt x="40207" y="3146"/>
                  </a:cubicBezTo>
                  <a:cubicBezTo>
                    <a:pt x="40206" y="3119"/>
                    <a:pt x="40204" y="3084"/>
                    <a:pt x="40200" y="3048"/>
                  </a:cubicBezTo>
                  <a:cubicBezTo>
                    <a:pt x="40193" y="2976"/>
                    <a:pt x="40186" y="2904"/>
                    <a:pt x="40186" y="2904"/>
                  </a:cubicBezTo>
                  <a:cubicBezTo>
                    <a:pt x="40186" y="2904"/>
                    <a:pt x="40171" y="2839"/>
                    <a:pt x="40144" y="2725"/>
                  </a:cubicBezTo>
                  <a:cubicBezTo>
                    <a:pt x="40113" y="2611"/>
                    <a:pt x="40070" y="2448"/>
                    <a:pt x="39993" y="2255"/>
                  </a:cubicBezTo>
                  <a:cubicBezTo>
                    <a:pt x="39918" y="2064"/>
                    <a:pt x="39813" y="1843"/>
                    <a:pt x="39669" y="1623"/>
                  </a:cubicBezTo>
                  <a:cubicBezTo>
                    <a:pt x="39634" y="1568"/>
                    <a:pt x="39593" y="1515"/>
                    <a:pt x="39554" y="1460"/>
                  </a:cubicBezTo>
                  <a:cubicBezTo>
                    <a:pt x="39513" y="1407"/>
                    <a:pt x="39470" y="1354"/>
                    <a:pt x="39426" y="1301"/>
                  </a:cubicBezTo>
                  <a:cubicBezTo>
                    <a:pt x="39356" y="1225"/>
                    <a:pt x="39356" y="1225"/>
                    <a:pt x="39356" y="1225"/>
                  </a:cubicBezTo>
                  <a:cubicBezTo>
                    <a:pt x="39321" y="1187"/>
                    <a:pt x="39321" y="1187"/>
                    <a:pt x="39321" y="1187"/>
                  </a:cubicBezTo>
                  <a:cubicBezTo>
                    <a:pt x="39281" y="1146"/>
                    <a:pt x="39281" y="1146"/>
                    <a:pt x="39281" y="1146"/>
                  </a:cubicBezTo>
                  <a:cubicBezTo>
                    <a:pt x="39200" y="1066"/>
                    <a:pt x="39200" y="1066"/>
                    <a:pt x="39200" y="1066"/>
                  </a:cubicBezTo>
                  <a:cubicBezTo>
                    <a:pt x="39193" y="1059"/>
                    <a:pt x="39187" y="1054"/>
                    <a:pt x="39182" y="1050"/>
                  </a:cubicBezTo>
                  <a:cubicBezTo>
                    <a:pt x="39167" y="1037"/>
                    <a:pt x="39167" y="1037"/>
                    <a:pt x="39167" y="1037"/>
                  </a:cubicBezTo>
                  <a:cubicBezTo>
                    <a:pt x="39135" y="1010"/>
                    <a:pt x="39135" y="1010"/>
                    <a:pt x="39135" y="1010"/>
                  </a:cubicBezTo>
                  <a:cubicBezTo>
                    <a:pt x="39031" y="917"/>
                    <a:pt x="38922" y="838"/>
                    <a:pt x="38811" y="762"/>
                  </a:cubicBezTo>
                  <a:cubicBezTo>
                    <a:pt x="38698" y="690"/>
                    <a:pt x="38585" y="624"/>
                    <a:pt x="38471" y="571"/>
                  </a:cubicBezTo>
                  <a:cubicBezTo>
                    <a:pt x="38245" y="462"/>
                    <a:pt x="38025" y="394"/>
                    <a:pt x="37839" y="351"/>
                  </a:cubicBezTo>
                  <a:cubicBezTo>
                    <a:pt x="37745" y="328"/>
                    <a:pt x="37659" y="315"/>
                    <a:pt x="37584" y="302"/>
                  </a:cubicBezTo>
                  <a:cubicBezTo>
                    <a:pt x="37508" y="293"/>
                    <a:pt x="37442" y="283"/>
                    <a:pt x="37388" y="280"/>
                  </a:cubicBezTo>
                  <a:cubicBezTo>
                    <a:pt x="37335" y="275"/>
                    <a:pt x="37292" y="272"/>
                    <a:pt x="37263" y="270"/>
                  </a:cubicBezTo>
                  <a:cubicBezTo>
                    <a:pt x="37235" y="269"/>
                    <a:pt x="37220" y="268"/>
                    <a:pt x="37220" y="268"/>
                  </a:cubicBezTo>
                  <a:cubicBezTo>
                    <a:pt x="37153" y="266"/>
                    <a:pt x="37086" y="262"/>
                    <a:pt x="37018" y="263"/>
                  </a:cubicBezTo>
                  <a:cubicBezTo>
                    <a:pt x="36916" y="263"/>
                    <a:pt x="36916" y="263"/>
                    <a:pt x="36916" y="263"/>
                  </a:cubicBezTo>
                  <a:cubicBezTo>
                    <a:pt x="36808" y="266"/>
                    <a:pt x="36808" y="266"/>
                    <a:pt x="36808" y="266"/>
                  </a:cubicBezTo>
                  <a:cubicBezTo>
                    <a:pt x="36733" y="268"/>
                    <a:pt x="36671" y="273"/>
                    <a:pt x="36605" y="278"/>
                  </a:cubicBezTo>
                  <a:cubicBezTo>
                    <a:pt x="36549" y="281"/>
                    <a:pt x="36549" y="281"/>
                    <a:pt x="36549" y="281"/>
                  </a:cubicBezTo>
                  <a:cubicBezTo>
                    <a:pt x="36499" y="285"/>
                    <a:pt x="36499" y="285"/>
                    <a:pt x="36499" y="285"/>
                  </a:cubicBezTo>
                  <a:cubicBezTo>
                    <a:pt x="36398" y="293"/>
                    <a:pt x="36398" y="293"/>
                    <a:pt x="36398" y="293"/>
                  </a:cubicBezTo>
                  <a:cubicBezTo>
                    <a:pt x="36126" y="314"/>
                    <a:pt x="35838" y="332"/>
                    <a:pt x="35538" y="347"/>
                  </a:cubicBezTo>
                  <a:cubicBezTo>
                    <a:pt x="35238" y="361"/>
                    <a:pt x="34926" y="372"/>
                    <a:pt x="34606" y="379"/>
                  </a:cubicBezTo>
                  <a:cubicBezTo>
                    <a:pt x="34444" y="382"/>
                    <a:pt x="34282" y="385"/>
                    <a:pt x="34118" y="388"/>
                  </a:cubicBezTo>
                  <a:cubicBezTo>
                    <a:pt x="33995" y="389"/>
                    <a:pt x="33995" y="389"/>
                    <a:pt x="33995" y="389"/>
                  </a:cubicBezTo>
                  <a:cubicBezTo>
                    <a:pt x="33926" y="390"/>
                    <a:pt x="33926" y="390"/>
                    <a:pt x="33926" y="390"/>
                  </a:cubicBezTo>
                  <a:cubicBezTo>
                    <a:pt x="33900" y="391"/>
                    <a:pt x="33875" y="392"/>
                    <a:pt x="33849" y="395"/>
                  </a:cubicBezTo>
                  <a:cubicBezTo>
                    <a:pt x="33746" y="405"/>
                    <a:pt x="33641" y="430"/>
                    <a:pt x="33542" y="469"/>
                  </a:cubicBezTo>
                  <a:cubicBezTo>
                    <a:pt x="33520" y="478"/>
                    <a:pt x="33485" y="494"/>
                    <a:pt x="33471" y="501"/>
                  </a:cubicBezTo>
                  <a:cubicBezTo>
                    <a:pt x="33442" y="515"/>
                    <a:pt x="33420" y="527"/>
                    <a:pt x="33397" y="541"/>
                  </a:cubicBezTo>
                  <a:cubicBezTo>
                    <a:pt x="33352" y="568"/>
                    <a:pt x="33312" y="595"/>
                    <a:pt x="33274" y="624"/>
                  </a:cubicBezTo>
                  <a:cubicBezTo>
                    <a:pt x="33198" y="680"/>
                    <a:pt x="33129" y="738"/>
                    <a:pt x="33064" y="797"/>
                  </a:cubicBezTo>
                  <a:cubicBezTo>
                    <a:pt x="33032" y="826"/>
                    <a:pt x="33000" y="856"/>
                    <a:pt x="32968" y="886"/>
                  </a:cubicBezTo>
                  <a:cubicBezTo>
                    <a:pt x="32946" y="908"/>
                    <a:pt x="32946" y="908"/>
                    <a:pt x="32946" y="908"/>
                  </a:cubicBezTo>
                  <a:cubicBezTo>
                    <a:pt x="32929" y="923"/>
                    <a:pt x="32929" y="923"/>
                    <a:pt x="32929" y="923"/>
                  </a:cubicBezTo>
                  <a:cubicBezTo>
                    <a:pt x="32884" y="964"/>
                    <a:pt x="32884" y="964"/>
                    <a:pt x="32884" y="964"/>
                  </a:cubicBezTo>
                  <a:cubicBezTo>
                    <a:pt x="32823" y="1018"/>
                    <a:pt x="32763" y="1072"/>
                    <a:pt x="32703" y="1125"/>
                  </a:cubicBezTo>
                  <a:cubicBezTo>
                    <a:pt x="32463" y="1338"/>
                    <a:pt x="32227" y="1543"/>
                    <a:pt x="31998" y="1737"/>
                  </a:cubicBezTo>
                  <a:cubicBezTo>
                    <a:pt x="31539" y="2124"/>
                    <a:pt x="31107" y="2468"/>
                    <a:pt x="30723" y="2750"/>
                  </a:cubicBezTo>
                  <a:cubicBezTo>
                    <a:pt x="27987" y="4762"/>
                    <a:pt x="27987" y="4762"/>
                    <a:pt x="27987" y="4762"/>
                  </a:cubicBezTo>
                  <a:cubicBezTo>
                    <a:pt x="27891" y="4833"/>
                    <a:pt x="27891" y="4833"/>
                    <a:pt x="27891" y="4833"/>
                  </a:cubicBezTo>
                  <a:cubicBezTo>
                    <a:pt x="27891" y="4833"/>
                    <a:pt x="27655" y="5053"/>
                    <a:pt x="27419" y="5272"/>
                  </a:cubicBezTo>
                  <a:cubicBezTo>
                    <a:pt x="27303" y="5379"/>
                    <a:pt x="27194" y="5479"/>
                    <a:pt x="27107" y="5555"/>
                  </a:cubicBezTo>
                  <a:cubicBezTo>
                    <a:pt x="27022" y="5631"/>
                    <a:pt x="26963" y="5680"/>
                    <a:pt x="26963" y="5680"/>
                  </a:cubicBezTo>
                  <a:cubicBezTo>
                    <a:pt x="26963" y="5680"/>
                    <a:pt x="26939" y="5700"/>
                    <a:pt x="26903" y="5731"/>
                  </a:cubicBezTo>
                  <a:cubicBezTo>
                    <a:pt x="26867" y="5761"/>
                    <a:pt x="26819" y="5803"/>
                    <a:pt x="26770" y="5843"/>
                  </a:cubicBezTo>
                  <a:cubicBezTo>
                    <a:pt x="26721" y="5883"/>
                    <a:pt x="26672" y="5923"/>
                    <a:pt x="26635" y="5953"/>
                  </a:cubicBezTo>
                  <a:cubicBezTo>
                    <a:pt x="26598" y="5982"/>
                    <a:pt x="26574" y="6002"/>
                    <a:pt x="26574" y="6002"/>
                  </a:cubicBezTo>
                  <a:cubicBezTo>
                    <a:pt x="26585" y="6000"/>
                    <a:pt x="26597" y="5998"/>
                    <a:pt x="26607" y="5997"/>
                  </a:cubicBezTo>
                  <a:cubicBezTo>
                    <a:pt x="26677" y="5989"/>
                    <a:pt x="26725" y="5998"/>
                    <a:pt x="26749" y="6028"/>
                  </a:cubicBezTo>
                  <a:cubicBezTo>
                    <a:pt x="26781" y="6068"/>
                    <a:pt x="26771" y="6142"/>
                    <a:pt x="26717" y="6245"/>
                  </a:cubicBezTo>
                  <a:cubicBezTo>
                    <a:pt x="26663" y="6350"/>
                    <a:pt x="26566" y="6483"/>
                    <a:pt x="26423" y="6642"/>
                  </a:cubicBezTo>
                  <a:cubicBezTo>
                    <a:pt x="26278" y="6804"/>
                    <a:pt x="26086" y="6988"/>
                    <a:pt x="25843" y="7190"/>
                  </a:cubicBezTo>
                  <a:cubicBezTo>
                    <a:pt x="25843" y="7190"/>
                    <a:pt x="25825" y="7204"/>
                    <a:pt x="25791" y="7232"/>
                  </a:cubicBezTo>
                  <a:cubicBezTo>
                    <a:pt x="25757" y="7260"/>
                    <a:pt x="25708" y="7301"/>
                    <a:pt x="25644" y="7351"/>
                  </a:cubicBezTo>
                  <a:cubicBezTo>
                    <a:pt x="25516" y="7453"/>
                    <a:pt x="25330" y="7595"/>
                    <a:pt x="25101" y="7759"/>
                  </a:cubicBezTo>
                  <a:cubicBezTo>
                    <a:pt x="24986" y="7839"/>
                    <a:pt x="24860" y="7927"/>
                    <a:pt x="24725" y="8015"/>
                  </a:cubicBezTo>
                  <a:cubicBezTo>
                    <a:pt x="24589" y="8104"/>
                    <a:pt x="24444" y="8197"/>
                    <a:pt x="24292" y="8286"/>
                  </a:cubicBezTo>
                  <a:cubicBezTo>
                    <a:pt x="23987" y="8467"/>
                    <a:pt x="23647" y="8640"/>
                    <a:pt x="23294" y="8791"/>
                  </a:cubicBezTo>
                  <a:cubicBezTo>
                    <a:pt x="22941" y="8942"/>
                    <a:pt x="22576" y="9070"/>
                    <a:pt x="22228" y="9173"/>
                  </a:cubicBezTo>
                  <a:cubicBezTo>
                    <a:pt x="21879" y="9276"/>
                    <a:pt x="21547" y="9353"/>
                    <a:pt x="21260" y="9411"/>
                  </a:cubicBezTo>
                  <a:cubicBezTo>
                    <a:pt x="21188" y="9425"/>
                    <a:pt x="21119" y="9439"/>
                    <a:pt x="21054" y="9452"/>
                  </a:cubicBezTo>
                  <a:cubicBezTo>
                    <a:pt x="20988" y="9463"/>
                    <a:pt x="20925" y="9474"/>
                    <a:pt x="20867" y="9484"/>
                  </a:cubicBezTo>
                  <a:cubicBezTo>
                    <a:pt x="20750" y="9505"/>
                    <a:pt x="20645" y="9520"/>
                    <a:pt x="20559" y="9532"/>
                  </a:cubicBezTo>
                  <a:cubicBezTo>
                    <a:pt x="20473" y="9545"/>
                    <a:pt x="20405" y="9554"/>
                    <a:pt x="20362" y="9559"/>
                  </a:cubicBezTo>
                  <a:cubicBezTo>
                    <a:pt x="20317" y="9565"/>
                    <a:pt x="20294" y="9568"/>
                    <a:pt x="20294" y="9568"/>
                  </a:cubicBezTo>
                  <a:cubicBezTo>
                    <a:pt x="19809" y="9629"/>
                    <a:pt x="19233" y="9655"/>
                    <a:pt x="18605" y="9612"/>
                  </a:cubicBezTo>
                  <a:cubicBezTo>
                    <a:pt x="17977" y="9568"/>
                    <a:pt x="17294" y="9455"/>
                    <a:pt x="16613" y="9238"/>
                  </a:cubicBezTo>
                  <a:cubicBezTo>
                    <a:pt x="16443" y="9184"/>
                    <a:pt x="16276" y="9125"/>
                    <a:pt x="16112" y="9060"/>
                  </a:cubicBezTo>
                  <a:cubicBezTo>
                    <a:pt x="15990" y="9011"/>
                    <a:pt x="15990" y="9011"/>
                    <a:pt x="15990" y="9011"/>
                  </a:cubicBezTo>
                  <a:cubicBezTo>
                    <a:pt x="15865" y="8958"/>
                    <a:pt x="15865" y="8958"/>
                    <a:pt x="15865" y="8958"/>
                  </a:cubicBezTo>
                  <a:cubicBezTo>
                    <a:pt x="15742" y="8904"/>
                    <a:pt x="15742" y="8904"/>
                    <a:pt x="15742" y="8904"/>
                  </a:cubicBezTo>
                  <a:cubicBezTo>
                    <a:pt x="15633" y="8852"/>
                    <a:pt x="15633" y="8852"/>
                    <a:pt x="15633" y="8852"/>
                  </a:cubicBezTo>
                  <a:cubicBezTo>
                    <a:pt x="15326" y="8705"/>
                    <a:pt x="15043" y="8549"/>
                    <a:pt x="14774" y="8387"/>
                  </a:cubicBezTo>
                  <a:cubicBezTo>
                    <a:pt x="14240" y="8060"/>
                    <a:pt x="13781" y="7712"/>
                    <a:pt x="13417" y="7383"/>
                  </a:cubicBezTo>
                  <a:cubicBezTo>
                    <a:pt x="13417" y="7383"/>
                    <a:pt x="13344" y="7316"/>
                    <a:pt x="13271" y="7249"/>
                  </a:cubicBezTo>
                  <a:cubicBezTo>
                    <a:pt x="13199" y="7181"/>
                    <a:pt x="13127" y="7112"/>
                    <a:pt x="13127" y="7112"/>
                  </a:cubicBezTo>
                  <a:cubicBezTo>
                    <a:pt x="13127" y="7112"/>
                    <a:pt x="12962" y="6955"/>
                    <a:pt x="12803" y="6792"/>
                  </a:cubicBezTo>
                  <a:cubicBezTo>
                    <a:pt x="12723" y="6711"/>
                    <a:pt x="12644" y="6629"/>
                    <a:pt x="12586" y="6566"/>
                  </a:cubicBezTo>
                  <a:cubicBezTo>
                    <a:pt x="12528" y="6504"/>
                    <a:pt x="12489" y="6463"/>
                    <a:pt x="12489" y="6463"/>
                  </a:cubicBezTo>
                  <a:cubicBezTo>
                    <a:pt x="12489" y="6463"/>
                    <a:pt x="12438" y="6406"/>
                    <a:pt x="12347" y="6306"/>
                  </a:cubicBezTo>
                  <a:cubicBezTo>
                    <a:pt x="12301" y="6256"/>
                    <a:pt x="12250" y="6196"/>
                    <a:pt x="12190" y="6126"/>
                  </a:cubicBezTo>
                  <a:cubicBezTo>
                    <a:pt x="12130" y="6056"/>
                    <a:pt x="12062" y="5977"/>
                    <a:pt x="11988" y="5891"/>
                  </a:cubicBezTo>
                  <a:cubicBezTo>
                    <a:pt x="11696" y="5548"/>
                    <a:pt x="11307" y="5090"/>
                    <a:pt x="10917" y="4632"/>
                  </a:cubicBezTo>
                  <a:cubicBezTo>
                    <a:pt x="10138" y="3717"/>
                    <a:pt x="9359" y="2801"/>
                    <a:pt x="9359" y="2801"/>
                  </a:cubicBezTo>
                  <a:cubicBezTo>
                    <a:pt x="8742" y="2077"/>
                    <a:pt x="8461" y="1615"/>
                    <a:pt x="8566" y="1502"/>
                  </a:cubicBezTo>
                  <a:cubicBezTo>
                    <a:pt x="8597" y="1469"/>
                    <a:pt x="8658" y="1467"/>
                    <a:pt x="8748" y="1493"/>
                  </a:cubicBezTo>
                  <a:cubicBezTo>
                    <a:pt x="8748" y="1493"/>
                    <a:pt x="8672" y="1423"/>
                    <a:pt x="8558" y="1317"/>
                  </a:cubicBezTo>
                  <a:cubicBezTo>
                    <a:pt x="8406" y="1157"/>
                    <a:pt x="8187" y="954"/>
                    <a:pt x="7946" y="777"/>
                  </a:cubicBezTo>
                  <a:cubicBezTo>
                    <a:pt x="7885" y="734"/>
                    <a:pt x="7825" y="689"/>
                    <a:pt x="7764" y="649"/>
                  </a:cubicBezTo>
                  <a:cubicBezTo>
                    <a:pt x="7702" y="610"/>
                    <a:pt x="7641" y="571"/>
                    <a:pt x="7582" y="534"/>
                  </a:cubicBezTo>
                  <a:cubicBezTo>
                    <a:pt x="7460" y="465"/>
                    <a:pt x="7347" y="399"/>
                    <a:pt x="7246" y="353"/>
                  </a:cubicBezTo>
                  <a:cubicBezTo>
                    <a:pt x="7196" y="329"/>
                    <a:pt x="7150" y="307"/>
                    <a:pt x="7109" y="287"/>
                  </a:cubicBezTo>
                  <a:cubicBezTo>
                    <a:pt x="7068" y="269"/>
                    <a:pt x="7032" y="254"/>
                    <a:pt x="7002" y="242"/>
                  </a:cubicBezTo>
                  <a:cubicBezTo>
                    <a:pt x="6942" y="217"/>
                    <a:pt x="6908" y="202"/>
                    <a:pt x="6908" y="202"/>
                  </a:cubicBezTo>
                  <a:cubicBezTo>
                    <a:pt x="6908" y="202"/>
                    <a:pt x="6893" y="198"/>
                    <a:pt x="6865" y="189"/>
                  </a:cubicBezTo>
                  <a:cubicBezTo>
                    <a:pt x="6836" y="182"/>
                    <a:pt x="6794" y="171"/>
                    <a:pt x="6741" y="158"/>
                  </a:cubicBezTo>
                  <a:cubicBezTo>
                    <a:pt x="6635" y="129"/>
                    <a:pt x="6482" y="97"/>
                    <a:pt x="6300" y="67"/>
                  </a:cubicBezTo>
                  <a:cubicBezTo>
                    <a:pt x="6209" y="55"/>
                    <a:pt x="6110" y="37"/>
                    <a:pt x="6007" y="30"/>
                  </a:cubicBezTo>
                  <a:cubicBezTo>
                    <a:pt x="5955" y="25"/>
                    <a:pt x="5902" y="20"/>
                    <a:pt x="5848" y="15"/>
                  </a:cubicBezTo>
                  <a:cubicBezTo>
                    <a:pt x="5793" y="11"/>
                    <a:pt x="5738" y="9"/>
                    <a:pt x="5682" y="7"/>
                  </a:cubicBezTo>
                  <a:cubicBezTo>
                    <a:pt x="5570" y="0"/>
                    <a:pt x="5456" y="1"/>
                    <a:pt x="5340" y="1"/>
                  </a:cubicBezTo>
                  <a:cubicBezTo>
                    <a:pt x="5224" y="3"/>
                    <a:pt x="5094" y="9"/>
                    <a:pt x="4982" y="16"/>
                  </a:cubicBezTo>
                  <a:cubicBezTo>
                    <a:pt x="4929" y="21"/>
                    <a:pt x="4876" y="26"/>
                    <a:pt x="4824" y="31"/>
                  </a:cubicBezTo>
                  <a:cubicBezTo>
                    <a:pt x="4785" y="35"/>
                    <a:pt x="4785" y="35"/>
                    <a:pt x="4785" y="35"/>
                  </a:cubicBezTo>
                  <a:cubicBezTo>
                    <a:pt x="4765" y="36"/>
                    <a:pt x="4765" y="36"/>
                    <a:pt x="4765" y="36"/>
                  </a:cubicBezTo>
                  <a:cubicBezTo>
                    <a:pt x="4755" y="37"/>
                    <a:pt x="4755" y="37"/>
                    <a:pt x="4755" y="37"/>
                  </a:cubicBezTo>
                  <a:cubicBezTo>
                    <a:pt x="4753" y="38"/>
                    <a:pt x="4753" y="38"/>
                    <a:pt x="4753" y="38"/>
                  </a:cubicBezTo>
                  <a:cubicBezTo>
                    <a:pt x="4752" y="38"/>
                    <a:pt x="4752" y="38"/>
                    <a:pt x="4752" y="38"/>
                  </a:cubicBezTo>
                  <a:cubicBezTo>
                    <a:pt x="4728" y="38"/>
                    <a:pt x="4745" y="38"/>
                    <a:pt x="4739" y="38"/>
                  </a:cubicBezTo>
                  <a:cubicBezTo>
                    <a:pt x="4734" y="38"/>
                    <a:pt x="4734" y="38"/>
                    <a:pt x="4734" y="38"/>
                  </a:cubicBezTo>
                  <a:cubicBezTo>
                    <a:pt x="4656" y="47"/>
                    <a:pt x="4656" y="47"/>
                    <a:pt x="4656" y="47"/>
                  </a:cubicBezTo>
                  <a:cubicBezTo>
                    <a:pt x="4553" y="59"/>
                    <a:pt x="4451" y="71"/>
                    <a:pt x="4353" y="82"/>
                  </a:cubicBezTo>
                  <a:cubicBezTo>
                    <a:pt x="4156" y="105"/>
                    <a:pt x="3972" y="126"/>
                    <a:pt x="3815" y="145"/>
                  </a:cubicBezTo>
                  <a:cubicBezTo>
                    <a:pt x="3499" y="181"/>
                    <a:pt x="3289" y="205"/>
                    <a:pt x="3289" y="205"/>
                  </a:cubicBezTo>
                  <a:cubicBezTo>
                    <a:pt x="2803" y="262"/>
                    <a:pt x="2803" y="262"/>
                    <a:pt x="2803" y="262"/>
                  </a:cubicBezTo>
                  <a:cubicBezTo>
                    <a:pt x="2012" y="353"/>
                    <a:pt x="2012" y="353"/>
                    <a:pt x="2012" y="353"/>
                  </a:cubicBezTo>
                  <a:cubicBezTo>
                    <a:pt x="1776" y="380"/>
                    <a:pt x="1520" y="405"/>
                    <a:pt x="1248" y="426"/>
                  </a:cubicBezTo>
                  <a:cubicBezTo>
                    <a:pt x="1167" y="431"/>
                    <a:pt x="1070" y="444"/>
                    <a:pt x="977" y="489"/>
                  </a:cubicBezTo>
                  <a:cubicBezTo>
                    <a:pt x="883" y="531"/>
                    <a:pt x="793" y="610"/>
                    <a:pt x="743" y="702"/>
                  </a:cubicBezTo>
                  <a:cubicBezTo>
                    <a:pt x="641" y="885"/>
                    <a:pt x="655" y="1073"/>
                    <a:pt x="663" y="1219"/>
                  </a:cubicBezTo>
                  <a:cubicBezTo>
                    <a:pt x="691" y="1818"/>
                    <a:pt x="706" y="2467"/>
                    <a:pt x="706" y="3136"/>
                  </a:cubicBezTo>
                  <a:cubicBezTo>
                    <a:pt x="706" y="4473"/>
                    <a:pt x="646" y="5731"/>
                    <a:pt x="537" y="6677"/>
                  </a:cubicBezTo>
                  <a:cubicBezTo>
                    <a:pt x="8" y="11246"/>
                    <a:pt x="8" y="11246"/>
                    <a:pt x="8" y="11246"/>
                  </a:cubicBezTo>
                  <a:cubicBezTo>
                    <a:pt x="0" y="11314"/>
                    <a:pt x="0" y="11314"/>
                    <a:pt x="0" y="11314"/>
                  </a:cubicBezTo>
                  <a:cubicBezTo>
                    <a:pt x="0" y="11949"/>
                    <a:pt x="0" y="11949"/>
                    <a:pt x="0" y="11949"/>
                  </a:cubicBezTo>
                  <a:cubicBezTo>
                    <a:pt x="0" y="11949"/>
                    <a:pt x="0" y="14002"/>
                    <a:pt x="0" y="16055"/>
                  </a:cubicBezTo>
                  <a:cubicBezTo>
                    <a:pt x="0" y="16151"/>
                    <a:pt x="0" y="16151"/>
                    <a:pt x="0" y="16151"/>
                  </a:cubicBezTo>
                  <a:cubicBezTo>
                    <a:pt x="2" y="16261"/>
                    <a:pt x="2" y="16261"/>
                    <a:pt x="2" y="16261"/>
                  </a:cubicBezTo>
                  <a:cubicBezTo>
                    <a:pt x="2" y="16336"/>
                    <a:pt x="6" y="16412"/>
                    <a:pt x="10" y="16488"/>
                  </a:cubicBezTo>
                  <a:cubicBezTo>
                    <a:pt x="19" y="16640"/>
                    <a:pt x="37" y="16795"/>
                    <a:pt x="61" y="16948"/>
                  </a:cubicBezTo>
                  <a:cubicBezTo>
                    <a:pt x="113" y="17256"/>
                    <a:pt x="196" y="17565"/>
                    <a:pt x="325" y="17854"/>
                  </a:cubicBezTo>
                  <a:cubicBezTo>
                    <a:pt x="387" y="17999"/>
                    <a:pt x="463" y="18137"/>
                    <a:pt x="544" y="18269"/>
                  </a:cubicBezTo>
                  <a:cubicBezTo>
                    <a:pt x="586" y="18334"/>
                    <a:pt x="627" y="18399"/>
                    <a:pt x="673" y="18459"/>
                  </a:cubicBezTo>
                  <a:cubicBezTo>
                    <a:pt x="695" y="18490"/>
                    <a:pt x="718" y="18520"/>
                    <a:pt x="741" y="18550"/>
                  </a:cubicBezTo>
                  <a:cubicBezTo>
                    <a:pt x="762" y="18578"/>
                    <a:pt x="793" y="18613"/>
                    <a:pt x="818" y="18644"/>
                  </a:cubicBezTo>
                  <a:cubicBezTo>
                    <a:pt x="859" y="18691"/>
                    <a:pt x="859" y="18691"/>
                    <a:pt x="859" y="18691"/>
                  </a:cubicBezTo>
                  <a:cubicBezTo>
                    <a:pt x="872" y="18706"/>
                    <a:pt x="888" y="18725"/>
                    <a:pt x="896" y="18732"/>
                  </a:cubicBezTo>
                  <a:cubicBezTo>
                    <a:pt x="914" y="18752"/>
                    <a:pt x="933" y="18772"/>
                    <a:pt x="951" y="18791"/>
                  </a:cubicBezTo>
                  <a:cubicBezTo>
                    <a:pt x="979" y="18820"/>
                    <a:pt x="979" y="18820"/>
                    <a:pt x="979" y="18820"/>
                  </a:cubicBezTo>
                  <a:cubicBezTo>
                    <a:pt x="999" y="18841"/>
                    <a:pt x="999" y="18841"/>
                    <a:pt x="999" y="18841"/>
                  </a:cubicBezTo>
                  <a:cubicBezTo>
                    <a:pt x="1004" y="18845"/>
                    <a:pt x="1004" y="18845"/>
                    <a:pt x="1004" y="18845"/>
                  </a:cubicBezTo>
                  <a:cubicBezTo>
                    <a:pt x="1014" y="18855"/>
                    <a:pt x="1014" y="18855"/>
                    <a:pt x="1014" y="18855"/>
                  </a:cubicBezTo>
                  <a:cubicBezTo>
                    <a:pt x="1033" y="18873"/>
                    <a:pt x="1033" y="18873"/>
                    <a:pt x="1033" y="18873"/>
                  </a:cubicBezTo>
                  <a:cubicBezTo>
                    <a:pt x="1058" y="18897"/>
                    <a:pt x="1084" y="18921"/>
                    <a:pt x="1109" y="18945"/>
                  </a:cubicBezTo>
                  <a:cubicBezTo>
                    <a:pt x="1160" y="18991"/>
                    <a:pt x="1213" y="19035"/>
                    <a:pt x="1265" y="19077"/>
                  </a:cubicBezTo>
                  <a:cubicBezTo>
                    <a:pt x="1318" y="19118"/>
                    <a:pt x="1370" y="19159"/>
                    <a:pt x="1423" y="19195"/>
                  </a:cubicBezTo>
                  <a:cubicBezTo>
                    <a:pt x="1635" y="19343"/>
                    <a:pt x="1845" y="19451"/>
                    <a:pt x="2033" y="19531"/>
                  </a:cubicBezTo>
                  <a:cubicBezTo>
                    <a:pt x="2222" y="19609"/>
                    <a:pt x="2390" y="19659"/>
                    <a:pt x="2527" y="19696"/>
                  </a:cubicBezTo>
                  <a:cubicBezTo>
                    <a:pt x="2596" y="19713"/>
                    <a:pt x="2658" y="19726"/>
                    <a:pt x="2711" y="19739"/>
                  </a:cubicBezTo>
                  <a:cubicBezTo>
                    <a:pt x="2764" y="19748"/>
                    <a:pt x="2810" y="19757"/>
                    <a:pt x="2846" y="19764"/>
                  </a:cubicBezTo>
                  <a:cubicBezTo>
                    <a:pt x="2883" y="19770"/>
                    <a:pt x="2911" y="19775"/>
                    <a:pt x="2930" y="19777"/>
                  </a:cubicBezTo>
                  <a:cubicBezTo>
                    <a:pt x="2949" y="19780"/>
                    <a:pt x="2959" y="19781"/>
                    <a:pt x="2959" y="19781"/>
                  </a:cubicBezTo>
                  <a:cubicBezTo>
                    <a:pt x="2757" y="19712"/>
                    <a:pt x="2608" y="19634"/>
                    <a:pt x="2516" y="19564"/>
                  </a:cubicBezTo>
                  <a:cubicBezTo>
                    <a:pt x="2422" y="19494"/>
                    <a:pt x="2384" y="19434"/>
                    <a:pt x="2398" y="19390"/>
                  </a:cubicBezTo>
                  <a:cubicBezTo>
                    <a:pt x="2398" y="19389"/>
                    <a:pt x="2398" y="19389"/>
                    <a:pt x="2398" y="19389"/>
                  </a:cubicBezTo>
                  <a:cubicBezTo>
                    <a:pt x="2408" y="19357"/>
                    <a:pt x="2447" y="19337"/>
                    <a:pt x="2510" y="19320"/>
                  </a:cubicBezTo>
                  <a:cubicBezTo>
                    <a:pt x="2623" y="19292"/>
                    <a:pt x="2814" y="19285"/>
                    <a:pt x="3071" y="19268"/>
                  </a:cubicBezTo>
                  <a:cubicBezTo>
                    <a:pt x="3136" y="19264"/>
                    <a:pt x="3204" y="19257"/>
                    <a:pt x="3276" y="19251"/>
                  </a:cubicBezTo>
                  <a:cubicBezTo>
                    <a:pt x="3348" y="19246"/>
                    <a:pt x="3429" y="19237"/>
                    <a:pt x="3507" y="19228"/>
                  </a:cubicBezTo>
                  <a:cubicBezTo>
                    <a:pt x="3588" y="19217"/>
                    <a:pt x="3669" y="19207"/>
                    <a:pt x="3751" y="19196"/>
                  </a:cubicBezTo>
                  <a:cubicBezTo>
                    <a:pt x="3839" y="19185"/>
                    <a:pt x="3927" y="19174"/>
                    <a:pt x="4017" y="19163"/>
                  </a:cubicBezTo>
                  <a:cubicBezTo>
                    <a:pt x="4017" y="19163"/>
                    <a:pt x="4394" y="19119"/>
                    <a:pt x="4961" y="19053"/>
                  </a:cubicBezTo>
                  <a:cubicBezTo>
                    <a:pt x="5102" y="19037"/>
                    <a:pt x="5256" y="19019"/>
                    <a:pt x="5418" y="19001"/>
                  </a:cubicBezTo>
                  <a:cubicBezTo>
                    <a:pt x="5497" y="18992"/>
                    <a:pt x="5575" y="18969"/>
                    <a:pt x="5634" y="18926"/>
                  </a:cubicBezTo>
                  <a:cubicBezTo>
                    <a:pt x="5693" y="18882"/>
                    <a:pt x="5728" y="18819"/>
                    <a:pt x="5743" y="18745"/>
                  </a:cubicBezTo>
                  <a:cubicBezTo>
                    <a:pt x="5751" y="18709"/>
                    <a:pt x="5753" y="18670"/>
                    <a:pt x="5754" y="18631"/>
                  </a:cubicBezTo>
                  <a:cubicBezTo>
                    <a:pt x="5754" y="18611"/>
                    <a:pt x="5753" y="18593"/>
                    <a:pt x="5752" y="18573"/>
                  </a:cubicBezTo>
                  <a:cubicBezTo>
                    <a:pt x="5750" y="18552"/>
                    <a:pt x="5748" y="18524"/>
                    <a:pt x="5745" y="18508"/>
                  </a:cubicBezTo>
                  <a:cubicBezTo>
                    <a:pt x="5735" y="18417"/>
                    <a:pt x="5724" y="18325"/>
                    <a:pt x="5713" y="18232"/>
                  </a:cubicBezTo>
                  <a:cubicBezTo>
                    <a:pt x="5692" y="18046"/>
                    <a:pt x="5670" y="17857"/>
                    <a:pt x="5648" y="17668"/>
                  </a:cubicBezTo>
                  <a:cubicBezTo>
                    <a:pt x="5474" y="16158"/>
                    <a:pt x="5299" y="14647"/>
                    <a:pt x="5299" y="14647"/>
                  </a:cubicBezTo>
                  <a:cubicBezTo>
                    <a:pt x="5272" y="14411"/>
                    <a:pt x="5247" y="14155"/>
                    <a:pt x="5226" y="13883"/>
                  </a:cubicBezTo>
                  <a:cubicBezTo>
                    <a:pt x="5216" y="13747"/>
                    <a:pt x="5206" y="13608"/>
                    <a:pt x="5197" y="13464"/>
                  </a:cubicBezTo>
                  <a:cubicBezTo>
                    <a:pt x="5193" y="13392"/>
                    <a:pt x="5189" y="13319"/>
                    <a:pt x="5184" y="13247"/>
                  </a:cubicBezTo>
                  <a:cubicBezTo>
                    <a:pt x="5179" y="13135"/>
                    <a:pt x="5179" y="13135"/>
                    <a:pt x="5179" y="13135"/>
                  </a:cubicBezTo>
                  <a:cubicBezTo>
                    <a:pt x="5176" y="13002"/>
                    <a:pt x="5176" y="13002"/>
                    <a:pt x="5176" y="13002"/>
                  </a:cubicBezTo>
                  <a:cubicBezTo>
                    <a:pt x="5175" y="12824"/>
                    <a:pt x="5185" y="12638"/>
                    <a:pt x="5212" y="12448"/>
                  </a:cubicBezTo>
                  <a:cubicBezTo>
                    <a:pt x="5239" y="12258"/>
                    <a:pt x="5284" y="12063"/>
                    <a:pt x="5350" y="11869"/>
                  </a:cubicBezTo>
                  <a:cubicBezTo>
                    <a:pt x="5415" y="11675"/>
                    <a:pt x="5501" y="11482"/>
                    <a:pt x="5608" y="11298"/>
                  </a:cubicBezTo>
                  <a:cubicBezTo>
                    <a:pt x="5662" y="11206"/>
                    <a:pt x="5721" y="11117"/>
                    <a:pt x="5784" y="11030"/>
                  </a:cubicBezTo>
                  <a:cubicBezTo>
                    <a:pt x="5817" y="10987"/>
                    <a:pt x="5845" y="10947"/>
                    <a:pt x="5885" y="10900"/>
                  </a:cubicBezTo>
                  <a:cubicBezTo>
                    <a:pt x="5943" y="10832"/>
                    <a:pt x="5943" y="10832"/>
                    <a:pt x="5943" y="10832"/>
                  </a:cubicBezTo>
                  <a:cubicBezTo>
                    <a:pt x="5972" y="10798"/>
                    <a:pt x="5972" y="10798"/>
                    <a:pt x="5972" y="10798"/>
                  </a:cubicBezTo>
                  <a:cubicBezTo>
                    <a:pt x="5994" y="10774"/>
                    <a:pt x="5994" y="10774"/>
                    <a:pt x="5994" y="10774"/>
                  </a:cubicBezTo>
                  <a:cubicBezTo>
                    <a:pt x="6044" y="10720"/>
                    <a:pt x="6044" y="10720"/>
                    <a:pt x="6044" y="10720"/>
                  </a:cubicBezTo>
                  <a:cubicBezTo>
                    <a:pt x="6083" y="10679"/>
                    <a:pt x="6083" y="10679"/>
                    <a:pt x="6083" y="10679"/>
                  </a:cubicBezTo>
                  <a:cubicBezTo>
                    <a:pt x="6116" y="10647"/>
                    <a:pt x="6116" y="10647"/>
                    <a:pt x="6116" y="10647"/>
                  </a:cubicBezTo>
                  <a:cubicBezTo>
                    <a:pt x="6161" y="10603"/>
                    <a:pt x="6205" y="10560"/>
                    <a:pt x="6253" y="10519"/>
                  </a:cubicBezTo>
                  <a:cubicBezTo>
                    <a:pt x="6415" y="10382"/>
                    <a:pt x="6616" y="10242"/>
                    <a:pt x="6853" y="10126"/>
                  </a:cubicBezTo>
                  <a:cubicBezTo>
                    <a:pt x="7090" y="10008"/>
                    <a:pt x="7365" y="9919"/>
                    <a:pt x="7656" y="9867"/>
                  </a:cubicBezTo>
                  <a:cubicBezTo>
                    <a:pt x="7801" y="9844"/>
                    <a:pt x="7951" y="9826"/>
                    <a:pt x="8102" y="9822"/>
                  </a:cubicBezTo>
                  <a:cubicBezTo>
                    <a:pt x="8175" y="9818"/>
                    <a:pt x="8265" y="9820"/>
                    <a:pt x="8342" y="9820"/>
                  </a:cubicBezTo>
                  <a:cubicBezTo>
                    <a:pt x="8374" y="9822"/>
                    <a:pt x="8406" y="9824"/>
                    <a:pt x="8439" y="9826"/>
                  </a:cubicBezTo>
                  <a:cubicBezTo>
                    <a:pt x="8463" y="9828"/>
                    <a:pt x="8463" y="9828"/>
                    <a:pt x="8463" y="9828"/>
                  </a:cubicBezTo>
                  <a:cubicBezTo>
                    <a:pt x="8476" y="9829"/>
                    <a:pt x="8476" y="9829"/>
                    <a:pt x="8476" y="9829"/>
                  </a:cubicBezTo>
                  <a:cubicBezTo>
                    <a:pt x="8479" y="9829"/>
                    <a:pt x="8479" y="9829"/>
                    <a:pt x="8479" y="9829"/>
                  </a:cubicBezTo>
                  <a:cubicBezTo>
                    <a:pt x="8492" y="9829"/>
                    <a:pt x="8492" y="9829"/>
                    <a:pt x="8492" y="9829"/>
                  </a:cubicBezTo>
                  <a:cubicBezTo>
                    <a:pt x="8493" y="9829"/>
                    <a:pt x="8493" y="9829"/>
                    <a:pt x="8493" y="9829"/>
                  </a:cubicBezTo>
                  <a:cubicBezTo>
                    <a:pt x="8495" y="9829"/>
                    <a:pt x="8495" y="9829"/>
                    <a:pt x="8495" y="9829"/>
                  </a:cubicBezTo>
                  <a:cubicBezTo>
                    <a:pt x="8502" y="9830"/>
                    <a:pt x="8502" y="9830"/>
                    <a:pt x="8502" y="9830"/>
                  </a:cubicBezTo>
                  <a:cubicBezTo>
                    <a:pt x="8558" y="9834"/>
                    <a:pt x="8558" y="9834"/>
                    <a:pt x="8558" y="9834"/>
                  </a:cubicBezTo>
                  <a:cubicBezTo>
                    <a:pt x="8860" y="9861"/>
                    <a:pt x="9172" y="9920"/>
                    <a:pt x="9478" y="10016"/>
                  </a:cubicBezTo>
                  <a:cubicBezTo>
                    <a:pt x="9712" y="10090"/>
                    <a:pt x="9942" y="10184"/>
                    <a:pt x="10165" y="10297"/>
                  </a:cubicBezTo>
                  <a:cubicBezTo>
                    <a:pt x="10388" y="10410"/>
                    <a:pt x="10592" y="10535"/>
                    <a:pt x="10795" y="10668"/>
                  </a:cubicBezTo>
                  <a:cubicBezTo>
                    <a:pt x="10926" y="10755"/>
                    <a:pt x="11056" y="10846"/>
                    <a:pt x="11183" y="10940"/>
                  </a:cubicBezTo>
                  <a:cubicBezTo>
                    <a:pt x="11305" y="11032"/>
                    <a:pt x="11424" y="11126"/>
                    <a:pt x="11541" y="11224"/>
                  </a:cubicBezTo>
                  <a:cubicBezTo>
                    <a:pt x="11700" y="11356"/>
                    <a:pt x="11854" y="11495"/>
                    <a:pt x="12000" y="11635"/>
                  </a:cubicBezTo>
                  <a:cubicBezTo>
                    <a:pt x="12453" y="12069"/>
                    <a:pt x="12872" y="12525"/>
                    <a:pt x="13241" y="12976"/>
                  </a:cubicBezTo>
                  <a:cubicBezTo>
                    <a:pt x="13589" y="13401"/>
                    <a:pt x="13926" y="13800"/>
                    <a:pt x="14240" y="14156"/>
                  </a:cubicBezTo>
                  <a:cubicBezTo>
                    <a:pt x="14552" y="14507"/>
                    <a:pt x="14828" y="14831"/>
                    <a:pt x="15059" y="15096"/>
                  </a:cubicBezTo>
                  <a:cubicBezTo>
                    <a:pt x="15074" y="15118"/>
                    <a:pt x="15074" y="15118"/>
                    <a:pt x="15074" y="15118"/>
                  </a:cubicBezTo>
                  <a:cubicBezTo>
                    <a:pt x="15302" y="15381"/>
                    <a:pt x="15523" y="15635"/>
                    <a:pt x="15715" y="15856"/>
                  </a:cubicBezTo>
                  <a:cubicBezTo>
                    <a:pt x="15722" y="15864"/>
                    <a:pt x="15729" y="15872"/>
                    <a:pt x="15736" y="15880"/>
                  </a:cubicBezTo>
                  <a:cubicBezTo>
                    <a:pt x="15736" y="15880"/>
                    <a:pt x="15943" y="16118"/>
                    <a:pt x="16159" y="16349"/>
                  </a:cubicBezTo>
                  <a:cubicBezTo>
                    <a:pt x="16374" y="16582"/>
                    <a:pt x="16599" y="16807"/>
                    <a:pt x="16599" y="16807"/>
                  </a:cubicBezTo>
                  <a:cubicBezTo>
                    <a:pt x="16599" y="16807"/>
                    <a:pt x="16641" y="16849"/>
                    <a:pt x="16704" y="16913"/>
                  </a:cubicBezTo>
                  <a:cubicBezTo>
                    <a:pt x="16768" y="16975"/>
                    <a:pt x="16854" y="17058"/>
                    <a:pt x="16939" y="17141"/>
                  </a:cubicBezTo>
                  <a:cubicBezTo>
                    <a:pt x="17029" y="17226"/>
                    <a:pt x="17121" y="17310"/>
                    <a:pt x="17192" y="17372"/>
                  </a:cubicBezTo>
                  <a:cubicBezTo>
                    <a:pt x="17263" y="17433"/>
                    <a:pt x="17310" y="17474"/>
                    <a:pt x="17310" y="17474"/>
                  </a:cubicBezTo>
                  <a:cubicBezTo>
                    <a:pt x="17310" y="17474"/>
                    <a:pt x="17589" y="17712"/>
                    <a:pt x="17901" y="17925"/>
                  </a:cubicBezTo>
                  <a:cubicBezTo>
                    <a:pt x="17979" y="17978"/>
                    <a:pt x="18058" y="18030"/>
                    <a:pt x="18134" y="18077"/>
                  </a:cubicBezTo>
                  <a:cubicBezTo>
                    <a:pt x="18209" y="18122"/>
                    <a:pt x="18278" y="18165"/>
                    <a:pt x="18338" y="18201"/>
                  </a:cubicBezTo>
                  <a:cubicBezTo>
                    <a:pt x="18374" y="18220"/>
                    <a:pt x="18406" y="18238"/>
                    <a:pt x="18435" y="18254"/>
                  </a:cubicBezTo>
                  <a:cubicBezTo>
                    <a:pt x="18463" y="18268"/>
                    <a:pt x="18487" y="18281"/>
                    <a:pt x="18507" y="18291"/>
                  </a:cubicBezTo>
                  <a:cubicBezTo>
                    <a:pt x="18548" y="18312"/>
                    <a:pt x="18571" y="18323"/>
                    <a:pt x="18571" y="18323"/>
                  </a:cubicBezTo>
                  <a:cubicBezTo>
                    <a:pt x="18571" y="18323"/>
                    <a:pt x="18639" y="18350"/>
                    <a:pt x="18709" y="18373"/>
                  </a:cubicBezTo>
                  <a:cubicBezTo>
                    <a:pt x="18778" y="18398"/>
                    <a:pt x="18848" y="18418"/>
                    <a:pt x="18848" y="18418"/>
                  </a:cubicBezTo>
                  <a:cubicBezTo>
                    <a:pt x="18848" y="18418"/>
                    <a:pt x="18902" y="18434"/>
                    <a:pt x="18982" y="18457"/>
                  </a:cubicBezTo>
                  <a:cubicBezTo>
                    <a:pt x="19064" y="18478"/>
                    <a:pt x="19172" y="18505"/>
                    <a:pt x="19282" y="18526"/>
                  </a:cubicBezTo>
                  <a:cubicBezTo>
                    <a:pt x="19501" y="18569"/>
                    <a:pt x="19723" y="18587"/>
                    <a:pt x="19723" y="18587"/>
                  </a:cubicBezTo>
                  <a:cubicBezTo>
                    <a:pt x="19723" y="18587"/>
                    <a:pt x="19609" y="18567"/>
                    <a:pt x="19496" y="18539"/>
                  </a:cubicBezTo>
                  <a:cubicBezTo>
                    <a:pt x="19383" y="18513"/>
                    <a:pt x="19273" y="18479"/>
                    <a:pt x="19273" y="18479"/>
                  </a:cubicBezTo>
                  <a:cubicBezTo>
                    <a:pt x="19273" y="18479"/>
                    <a:pt x="19193" y="18457"/>
                    <a:pt x="19076" y="18416"/>
                  </a:cubicBezTo>
                  <a:cubicBezTo>
                    <a:pt x="18959" y="18375"/>
                    <a:pt x="18806" y="18314"/>
                    <a:pt x="18659" y="18243"/>
                  </a:cubicBezTo>
                  <a:cubicBezTo>
                    <a:pt x="18515" y="18174"/>
                    <a:pt x="18365" y="18090"/>
                    <a:pt x="18281" y="18037"/>
                  </a:cubicBezTo>
                  <a:cubicBezTo>
                    <a:pt x="18229" y="18006"/>
                    <a:pt x="18188" y="17981"/>
                    <a:pt x="18161" y="17963"/>
                  </a:cubicBezTo>
                  <a:cubicBezTo>
                    <a:pt x="18133" y="17946"/>
                    <a:pt x="18117" y="17936"/>
                    <a:pt x="18117" y="17936"/>
                  </a:cubicBezTo>
                  <a:cubicBezTo>
                    <a:pt x="17767" y="17708"/>
                    <a:pt x="17536" y="17496"/>
                    <a:pt x="17402" y="17338"/>
                  </a:cubicBezTo>
                  <a:cubicBezTo>
                    <a:pt x="17282" y="17197"/>
                    <a:pt x="17240" y="17098"/>
                    <a:pt x="17272" y="17054"/>
                  </a:cubicBezTo>
                  <a:cubicBezTo>
                    <a:pt x="17305" y="17009"/>
                    <a:pt x="17409" y="17021"/>
                    <a:pt x="17579" y="17076"/>
                  </a:cubicBezTo>
                  <a:cubicBezTo>
                    <a:pt x="17722" y="17122"/>
                    <a:pt x="17911" y="17198"/>
                    <a:pt x="18148" y="17290"/>
                  </a:cubicBezTo>
                  <a:cubicBezTo>
                    <a:pt x="18230" y="17321"/>
                    <a:pt x="18312" y="17353"/>
                    <a:pt x="18396" y="17385"/>
                  </a:cubicBezTo>
                  <a:cubicBezTo>
                    <a:pt x="18396" y="17385"/>
                    <a:pt x="18462" y="17410"/>
                    <a:pt x="18578" y="17449"/>
                  </a:cubicBezTo>
                  <a:cubicBezTo>
                    <a:pt x="18695" y="17488"/>
                    <a:pt x="18861" y="17540"/>
                    <a:pt x="19064" y="17578"/>
                  </a:cubicBezTo>
                  <a:cubicBezTo>
                    <a:pt x="19267" y="17617"/>
                    <a:pt x="19505" y="17643"/>
                    <a:pt x="19758" y="17637"/>
                  </a:cubicBezTo>
                  <a:cubicBezTo>
                    <a:pt x="20009" y="17632"/>
                    <a:pt x="20277" y="17598"/>
                    <a:pt x="20529" y="17534"/>
                  </a:cubicBezTo>
                  <a:cubicBezTo>
                    <a:pt x="20783" y="17471"/>
                    <a:pt x="21023" y="17375"/>
                    <a:pt x="21234" y="17263"/>
                  </a:cubicBezTo>
                  <a:cubicBezTo>
                    <a:pt x="21287" y="17235"/>
                    <a:pt x="21329" y="17210"/>
                    <a:pt x="21388" y="17177"/>
                  </a:cubicBezTo>
                  <a:cubicBezTo>
                    <a:pt x="21434" y="17148"/>
                    <a:pt x="21487" y="17116"/>
                    <a:pt x="21533" y="17086"/>
                  </a:cubicBezTo>
                  <a:cubicBezTo>
                    <a:pt x="21628" y="17025"/>
                    <a:pt x="21716" y="16965"/>
                    <a:pt x="21796" y="16907"/>
                  </a:cubicBezTo>
                  <a:cubicBezTo>
                    <a:pt x="21955" y="16792"/>
                    <a:pt x="22083" y="16689"/>
                    <a:pt x="22170" y="16615"/>
                  </a:cubicBezTo>
                  <a:cubicBezTo>
                    <a:pt x="22258" y="16541"/>
                    <a:pt x="22307" y="16497"/>
                    <a:pt x="22307" y="16497"/>
                  </a:cubicBezTo>
                  <a:cubicBezTo>
                    <a:pt x="22485" y="16341"/>
                    <a:pt x="22682" y="16158"/>
                    <a:pt x="22901" y="15958"/>
                  </a:cubicBezTo>
                  <a:cubicBezTo>
                    <a:pt x="23118" y="15759"/>
                    <a:pt x="23350" y="15545"/>
                    <a:pt x="23591" y="15319"/>
                  </a:cubicBezTo>
                  <a:cubicBezTo>
                    <a:pt x="23691" y="15224"/>
                    <a:pt x="23793" y="15129"/>
                    <a:pt x="23895" y="15033"/>
                  </a:cubicBezTo>
                  <a:cubicBezTo>
                    <a:pt x="24001" y="14935"/>
                    <a:pt x="24108" y="14836"/>
                    <a:pt x="24216" y="14737"/>
                  </a:cubicBezTo>
                  <a:cubicBezTo>
                    <a:pt x="24402" y="14567"/>
                    <a:pt x="24588" y="14402"/>
                    <a:pt x="24770" y="14243"/>
                  </a:cubicBezTo>
                  <a:cubicBezTo>
                    <a:pt x="24861" y="14165"/>
                    <a:pt x="24952" y="14088"/>
                    <a:pt x="25042" y="14010"/>
                  </a:cubicBezTo>
                  <a:cubicBezTo>
                    <a:pt x="25133" y="13934"/>
                    <a:pt x="25223" y="13858"/>
                    <a:pt x="25313" y="13782"/>
                  </a:cubicBezTo>
                  <a:cubicBezTo>
                    <a:pt x="25660" y="13506"/>
                    <a:pt x="25981" y="13251"/>
                    <a:pt x="26265" y="13039"/>
                  </a:cubicBezTo>
                  <a:cubicBezTo>
                    <a:pt x="26265" y="13039"/>
                    <a:pt x="26320" y="12997"/>
                    <a:pt x="26417" y="12924"/>
                  </a:cubicBezTo>
                  <a:cubicBezTo>
                    <a:pt x="26514" y="12850"/>
                    <a:pt x="26653" y="12744"/>
                    <a:pt x="26820" y="12616"/>
                  </a:cubicBezTo>
                  <a:cubicBezTo>
                    <a:pt x="27162" y="12354"/>
                    <a:pt x="27631" y="12024"/>
                    <a:pt x="28115" y="11727"/>
                  </a:cubicBezTo>
                  <a:cubicBezTo>
                    <a:pt x="28176" y="11690"/>
                    <a:pt x="28237" y="11653"/>
                    <a:pt x="28297" y="11617"/>
                  </a:cubicBezTo>
                  <a:cubicBezTo>
                    <a:pt x="28359" y="11580"/>
                    <a:pt x="28419" y="11544"/>
                    <a:pt x="28481" y="11509"/>
                  </a:cubicBezTo>
                  <a:cubicBezTo>
                    <a:pt x="28603" y="11440"/>
                    <a:pt x="28725" y="11374"/>
                    <a:pt x="28844" y="11313"/>
                  </a:cubicBezTo>
                  <a:cubicBezTo>
                    <a:pt x="29082" y="11192"/>
                    <a:pt x="29308" y="11091"/>
                    <a:pt x="29504" y="11012"/>
                  </a:cubicBezTo>
                  <a:cubicBezTo>
                    <a:pt x="29897" y="10855"/>
                    <a:pt x="30166" y="10780"/>
                    <a:pt x="30166" y="10780"/>
                  </a:cubicBezTo>
                  <a:cubicBezTo>
                    <a:pt x="30510" y="10681"/>
                    <a:pt x="30786" y="10661"/>
                    <a:pt x="30972" y="10676"/>
                  </a:cubicBezTo>
                  <a:cubicBezTo>
                    <a:pt x="31159" y="10692"/>
                    <a:pt x="31256" y="10740"/>
                    <a:pt x="31264" y="10797"/>
                  </a:cubicBezTo>
                  <a:cubicBezTo>
                    <a:pt x="31270" y="10849"/>
                    <a:pt x="31205" y="10907"/>
                    <a:pt x="31083" y="10978"/>
                  </a:cubicBezTo>
                  <a:cubicBezTo>
                    <a:pt x="30961" y="11050"/>
                    <a:pt x="30783" y="11136"/>
                    <a:pt x="30564" y="11258"/>
                  </a:cubicBezTo>
                  <a:cubicBezTo>
                    <a:pt x="30513" y="11286"/>
                    <a:pt x="30460" y="11316"/>
                    <a:pt x="30405" y="11349"/>
                  </a:cubicBezTo>
                  <a:cubicBezTo>
                    <a:pt x="30405" y="11349"/>
                    <a:pt x="30389" y="11359"/>
                    <a:pt x="30360" y="11376"/>
                  </a:cubicBezTo>
                  <a:cubicBezTo>
                    <a:pt x="30329" y="11395"/>
                    <a:pt x="30286" y="11422"/>
                    <a:pt x="30234" y="11454"/>
                  </a:cubicBezTo>
                  <a:cubicBezTo>
                    <a:pt x="30203" y="11472"/>
                    <a:pt x="30180" y="11489"/>
                    <a:pt x="30151" y="11507"/>
                  </a:cubicBezTo>
                  <a:cubicBezTo>
                    <a:pt x="30122" y="11527"/>
                    <a:pt x="30091" y="11547"/>
                    <a:pt x="30060" y="11568"/>
                  </a:cubicBezTo>
                  <a:cubicBezTo>
                    <a:pt x="29996" y="11611"/>
                    <a:pt x="29929" y="11658"/>
                    <a:pt x="29862" y="11706"/>
                  </a:cubicBezTo>
                  <a:cubicBezTo>
                    <a:pt x="29596" y="11897"/>
                    <a:pt x="29350" y="12112"/>
                    <a:pt x="29350" y="12112"/>
                  </a:cubicBezTo>
                  <a:cubicBezTo>
                    <a:pt x="29330" y="12130"/>
                    <a:pt x="29330" y="12130"/>
                    <a:pt x="29330" y="12130"/>
                  </a:cubicBezTo>
                  <a:cubicBezTo>
                    <a:pt x="29374" y="12100"/>
                    <a:pt x="29374" y="12100"/>
                    <a:pt x="29374" y="12100"/>
                  </a:cubicBezTo>
                  <a:cubicBezTo>
                    <a:pt x="29374" y="12100"/>
                    <a:pt x="29543" y="11988"/>
                    <a:pt x="29717" y="11887"/>
                  </a:cubicBezTo>
                  <a:cubicBezTo>
                    <a:pt x="29891" y="11785"/>
                    <a:pt x="30070" y="11693"/>
                    <a:pt x="30070" y="11693"/>
                  </a:cubicBezTo>
                  <a:cubicBezTo>
                    <a:pt x="30220" y="11592"/>
                    <a:pt x="30220" y="11592"/>
                    <a:pt x="30220" y="11592"/>
                  </a:cubicBezTo>
                  <a:cubicBezTo>
                    <a:pt x="30255" y="11567"/>
                    <a:pt x="30325" y="11528"/>
                    <a:pt x="30362" y="11504"/>
                  </a:cubicBezTo>
                  <a:cubicBezTo>
                    <a:pt x="30406" y="11477"/>
                    <a:pt x="30452" y="11451"/>
                    <a:pt x="30498" y="11425"/>
                  </a:cubicBezTo>
                  <a:cubicBezTo>
                    <a:pt x="30592" y="11375"/>
                    <a:pt x="30692" y="11327"/>
                    <a:pt x="30796" y="11285"/>
                  </a:cubicBezTo>
                  <a:cubicBezTo>
                    <a:pt x="31006" y="11201"/>
                    <a:pt x="31237" y="11137"/>
                    <a:pt x="31485" y="11104"/>
                  </a:cubicBezTo>
                  <a:cubicBezTo>
                    <a:pt x="31515" y="11100"/>
                    <a:pt x="31548" y="11096"/>
                    <a:pt x="31575" y="11093"/>
                  </a:cubicBezTo>
                  <a:cubicBezTo>
                    <a:pt x="31618" y="11089"/>
                    <a:pt x="31618" y="11089"/>
                    <a:pt x="31618" y="11089"/>
                  </a:cubicBezTo>
                  <a:cubicBezTo>
                    <a:pt x="31631" y="11087"/>
                    <a:pt x="31654" y="11087"/>
                    <a:pt x="31672" y="11085"/>
                  </a:cubicBezTo>
                  <a:cubicBezTo>
                    <a:pt x="31729" y="11082"/>
                    <a:pt x="31729" y="11082"/>
                    <a:pt x="31729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35" y="11082"/>
                    <a:pt x="31735" y="11082"/>
                    <a:pt x="31735" y="11082"/>
                  </a:cubicBezTo>
                  <a:cubicBezTo>
                    <a:pt x="31717" y="11082"/>
                    <a:pt x="31730" y="11082"/>
                    <a:pt x="31727" y="11082"/>
                  </a:cubicBezTo>
                  <a:cubicBezTo>
                    <a:pt x="31727" y="11082"/>
                    <a:pt x="31727" y="11082"/>
                    <a:pt x="31727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45" y="11082"/>
                    <a:pt x="31745" y="11082"/>
                    <a:pt x="31745" y="11082"/>
                  </a:cubicBezTo>
                  <a:cubicBezTo>
                    <a:pt x="31768" y="11081"/>
                    <a:pt x="31768" y="11081"/>
                    <a:pt x="31768" y="11081"/>
                  </a:cubicBezTo>
                  <a:cubicBezTo>
                    <a:pt x="31800" y="11081"/>
                    <a:pt x="31832" y="11078"/>
                    <a:pt x="31863" y="11080"/>
                  </a:cubicBezTo>
                  <a:cubicBezTo>
                    <a:pt x="31988" y="11079"/>
                    <a:pt x="32112" y="11091"/>
                    <a:pt x="32233" y="11113"/>
                  </a:cubicBezTo>
                  <a:cubicBezTo>
                    <a:pt x="32476" y="11158"/>
                    <a:pt x="32705" y="11249"/>
                    <a:pt x="32909" y="11392"/>
                  </a:cubicBezTo>
                  <a:cubicBezTo>
                    <a:pt x="32947" y="11418"/>
                    <a:pt x="32982" y="11446"/>
                    <a:pt x="33017" y="11474"/>
                  </a:cubicBezTo>
                  <a:cubicBezTo>
                    <a:pt x="33036" y="11489"/>
                    <a:pt x="33048" y="11501"/>
                    <a:pt x="33063" y="11514"/>
                  </a:cubicBezTo>
                  <a:cubicBezTo>
                    <a:pt x="33085" y="11533"/>
                    <a:pt x="33085" y="11533"/>
                    <a:pt x="33085" y="11533"/>
                  </a:cubicBezTo>
                  <a:cubicBezTo>
                    <a:pt x="33096" y="11542"/>
                    <a:pt x="33096" y="11542"/>
                    <a:pt x="33096" y="11542"/>
                  </a:cubicBezTo>
                  <a:cubicBezTo>
                    <a:pt x="33111" y="11557"/>
                    <a:pt x="33111" y="11557"/>
                    <a:pt x="33111" y="11557"/>
                  </a:cubicBezTo>
                  <a:cubicBezTo>
                    <a:pt x="33174" y="11620"/>
                    <a:pt x="33174" y="11620"/>
                    <a:pt x="33174" y="11620"/>
                  </a:cubicBezTo>
                  <a:cubicBezTo>
                    <a:pt x="33190" y="11636"/>
                    <a:pt x="33190" y="11636"/>
                    <a:pt x="33190" y="11636"/>
                  </a:cubicBezTo>
                  <a:cubicBezTo>
                    <a:pt x="33185" y="11631"/>
                    <a:pt x="33201" y="11647"/>
                    <a:pt x="33179" y="11625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2" y="11628"/>
                    <a:pt x="33182" y="11628"/>
                    <a:pt x="33182" y="11628"/>
                  </a:cubicBezTo>
                  <a:cubicBezTo>
                    <a:pt x="33185" y="11631"/>
                    <a:pt x="33185" y="11631"/>
                    <a:pt x="33185" y="11631"/>
                  </a:cubicBezTo>
                  <a:cubicBezTo>
                    <a:pt x="33190" y="11638"/>
                    <a:pt x="33190" y="11638"/>
                    <a:pt x="33190" y="11638"/>
                  </a:cubicBezTo>
                  <a:cubicBezTo>
                    <a:pt x="33213" y="11663"/>
                    <a:pt x="33213" y="11663"/>
                    <a:pt x="33213" y="11663"/>
                  </a:cubicBezTo>
                  <a:cubicBezTo>
                    <a:pt x="33244" y="11696"/>
                    <a:pt x="33271" y="11731"/>
                    <a:pt x="33300" y="11766"/>
                  </a:cubicBezTo>
                  <a:cubicBezTo>
                    <a:pt x="33408" y="11907"/>
                    <a:pt x="33491" y="12057"/>
                    <a:pt x="33550" y="12215"/>
                  </a:cubicBezTo>
                  <a:cubicBezTo>
                    <a:pt x="33608" y="12373"/>
                    <a:pt x="33646" y="12537"/>
                    <a:pt x="33661" y="12703"/>
                  </a:cubicBezTo>
                  <a:cubicBezTo>
                    <a:pt x="33663" y="12745"/>
                    <a:pt x="33669" y="12786"/>
                    <a:pt x="33669" y="12828"/>
                  </a:cubicBezTo>
                  <a:cubicBezTo>
                    <a:pt x="33670" y="12869"/>
                    <a:pt x="33672" y="12912"/>
                    <a:pt x="33670" y="12947"/>
                  </a:cubicBezTo>
                  <a:cubicBezTo>
                    <a:pt x="33669" y="13000"/>
                    <a:pt x="33664" y="13147"/>
                    <a:pt x="33656" y="13211"/>
                  </a:cubicBezTo>
                  <a:cubicBezTo>
                    <a:pt x="33634" y="13519"/>
                    <a:pt x="33607" y="13809"/>
                    <a:pt x="33577" y="14073"/>
                  </a:cubicBezTo>
                  <a:cubicBezTo>
                    <a:pt x="33553" y="14277"/>
                    <a:pt x="33553" y="14277"/>
                    <a:pt x="33553" y="14277"/>
                  </a:cubicBezTo>
                  <a:cubicBezTo>
                    <a:pt x="33553" y="16173"/>
                    <a:pt x="33553" y="16173"/>
                    <a:pt x="33553" y="16173"/>
                  </a:cubicBezTo>
                  <a:cubicBezTo>
                    <a:pt x="33577" y="15274"/>
                    <a:pt x="33630" y="14449"/>
                    <a:pt x="33707" y="13779"/>
                  </a:cubicBezTo>
                  <a:cubicBezTo>
                    <a:pt x="33707" y="13779"/>
                    <a:pt x="33736" y="13531"/>
                    <a:pt x="33765" y="13283"/>
                  </a:cubicBezTo>
                  <a:cubicBezTo>
                    <a:pt x="33768" y="13252"/>
                    <a:pt x="33772" y="13221"/>
                    <a:pt x="33775" y="13190"/>
                  </a:cubicBezTo>
                  <a:cubicBezTo>
                    <a:pt x="33777" y="13175"/>
                    <a:pt x="33779" y="13160"/>
                    <a:pt x="33781" y="13145"/>
                  </a:cubicBezTo>
                  <a:cubicBezTo>
                    <a:pt x="33781" y="13144"/>
                    <a:pt x="33781" y="13144"/>
                    <a:pt x="33781" y="13144"/>
                  </a:cubicBezTo>
                  <a:cubicBezTo>
                    <a:pt x="33781" y="13143"/>
                    <a:pt x="33781" y="13143"/>
                    <a:pt x="33781" y="13143"/>
                  </a:cubicBezTo>
                  <a:cubicBezTo>
                    <a:pt x="33781" y="13140"/>
                    <a:pt x="33781" y="13165"/>
                    <a:pt x="33781" y="13154"/>
                  </a:cubicBezTo>
                  <a:cubicBezTo>
                    <a:pt x="33781" y="13154"/>
                    <a:pt x="33781" y="13154"/>
                    <a:pt x="33781" y="13154"/>
                  </a:cubicBezTo>
                  <a:cubicBezTo>
                    <a:pt x="33781" y="13151"/>
                    <a:pt x="33781" y="13151"/>
                    <a:pt x="33781" y="13151"/>
                  </a:cubicBezTo>
                  <a:cubicBezTo>
                    <a:pt x="33782" y="13145"/>
                    <a:pt x="33782" y="13145"/>
                    <a:pt x="33782" y="13145"/>
                  </a:cubicBezTo>
                  <a:cubicBezTo>
                    <a:pt x="33783" y="13134"/>
                    <a:pt x="33783" y="13134"/>
                    <a:pt x="33783" y="13134"/>
                  </a:cubicBezTo>
                  <a:cubicBezTo>
                    <a:pt x="33785" y="13112"/>
                    <a:pt x="33785" y="13112"/>
                    <a:pt x="33785" y="13112"/>
                  </a:cubicBezTo>
                  <a:cubicBezTo>
                    <a:pt x="33790" y="13059"/>
                    <a:pt x="33795" y="13009"/>
                    <a:pt x="33799" y="12966"/>
                  </a:cubicBezTo>
                  <a:cubicBezTo>
                    <a:pt x="33806" y="12896"/>
                    <a:pt x="33807" y="12842"/>
                    <a:pt x="33807" y="12842"/>
                  </a:cubicBezTo>
                  <a:cubicBezTo>
                    <a:pt x="33807" y="12842"/>
                    <a:pt x="33813" y="12740"/>
                    <a:pt x="33804" y="12590"/>
                  </a:cubicBezTo>
                  <a:cubicBezTo>
                    <a:pt x="33796" y="12440"/>
                    <a:pt x="33768" y="12241"/>
                    <a:pt x="33706" y="12050"/>
                  </a:cubicBezTo>
                  <a:cubicBezTo>
                    <a:pt x="33647" y="11857"/>
                    <a:pt x="33550" y="11675"/>
                    <a:pt x="33464" y="11543"/>
                  </a:cubicBezTo>
                  <a:cubicBezTo>
                    <a:pt x="33444" y="11510"/>
                    <a:pt x="33421" y="11481"/>
                    <a:pt x="33403" y="11455"/>
                  </a:cubicBezTo>
                  <a:cubicBezTo>
                    <a:pt x="33398" y="11448"/>
                    <a:pt x="33394" y="11442"/>
                    <a:pt x="33389" y="11435"/>
                  </a:cubicBezTo>
                  <a:cubicBezTo>
                    <a:pt x="33386" y="11431"/>
                    <a:pt x="33386" y="11431"/>
                    <a:pt x="33386" y="11431"/>
                  </a:cubicBezTo>
                  <a:cubicBezTo>
                    <a:pt x="33385" y="11429"/>
                    <a:pt x="33385" y="11429"/>
                    <a:pt x="33385" y="11429"/>
                  </a:cubicBezTo>
                  <a:cubicBezTo>
                    <a:pt x="33384" y="11427"/>
                    <a:pt x="33384" y="11427"/>
                    <a:pt x="33384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6" y="11429"/>
                    <a:pt x="33377" y="11420"/>
                    <a:pt x="33389" y="11432"/>
                  </a:cubicBezTo>
                  <a:cubicBezTo>
                    <a:pt x="33381" y="11423"/>
                    <a:pt x="33381" y="11423"/>
                    <a:pt x="33381" y="11423"/>
                  </a:cubicBezTo>
                  <a:cubicBezTo>
                    <a:pt x="33371" y="11410"/>
                    <a:pt x="33362" y="11399"/>
                    <a:pt x="33354" y="11389"/>
                  </a:cubicBezTo>
                  <a:cubicBezTo>
                    <a:pt x="33321" y="11348"/>
                    <a:pt x="33302" y="11325"/>
                    <a:pt x="33302" y="11325"/>
                  </a:cubicBezTo>
                  <a:cubicBezTo>
                    <a:pt x="33302" y="11325"/>
                    <a:pt x="33275" y="11295"/>
                    <a:pt x="33228" y="11241"/>
                  </a:cubicBezTo>
                  <a:cubicBezTo>
                    <a:pt x="33176" y="11187"/>
                    <a:pt x="33100" y="11107"/>
                    <a:pt x="32997" y="11026"/>
                  </a:cubicBezTo>
                  <a:cubicBezTo>
                    <a:pt x="32894" y="10943"/>
                    <a:pt x="32765" y="10856"/>
                    <a:pt x="32613" y="10780"/>
                  </a:cubicBezTo>
                  <a:cubicBezTo>
                    <a:pt x="32462" y="10704"/>
                    <a:pt x="32287" y="10640"/>
                    <a:pt x="32105" y="10595"/>
                  </a:cubicBezTo>
                  <a:cubicBezTo>
                    <a:pt x="31739" y="10504"/>
                    <a:pt x="31345" y="10488"/>
                    <a:pt x="31052" y="10506"/>
                  </a:cubicBezTo>
                  <a:cubicBezTo>
                    <a:pt x="30905" y="10515"/>
                    <a:pt x="30782" y="10530"/>
                    <a:pt x="30697" y="10543"/>
                  </a:cubicBezTo>
                  <a:cubicBezTo>
                    <a:pt x="30654" y="10549"/>
                    <a:pt x="30620" y="10555"/>
                    <a:pt x="30597" y="10559"/>
                  </a:cubicBezTo>
                  <a:cubicBezTo>
                    <a:pt x="30574" y="10563"/>
                    <a:pt x="30562" y="10565"/>
                    <a:pt x="30562" y="10565"/>
                  </a:cubicBezTo>
                  <a:cubicBezTo>
                    <a:pt x="30325" y="10608"/>
                    <a:pt x="30115" y="10662"/>
                    <a:pt x="29933" y="10713"/>
                  </a:cubicBezTo>
                  <a:cubicBezTo>
                    <a:pt x="29753" y="10761"/>
                    <a:pt x="29596" y="10804"/>
                    <a:pt x="29468" y="10834"/>
                  </a:cubicBezTo>
                  <a:cubicBezTo>
                    <a:pt x="29210" y="10894"/>
                    <a:pt x="29055" y="10902"/>
                    <a:pt x="29015" y="10835"/>
                  </a:cubicBezTo>
                  <a:cubicBezTo>
                    <a:pt x="28982" y="10781"/>
                    <a:pt x="29030" y="10677"/>
                    <a:pt x="29163" y="10536"/>
                  </a:cubicBezTo>
                  <a:cubicBezTo>
                    <a:pt x="29230" y="10465"/>
                    <a:pt x="29318" y="10386"/>
                    <a:pt x="29429" y="10299"/>
                  </a:cubicBezTo>
                  <a:cubicBezTo>
                    <a:pt x="29457" y="10278"/>
                    <a:pt x="29484" y="10256"/>
                    <a:pt x="29516" y="10233"/>
                  </a:cubicBezTo>
                  <a:cubicBezTo>
                    <a:pt x="29549" y="10210"/>
                    <a:pt x="29582" y="10187"/>
                    <a:pt x="29615" y="10163"/>
                  </a:cubicBezTo>
                  <a:cubicBezTo>
                    <a:pt x="29670" y="10123"/>
                    <a:pt x="29754" y="10070"/>
                    <a:pt x="29837" y="10022"/>
                  </a:cubicBezTo>
                  <a:cubicBezTo>
                    <a:pt x="29837" y="10022"/>
                    <a:pt x="29810" y="10033"/>
                    <a:pt x="29760" y="10055"/>
                  </a:cubicBezTo>
                  <a:cubicBezTo>
                    <a:pt x="29735" y="10066"/>
                    <a:pt x="29705" y="10080"/>
                    <a:pt x="29668" y="10096"/>
                  </a:cubicBezTo>
                  <a:cubicBezTo>
                    <a:pt x="29637" y="10111"/>
                    <a:pt x="29601" y="10128"/>
                    <a:pt x="29561" y="10147"/>
                  </a:cubicBezTo>
                  <a:cubicBezTo>
                    <a:pt x="29469" y="10190"/>
                    <a:pt x="29368" y="10241"/>
                    <a:pt x="29250" y="10302"/>
                  </a:cubicBezTo>
                  <a:cubicBezTo>
                    <a:pt x="29134" y="10364"/>
                    <a:pt x="29003" y="10436"/>
                    <a:pt x="28864" y="10519"/>
                  </a:cubicBezTo>
                  <a:cubicBezTo>
                    <a:pt x="28583" y="10684"/>
                    <a:pt x="28270" y="10891"/>
                    <a:pt x="27947" y="11138"/>
                  </a:cubicBezTo>
                  <a:cubicBezTo>
                    <a:pt x="27642" y="11370"/>
                    <a:pt x="27318" y="11635"/>
                    <a:pt x="27009" y="11909"/>
                  </a:cubicBezTo>
                  <a:cubicBezTo>
                    <a:pt x="26854" y="12046"/>
                    <a:pt x="26702" y="12187"/>
                    <a:pt x="26554" y="12328"/>
                  </a:cubicBezTo>
                  <a:cubicBezTo>
                    <a:pt x="26415" y="12462"/>
                    <a:pt x="26277" y="12595"/>
                    <a:pt x="26144" y="12723"/>
                  </a:cubicBezTo>
                  <a:cubicBezTo>
                    <a:pt x="25883" y="12973"/>
                    <a:pt x="25635" y="13202"/>
                    <a:pt x="25421" y="13395"/>
                  </a:cubicBezTo>
                  <a:cubicBezTo>
                    <a:pt x="25311" y="13495"/>
                    <a:pt x="25209" y="13586"/>
                    <a:pt x="25119" y="13667"/>
                  </a:cubicBezTo>
                  <a:cubicBezTo>
                    <a:pt x="25030" y="13747"/>
                    <a:pt x="24952" y="13818"/>
                    <a:pt x="24889" y="13876"/>
                  </a:cubicBezTo>
                  <a:cubicBezTo>
                    <a:pt x="24761" y="13992"/>
                    <a:pt x="24688" y="14058"/>
                    <a:pt x="24688" y="14058"/>
                  </a:cubicBezTo>
                  <a:cubicBezTo>
                    <a:pt x="23977" y="14706"/>
                    <a:pt x="23977" y="14706"/>
                    <a:pt x="23977" y="14706"/>
                  </a:cubicBezTo>
                  <a:cubicBezTo>
                    <a:pt x="23544" y="15100"/>
                    <a:pt x="23544" y="15100"/>
                    <a:pt x="23544" y="15100"/>
                  </a:cubicBezTo>
                  <a:cubicBezTo>
                    <a:pt x="23544" y="15100"/>
                    <a:pt x="23216" y="15476"/>
                    <a:pt x="22866" y="15833"/>
                  </a:cubicBezTo>
                  <a:cubicBezTo>
                    <a:pt x="22779" y="15923"/>
                    <a:pt x="22691" y="16011"/>
                    <a:pt x="22607" y="16093"/>
                  </a:cubicBezTo>
                  <a:cubicBezTo>
                    <a:pt x="22523" y="16176"/>
                    <a:pt x="22445" y="16251"/>
                    <a:pt x="22382" y="16310"/>
                  </a:cubicBezTo>
                  <a:cubicBezTo>
                    <a:pt x="22250" y="16432"/>
                    <a:pt x="22158" y="16509"/>
                    <a:pt x="22158" y="16509"/>
                  </a:cubicBezTo>
                  <a:cubicBezTo>
                    <a:pt x="21991" y="16652"/>
                    <a:pt x="21800" y="16795"/>
                    <a:pt x="21587" y="16926"/>
                  </a:cubicBezTo>
                  <a:cubicBezTo>
                    <a:pt x="21533" y="16959"/>
                    <a:pt x="21479" y="16991"/>
                    <a:pt x="21422" y="17023"/>
                  </a:cubicBezTo>
                  <a:cubicBezTo>
                    <a:pt x="21380" y="17046"/>
                    <a:pt x="21380" y="17046"/>
                    <a:pt x="21380" y="17046"/>
                  </a:cubicBezTo>
                  <a:cubicBezTo>
                    <a:pt x="21369" y="17052"/>
                    <a:pt x="21369" y="17052"/>
                    <a:pt x="21369" y="17052"/>
                  </a:cubicBezTo>
                  <a:cubicBezTo>
                    <a:pt x="21364" y="17055"/>
                    <a:pt x="21364" y="17055"/>
                    <a:pt x="21364" y="17055"/>
                  </a:cubicBezTo>
                  <a:cubicBezTo>
                    <a:pt x="21361" y="17056"/>
                    <a:pt x="21361" y="17056"/>
                    <a:pt x="21361" y="17056"/>
                  </a:cubicBezTo>
                  <a:cubicBezTo>
                    <a:pt x="21360" y="17057"/>
                    <a:pt x="21360" y="17057"/>
                    <a:pt x="21360" y="17057"/>
                  </a:cubicBezTo>
                  <a:cubicBezTo>
                    <a:pt x="21359" y="17057"/>
                    <a:pt x="21359" y="17057"/>
                    <a:pt x="21359" y="17057"/>
                  </a:cubicBezTo>
                  <a:cubicBezTo>
                    <a:pt x="21354" y="17060"/>
                    <a:pt x="21365" y="17055"/>
                    <a:pt x="21364" y="17055"/>
                  </a:cubicBezTo>
                  <a:cubicBezTo>
                    <a:pt x="21340" y="17068"/>
                    <a:pt x="21340" y="17068"/>
                    <a:pt x="21340" y="17068"/>
                  </a:cubicBezTo>
                  <a:cubicBezTo>
                    <a:pt x="21252" y="17112"/>
                    <a:pt x="21252" y="17112"/>
                    <a:pt x="21252" y="17112"/>
                  </a:cubicBezTo>
                  <a:cubicBezTo>
                    <a:pt x="21146" y="17164"/>
                    <a:pt x="21023" y="17215"/>
                    <a:pt x="20899" y="17255"/>
                  </a:cubicBezTo>
                  <a:cubicBezTo>
                    <a:pt x="20652" y="17336"/>
                    <a:pt x="20374" y="17383"/>
                    <a:pt x="20094" y="17388"/>
                  </a:cubicBezTo>
                  <a:cubicBezTo>
                    <a:pt x="19802" y="17394"/>
                    <a:pt x="19514" y="17359"/>
                    <a:pt x="19229" y="17275"/>
                  </a:cubicBezTo>
                  <a:cubicBezTo>
                    <a:pt x="19110" y="17241"/>
                    <a:pt x="18994" y="17198"/>
                    <a:pt x="18882" y="17149"/>
                  </a:cubicBezTo>
                  <a:cubicBezTo>
                    <a:pt x="18840" y="17130"/>
                    <a:pt x="18840" y="17130"/>
                    <a:pt x="18840" y="17130"/>
                  </a:cubicBezTo>
                  <a:cubicBezTo>
                    <a:pt x="18797" y="17110"/>
                    <a:pt x="18797" y="17110"/>
                    <a:pt x="18797" y="17110"/>
                  </a:cubicBezTo>
                  <a:cubicBezTo>
                    <a:pt x="18751" y="17088"/>
                    <a:pt x="18751" y="17088"/>
                    <a:pt x="18751" y="17088"/>
                  </a:cubicBezTo>
                  <a:cubicBezTo>
                    <a:pt x="18709" y="17067"/>
                    <a:pt x="18709" y="17067"/>
                    <a:pt x="18709" y="17067"/>
                  </a:cubicBezTo>
                  <a:cubicBezTo>
                    <a:pt x="18655" y="17041"/>
                    <a:pt x="18597" y="17010"/>
                    <a:pt x="18542" y="16980"/>
                  </a:cubicBezTo>
                  <a:cubicBezTo>
                    <a:pt x="18320" y="16859"/>
                    <a:pt x="18110" y="16723"/>
                    <a:pt x="17915" y="16579"/>
                  </a:cubicBezTo>
                  <a:cubicBezTo>
                    <a:pt x="17778" y="16479"/>
                    <a:pt x="17652" y="16376"/>
                    <a:pt x="17526" y="16267"/>
                  </a:cubicBezTo>
                  <a:cubicBezTo>
                    <a:pt x="17399" y="16158"/>
                    <a:pt x="17280" y="16050"/>
                    <a:pt x="17165" y="15942"/>
                  </a:cubicBezTo>
                  <a:cubicBezTo>
                    <a:pt x="16936" y="15726"/>
                    <a:pt x="16732" y="15513"/>
                    <a:pt x="16553" y="15311"/>
                  </a:cubicBezTo>
                  <a:cubicBezTo>
                    <a:pt x="15192" y="13751"/>
                    <a:pt x="15192" y="13751"/>
                    <a:pt x="15192" y="13751"/>
                  </a:cubicBezTo>
                  <a:cubicBezTo>
                    <a:pt x="15192" y="13751"/>
                    <a:pt x="15151" y="13713"/>
                    <a:pt x="15088" y="13656"/>
                  </a:cubicBezTo>
                  <a:cubicBezTo>
                    <a:pt x="15024" y="13599"/>
                    <a:pt x="14939" y="13522"/>
                    <a:pt x="14853" y="13446"/>
                  </a:cubicBezTo>
                  <a:cubicBezTo>
                    <a:pt x="14691" y="13298"/>
                    <a:pt x="14528" y="13150"/>
                    <a:pt x="14528" y="13150"/>
                  </a:cubicBezTo>
                  <a:cubicBezTo>
                    <a:pt x="14583" y="13214"/>
                    <a:pt x="14583" y="13214"/>
                    <a:pt x="14583" y="13214"/>
                  </a:cubicBezTo>
                  <a:cubicBezTo>
                    <a:pt x="14689" y="13338"/>
                    <a:pt x="14783" y="13451"/>
                    <a:pt x="14863" y="13552"/>
                  </a:cubicBezTo>
                  <a:cubicBezTo>
                    <a:pt x="14901" y="13600"/>
                    <a:pt x="14938" y="13648"/>
                    <a:pt x="14975" y="13696"/>
                  </a:cubicBezTo>
                  <a:cubicBezTo>
                    <a:pt x="14978" y="13700"/>
                    <a:pt x="14978" y="13700"/>
                    <a:pt x="14978" y="13700"/>
                  </a:cubicBezTo>
                  <a:cubicBezTo>
                    <a:pt x="14979" y="13702"/>
                    <a:pt x="14979" y="13702"/>
                    <a:pt x="14979" y="13702"/>
                  </a:cubicBezTo>
                  <a:cubicBezTo>
                    <a:pt x="14980" y="13702"/>
                    <a:pt x="14980" y="13702"/>
                    <a:pt x="14980" y="13702"/>
                  </a:cubicBezTo>
                  <a:cubicBezTo>
                    <a:pt x="14978" y="13701"/>
                    <a:pt x="14994" y="13715"/>
                    <a:pt x="14987" y="13709"/>
                  </a:cubicBezTo>
                  <a:cubicBezTo>
                    <a:pt x="14987" y="13710"/>
                    <a:pt x="14987" y="13710"/>
                    <a:pt x="14987" y="13710"/>
                  </a:cubicBezTo>
                  <a:cubicBezTo>
                    <a:pt x="14988" y="13711"/>
                    <a:pt x="14988" y="13711"/>
                    <a:pt x="14988" y="13711"/>
                  </a:cubicBezTo>
                  <a:cubicBezTo>
                    <a:pt x="14994" y="13719"/>
                    <a:pt x="14994" y="13719"/>
                    <a:pt x="14994" y="13719"/>
                  </a:cubicBezTo>
                  <a:cubicBezTo>
                    <a:pt x="15006" y="13736"/>
                    <a:pt x="15006" y="13736"/>
                    <a:pt x="15006" y="13736"/>
                  </a:cubicBezTo>
                  <a:cubicBezTo>
                    <a:pt x="15030" y="13769"/>
                    <a:pt x="15030" y="13769"/>
                    <a:pt x="15030" y="13769"/>
                  </a:cubicBezTo>
                  <a:cubicBezTo>
                    <a:pt x="15072" y="13832"/>
                    <a:pt x="15072" y="13832"/>
                    <a:pt x="15072" y="13832"/>
                  </a:cubicBezTo>
                  <a:cubicBezTo>
                    <a:pt x="15177" y="13992"/>
                    <a:pt x="15222" y="14104"/>
                    <a:pt x="15203" y="14160"/>
                  </a:cubicBezTo>
                  <a:cubicBezTo>
                    <a:pt x="15201" y="14168"/>
                    <a:pt x="15197" y="14175"/>
                    <a:pt x="15192" y="14181"/>
                  </a:cubicBezTo>
                  <a:cubicBezTo>
                    <a:pt x="15176" y="14199"/>
                    <a:pt x="15147" y="14205"/>
                    <a:pt x="15107" y="14200"/>
                  </a:cubicBezTo>
                  <a:cubicBezTo>
                    <a:pt x="15052" y="14193"/>
                    <a:pt x="14991" y="14191"/>
                    <a:pt x="14909" y="14166"/>
                  </a:cubicBezTo>
                  <a:cubicBezTo>
                    <a:pt x="14824" y="14141"/>
                    <a:pt x="14721" y="14092"/>
                    <a:pt x="14566" y="13988"/>
                  </a:cubicBezTo>
                  <a:cubicBezTo>
                    <a:pt x="14457" y="13915"/>
                    <a:pt x="14325" y="13813"/>
                    <a:pt x="14165" y="13669"/>
                  </a:cubicBezTo>
                  <a:cubicBezTo>
                    <a:pt x="13933" y="13459"/>
                    <a:pt x="13706" y="13235"/>
                    <a:pt x="13483" y="13000"/>
                  </a:cubicBezTo>
                  <a:cubicBezTo>
                    <a:pt x="13263" y="12764"/>
                    <a:pt x="13033" y="12517"/>
                    <a:pt x="12799" y="12276"/>
                  </a:cubicBezTo>
                  <a:cubicBezTo>
                    <a:pt x="12724" y="12199"/>
                    <a:pt x="12648" y="12121"/>
                    <a:pt x="12570" y="12042"/>
                  </a:cubicBezTo>
                  <a:cubicBezTo>
                    <a:pt x="12386" y="11856"/>
                    <a:pt x="12199" y="11672"/>
                    <a:pt x="12007" y="11490"/>
                  </a:cubicBezTo>
                  <a:cubicBezTo>
                    <a:pt x="11971" y="11456"/>
                    <a:pt x="11935" y="11422"/>
                    <a:pt x="11899" y="11388"/>
                  </a:cubicBezTo>
                  <a:cubicBezTo>
                    <a:pt x="11861" y="11353"/>
                    <a:pt x="11822" y="11319"/>
                    <a:pt x="11784" y="11284"/>
                  </a:cubicBezTo>
                  <a:cubicBezTo>
                    <a:pt x="11709" y="11217"/>
                    <a:pt x="11632" y="11150"/>
                    <a:pt x="11554" y="11084"/>
                  </a:cubicBezTo>
                  <a:cubicBezTo>
                    <a:pt x="11373" y="10931"/>
                    <a:pt x="11185" y="10784"/>
                    <a:pt x="10992" y="10644"/>
                  </a:cubicBezTo>
                  <a:cubicBezTo>
                    <a:pt x="10889" y="10570"/>
                    <a:pt x="10785" y="10498"/>
                    <a:pt x="10679" y="10429"/>
                  </a:cubicBezTo>
                  <a:cubicBezTo>
                    <a:pt x="10548" y="10344"/>
                    <a:pt x="10548" y="10344"/>
                    <a:pt x="10548" y="10344"/>
                  </a:cubicBezTo>
                  <a:cubicBezTo>
                    <a:pt x="10481" y="10302"/>
                    <a:pt x="10481" y="10302"/>
                    <a:pt x="10481" y="10302"/>
                  </a:cubicBezTo>
                  <a:cubicBezTo>
                    <a:pt x="10448" y="10282"/>
                    <a:pt x="10448" y="10282"/>
                    <a:pt x="10448" y="10282"/>
                  </a:cubicBezTo>
                  <a:cubicBezTo>
                    <a:pt x="10440" y="10276"/>
                    <a:pt x="10440" y="10276"/>
                    <a:pt x="10440" y="10276"/>
                  </a:cubicBezTo>
                  <a:cubicBezTo>
                    <a:pt x="10436" y="10274"/>
                    <a:pt x="10436" y="10274"/>
                    <a:pt x="10436" y="10274"/>
                  </a:cubicBezTo>
                  <a:cubicBezTo>
                    <a:pt x="10435" y="10274"/>
                    <a:pt x="10435" y="10274"/>
                    <a:pt x="10435" y="10274"/>
                  </a:cubicBezTo>
                  <a:cubicBezTo>
                    <a:pt x="10428" y="10270"/>
                    <a:pt x="10428" y="10270"/>
                    <a:pt x="10428" y="10270"/>
                  </a:cubicBezTo>
                  <a:cubicBezTo>
                    <a:pt x="10427" y="10270"/>
                    <a:pt x="10427" y="10270"/>
                    <a:pt x="10427" y="10270"/>
                  </a:cubicBezTo>
                  <a:cubicBezTo>
                    <a:pt x="10425" y="10269"/>
                    <a:pt x="10425" y="10269"/>
                    <a:pt x="10425" y="10269"/>
                  </a:cubicBezTo>
                  <a:cubicBezTo>
                    <a:pt x="10410" y="10259"/>
                    <a:pt x="10410" y="10259"/>
                    <a:pt x="10410" y="10259"/>
                  </a:cubicBezTo>
                  <a:cubicBezTo>
                    <a:pt x="10337" y="10212"/>
                    <a:pt x="10219" y="10149"/>
                    <a:pt x="10126" y="10102"/>
                  </a:cubicBezTo>
                  <a:cubicBezTo>
                    <a:pt x="9931" y="10001"/>
                    <a:pt x="9726" y="9915"/>
                    <a:pt x="9517" y="9842"/>
                  </a:cubicBezTo>
                  <a:cubicBezTo>
                    <a:pt x="9234" y="9746"/>
                    <a:pt x="8941" y="9677"/>
                    <a:pt x="8649" y="9639"/>
                  </a:cubicBezTo>
                  <a:cubicBezTo>
                    <a:pt x="8623" y="9634"/>
                    <a:pt x="8623" y="9634"/>
                    <a:pt x="8623" y="9634"/>
                  </a:cubicBezTo>
                  <a:cubicBezTo>
                    <a:pt x="8603" y="9633"/>
                    <a:pt x="8603" y="9633"/>
                    <a:pt x="8603" y="9633"/>
                  </a:cubicBezTo>
                  <a:cubicBezTo>
                    <a:pt x="8588" y="9632"/>
                    <a:pt x="8554" y="9631"/>
                    <a:pt x="8505" y="9630"/>
                  </a:cubicBezTo>
                  <a:cubicBezTo>
                    <a:pt x="8489" y="9630"/>
                    <a:pt x="8472" y="9631"/>
                    <a:pt x="8453" y="9631"/>
                  </a:cubicBezTo>
                  <a:cubicBezTo>
                    <a:pt x="8441" y="9631"/>
                    <a:pt x="8429" y="9632"/>
                    <a:pt x="8416" y="9632"/>
                  </a:cubicBezTo>
                  <a:cubicBezTo>
                    <a:pt x="8389" y="9633"/>
                    <a:pt x="8360" y="9634"/>
                    <a:pt x="8328" y="9635"/>
                  </a:cubicBezTo>
                  <a:cubicBezTo>
                    <a:pt x="8328" y="9635"/>
                    <a:pt x="8253" y="9640"/>
                    <a:pt x="8178" y="9644"/>
                  </a:cubicBezTo>
                  <a:cubicBezTo>
                    <a:pt x="8139" y="9646"/>
                    <a:pt x="8106" y="9650"/>
                    <a:pt x="8080" y="9653"/>
                  </a:cubicBezTo>
                  <a:cubicBezTo>
                    <a:pt x="8054" y="9656"/>
                    <a:pt x="8037" y="9658"/>
                    <a:pt x="8037" y="9658"/>
                  </a:cubicBezTo>
                  <a:cubicBezTo>
                    <a:pt x="8037" y="9658"/>
                    <a:pt x="8017" y="9660"/>
                    <a:pt x="7980" y="9664"/>
                  </a:cubicBezTo>
                  <a:cubicBezTo>
                    <a:pt x="7943" y="9669"/>
                    <a:pt x="7888" y="9678"/>
                    <a:pt x="7819" y="9688"/>
                  </a:cubicBezTo>
                  <a:cubicBezTo>
                    <a:pt x="7681" y="9714"/>
                    <a:pt x="7481" y="9755"/>
                    <a:pt x="7246" y="9840"/>
                  </a:cubicBezTo>
                  <a:cubicBezTo>
                    <a:pt x="7012" y="9925"/>
                    <a:pt x="6743" y="10052"/>
                    <a:pt x="6488" y="10235"/>
                  </a:cubicBezTo>
                  <a:cubicBezTo>
                    <a:pt x="6359" y="10324"/>
                    <a:pt x="6236" y="10427"/>
                    <a:pt x="6119" y="10537"/>
                  </a:cubicBezTo>
                  <a:cubicBezTo>
                    <a:pt x="6090" y="10565"/>
                    <a:pt x="6061" y="10594"/>
                    <a:pt x="6032" y="10622"/>
                  </a:cubicBezTo>
                  <a:cubicBezTo>
                    <a:pt x="6000" y="10655"/>
                    <a:pt x="6000" y="10655"/>
                    <a:pt x="6000" y="10655"/>
                  </a:cubicBezTo>
                  <a:cubicBezTo>
                    <a:pt x="5984" y="10672"/>
                    <a:pt x="5984" y="10672"/>
                    <a:pt x="5984" y="10672"/>
                  </a:cubicBezTo>
                  <a:cubicBezTo>
                    <a:pt x="5953" y="10706"/>
                    <a:pt x="5953" y="10706"/>
                    <a:pt x="5953" y="10706"/>
                  </a:cubicBezTo>
                  <a:cubicBezTo>
                    <a:pt x="5921" y="10741"/>
                    <a:pt x="5921" y="10741"/>
                    <a:pt x="5921" y="10741"/>
                  </a:cubicBezTo>
                  <a:cubicBezTo>
                    <a:pt x="5877" y="10792"/>
                    <a:pt x="5877" y="10792"/>
                    <a:pt x="5877" y="10792"/>
                  </a:cubicBezTo>
                  <a:cubicBezTo>
                    <a:pt x="5847" y="10826"/>
                    <a:pt x="5816" y="10862"/>
                    <a:pt x="5789" y="10896"/>
                  </a:cubicBezTo>
                  <a:cubicBezTo>
                    <a:pt x="5687" y="11026"/>
                    <a:pt x="5594" y="11164"/>
                    <a:pt x="5512" y="11305"/>
                  </a:cubicBezTo>
                  <a:cubicBezTo>
                    <a:pt x="5432" y="11448"/>
                    <a:pt x="5361" y="11593"/>
                    <a:pt x="5306" y="11737"/>
                  </a:cubicBezTo>
                  <a:cubicBezTo>
                    <a:pt x="5191" y="12024"/>
                    <a:pt x="5131" y="12302"/>
                    <a:pt x="5097" y="12535"/>
                  </a:cubicBezTo>
                  <a:cubicBezTo>
                    <a:pt x="5063" y="12769"/>
                    <a:pt x="5055" y="12962"/>
                    <a:pt x="5054" y="13094"/>
                  </a:cubicBezTo>
                  <a:cubicBezTo>
                    <a:pt x="5054" y="13209"/>
                    <a:pt x="5053" y="13275"/>
                    <a:pt x="5053" y="13275"/>
                  </a:cubicBezTo>
                  <a:cubicBezTo>
                    <a:pt x="5228" y="14785"/>
                    <a:pt x="5228" y="14785"/>
                    <a:pt x="5228" y="14785"/>
                  </a:cubicBezTo>
                  <a:cubicBezTo>
                    <a:pt x="5337" y="15730"/>
                    <a:pt x="5397" y="16988"/>
                    <a:pt x="5397" y="18326"/>
                  </a:cubicBezTo>
                  <a:cubicBezTo>
                    <a:pt x="5397" y="18451"/>
                    <a:pt x="5397" y="18451"/>
                    <a:pt x="5397" y="18451"/>
                  </a:cubicBezTo>
                  <a:cubicBezTo>
                    <a:pt x="5397" y="18513"/>
                    <a:pt x="5397" y="18513"/>
                    <a:pt x="5397" y="18513"/>
                  </a:cubicBezTo>
                  <a:cubicBezTo>
                    <a:pt x="5395" y="18562"/>
                    <a:pt x="5395" y="18562"/>
                    <a:pt x="5395" y="18562"/>
                  </a:cubicBezTo>
                  <a:cubicBezTo>
                    <a:pt x="5394" y="18574"/>
                    <a:pt x="5393" y="18574"/>
                    <a:pt x="5393" y="18581"/>
                  </a:cubicBezTo>
                  <a:cubicBezTo>
                    <a:pt x="5391" y="18588"/>
                    <a:pt x="5390" y="18597"/>
                    <a:pt x="5389" y="18602"/>
                  </a:cubicBezTo>
                  <a:cubicBezTo>
                    <a:pt x="5386" y="18613"/>
                    <a:pt x="5383" y="18619"/>
                    <a:pt x="5384" y="18614"/>
                  </a:cubicBezTo>
                  <a:cubicBezTo>
                    <a:pt x="5385" y="18610"/>
                    <a:pt x="5392" y="18600"/>
                    <a:pt x="5404" y="18586"/>
                  </a:cubicBezTo>
                  <a:cubicBezTo>
                    <a:pt x="5415" y="18574"/>
                    <a:pt x="5432" y="18563"/>
                    <a:pt x="5440" y="18558"/>
                  </a:cubicBezTo>
                  <a:cubicBezTo>
                    <a:pt x="5447" y="18556"/>
                    <a:pt x="5447" y="18553"/>
                    <a:pt x="5450" y="18553"/>
                  </a:cubicBezTo>
                  <a:cubicBezTo>
                    <a:pt x="5450" y="18552"/>
                    <a:pt x="5451" y="18553"/>
                    <a:pt x="5448" y="18552"/>
                  </a:cubicBezTo>
                  <a:cubicBezTo>
                    <a:pt x="5396" y="18551"/>
                    <a:pt x="5396" y="18551"/>
                    <a:pt x="5396" y="18551"/>
                  </a:cubicBezTo>
                  <a:cubicBezTo>
                    <a:pt x="5075" y="18544"/>
                    <a:pt x="4763" y="18533"/>
                    <a:pt x="4463" y="18519"/>
                  </a:cubicBezTo>
                  <a:cubicBezTo>
                    <a:pt x="4316" y="18511"/>
                    <a:pt x="4169" y="18503"/>
                    <a:pt x="4023" y="18495"/>
                  </a:cubicBezTo>
                  <a:cubicBezTo>
                    <a:pt x="3810" y="18481"/>
                    <a:pt x="3810" y="18481"/>
                    <a:pt x="3810" y="18481"/>
                  </a:cubicBezTo>
                  <a:cubicBezTo>
                    <a:pt x="3706" y="18473"/>
                    <a:pt x="3706" y="18473"/>
                    <a:pt x="3706" y="18473"/>
                  </a:cubicBezTo>
                  <a:cubicBezTo>
                    <a:pt x="3681" y="18471"/>
                    <a:pt x="3681" y="18471"/>
                    <a:pt x="3681" y="18471"/>
                  </a:cubicBezTo>
                  <a:cubicBezTo>
                    <a:pt x="3668" y="18470"/>
                    <a:pt x="3668" y="18470"/>
                    <a:pt x="3668" y="18470"/>
                  </a:cubicBezTo>
                  <a:cubicBezTo>
                    <a:pt x="3661" y="18470"/>
                    <a:pt x="3661" y="18470"/>
                    <a:pt x="3661" y="18470"/>
                  </a:cubicBezTo>
                  <a:cubicBezTo>
                    <a:pt x="3658" y="18470"/>
                    <a:pt x="3658" y="18470"/>
                    <a:pt x="3658" y="18470"/>
                  </a:cubicBezTo>
                  <a:cubicBezTo>
                    <a:pt x="3656" y="18470"/>
                    <a:pt x="3677" y="18470"/>
                    <a:pt x="3667" y="18470"/>
                  </a:cubicBezTo>
                  <a:cubicBezTo>
                    <a:pt x="3667" y="18470"/>
                    <a:pt x="3667" y="18470"/>
                    <a:pt x="3667" y="18470"/>
                  </a:cubicBezTo>
                  <a:cubicBezTo>
                    <a:pt x="3665" y="18469"/>
                    <a:pt x="3665" y="18469"/>
                    <a:pt x="3665" y="18469"/>
                  </a:cubicBezTo>
                  <a:cubicBezTo>
                    <a:pt x="3614" y="18465"/>
                    <a:pt x="3614" y="18465"/>
                    <a:pt x="3614" y="18465"/>
                  </a:cubicBezTo>
                  <a:cubicBezTo>
                    <a:pt x="3513" y="18455"/>
                    <a:pt x="3513" y="18455"/>
                    <a:pt x="3513" y="18455"/>
                  </a:cubicBezTo>
                  <a:cubicBezTo>
                    <a:pt x="3482" y="18451"/>
                    <a:pt x="3459" y="18446"/>
                    <a:pt x="3432" y="18442"/>
                  </a:cubicBezTo>
                  <a:cubicBezTo>
                    <a:pt x="3381" y="18434"/>
                    <a:pt x="3325" y="18422"/>
                    <a:pt x="3272" y="18411"/>
                  </a:cubicBezTo>
                  <a:cubicBezTo>
                    <a:pt x="3219" y="18400"/>
                    <a:pt x="3169" y="18385"/>
                    <a:pt x="3119" y="18372"/>
                  </a:cubicBezTo>
                  <a:cubicBezTo>
                    <a:pt x="3071" y="18356"/>
                    <a:pt x="3023" y="18343"/>
                    <a:pt x="2979" y="18325"/>
                  </a:cubicBezTo>
                  <a:cubicBezTo>
                    <a:pt x="2979" y="18325"/>
                    <a:pt x="2961" y="18318"/>
                    <a:pt x="2930" y="18306"/>
                  </a:cubicBezTo>
                  <a:cubicBezTo>
                    <a:pt x="2899" y="18295"/>
                    <a:pt x="2856" y="18275"/>
                    <a:pt x="2806" y="18253"/>
                  </a:cubicBezTo>
                  <a:cubicBezTo>
                    <a:pt x="2706" y="18206"/>
                    <a:pt x="2581" y="18135"/>
                    <a:pt x="2474" y="18053"/>
                  </a:cubicBezTo>
                  <a:cubicBezTo>
                    <a:pt x="2365" y="17971"/>
                    <a:pt x="2274" y="17878"/>
                    <a:pt x="2212" y="17804"/>
                  </a:cubicBezTo>
                  <a:cubicBezTo>
                    <a:pt x="2180" y="17768"/>
                    <a:pt x="2158" y="17734"/>
                    <a:pt x="2141" y="17712"/>
                  </a:cubicBezTo>
                  <a:cubicBezTo>
                    <a:pt x="2138" y="17709"/>
                    <a:pt x="2136" y="17707"/>
                    <a:pt x="2135" y="17704"/>
                  </a:cubicBezTo>
                  <a:cubicBezTo>
                    <a:pt x="2132" y="17701"/>
                    <a:pt x="2132" y="17701"/>
                    <a:pt x="2132" y="17701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17" y="17686"/>
                    <a:pt x="2150" y="17719"/>
                    <a:pt x="2147" y="17716"/>
                  </a:cubicBezTo>
                  <a:cubicBezTo>
                    <a:pt x="2146" y="17714"/>
                    <a:pt x="2146" y="17714"/>
                    <a:pt x="2146" y="17714"/>
                  </a:cubicBezTo>
                  <a:cubicBezTo>
                    <a:pt x="2144" y="17712"/>
                    <a:pt x="2144" y="17712"/>
                    <a:pt x="2144" y="17712"/>
                  </a:cubicBezTo>
                  <a:cubicBezTo>
                    <a:pt x="2139" y="17705"/>
                    <a:pt x="2135" y="17700"/>
                    <a:pt x="2131" y="17695"/>
                  </a:cubicBezTo>
                  <a:cubicBezTo>
                    <a:pt x="2125" y="17687"/>
                    <a:pt x="2121" y="17682"/>
                    <a:pt x="2121" y="17682"/>
                  </a:cubicBezTo>
                  <a:cubicBezTo>
                    <a:pt x="2121" y="17682"/>
                    <a:pt x="2113" y="17673"/>
                    <a:pt x="2098" y="17658"/>
                  </a:cubicBezTo>
                  <a:cubicBezTo>
                    <a:pt x="2091" y="17650"/>
                    <a:pt x="2082" y="17641"/>
                    <a:pt x="2072" y="17630"/>
                  </a:cubicBezTo>
                  <a:cubicBezTo>
                    <a:pt x="2068" y="17625"/>
                    <a:pt x="2063" y="17620"/>
                    <a:pt x="2057" y="17614"/>
                  </a:cubicBezTo>
                  <a:cubicBezTo>
                    <a:pt x="2055" y="17611"/>
                    <a:pt x="2052" y="17607"/>
                    <a:pt x="2050" y="17604"/>
                  </a:cubicBezTo>
                  <a:cubicBezTo>
                    <a:pt x="2038" y="17588"/>
                    <a:pt x="2026" y="17577"/>
                    <a:pt x="2009" y="17554"/>
                  </a:cubicBezTo>
                  <a:cubicBezTo>
                    <a:pt x="1992" y="17530"/>
                    <a:pt x="1971" y="17506"/>
                    <a:pt x="1953" y="17479"/>
                  </a:cubicBezTo>
                  <a:cubicBezTo>
                    <a:pt x="1880" y="17374"/>
                    <a:pt x="1824" y="17256"/>
                    <a:pt x="1824" y="17256"/>
                  </a:cubicBezTo>
                  <a:cubicBezTo>
                    <a:pt x="1824" y="17256"/>
                    <a:pt x="1825" y="17263"/>
                    <a:pt x="1830" y="17275"/>
                  </a:cubicBezTo>
                  <a:cubicBezTo>
                    <a:pt x="1834" y="17288"/>
                    <a:pt x="1840" y="17307"/>
                    <a:pt x="1848" y="17331"/>
                  </a:cubicBezTo>
                  <a:cubicBezTo>
                    <a:pt x="1863" y="17379"/>
                    <a:pt x="1889" y="17445"/>
                    <a:pt x="1925" y="17524"/>
                  </a:cubicBezTo>
                  <a:cubicBezTo>
                    <a:pt x="1944" y="17559"/>
                    <a:pt x="1964" y="17598"/>
                    <a:pt x="1986" y="17638"/>
                  </a:cubicBezTo>
                  <a:cubicBezTo>
                    <a:pt x="1990" y="17647"/>
                    <a:pt x="1995" y="17656"/>
                    <a:pt x="1999" y="17666"/>
                  </a:cubicBezTo>
                  <a:cubicBezTo>
                    <a:pt x="2005" y="17676"/>
                    <a:pt x="2020" y="17694"/>
                    <a:pt x="2030" y="17708"/>
                  </a:cubicBezTo>
                  <a:cubicBezTo>
                    <a:pt x="2042" y="17724"/>
                    <a:pt x="2053" y="17739"/>
                    <a:pt x="2065" y="17754"/>
                  </a:cubicBezTo>
                  <a:cubicBezTo>
                    <a:pt x="2073" y="17766"/>
                    <a:pt x="2073" y="17766"/>
                    <a:pt x="2073" y="17766"/>
                  </a:cubicBezTo>
                  <a:cubicBezTo>
                    <a:pt x="2078" y="17772"/>
                    <a:pt x="2078" y="17772"/>
                    <a:pt x="2078" y="17772"/>
                  </a:cubicBezTo>
                  <a:cubicBezTo>
                    <a:pt x="2080" y="17775"/>
                    <a:pt x="2080" y="17775"/>
                    <a:pt x="2080" y="17775"/>
                  </a:cubicBezTo>
                  <a:cubicBezTo>
                    <a:pt x="2081" y="17776"/>
                    <a:pt x="2081" y="17776"/>
                    <a:pt x="2081" y="17776"/>
                  </a:cubicBezTo>
                  <a:cubicBezTo>
                    <a:pt x="2082" y="17777"/>
                    <a:pt x="2082" y="17777"/>
                    <a:pt x="2082" y="17777"/>
                  </a:cubicBezTo>
                  <a:cubicBezTo>
                    <a:pt x="2054" y="17749"/>
                    <a:pt x="2074" y="17769"/>
                    <a:pt x="2068" y="17763"/>
                  </a:cubicBezTo>
                  <a:cubicBezTo>
                    <a:pt x="2081" y="17780"/>
                    <a:pt x="2081" y="17780"/>
                    <a:pt x="2081" y="17780"/>
                  </a:cubicBezTo>
                  <a:cubicBezTo>
                    <a:pt x="2147" y="17870"/>
                    <a:pt x="2227" y="17960"/>
                    <a:pt x="2320" y="18041"/>
                  </a:cubicBezTo>
                  <a:cubicBezTo>
                    <a:pt x="2503" y="18205"/>
                    <a:pt x="2739" y="18331"/>
                    <a:pt x="2936" y="18403"/>
                  </a:cubicBezTo>
                  <a:cubicBezTo>
                    <a:pt x="3033" y="18441"/>
                    <a:pt x="3119" y="18466"/>
                    <a:pt x="3180" y="18482"/>
                  </a:cubicBezTo>
                  <a:cubicBezTo>
                    <a:pt x="3241" y="18500"/>
                    <a:pt x="3277" y="18507"/>
                    <a:pt x="3277" y="18507"/>
                  </a:cubicBezTo>
                  <a:cubicBezTo>
                    <a:pt x="3355" y="18526"/>
                    <a:pt x="3423" y="18540"/>
                    <a:pt x="3489" y="18555"/>
                  </a:cubicBezTo>
                  <a:cubicBezTo>
                    <a:pt x="3523" y="18563"/>
                    <a:pt x="3565" y="18568"/>
                    <a:pt x="3600" y="18575"/>
                  </a:cubicBezTo>
                  <a:cubicBezTo>
                    <a:pt x="3654" y="18584"/>
                    <a:pt x="3654" y="18584"/>
                    <a:pt x="3654" y="18584"/>
                  </a:cubicBezTo>
                  <a:cubicBezTo>
                    <a:pt x="3661" y="18586"/>
                    <a:pt x="3661" y="18586"/>
                    <a:pt x="3661" y="18586"/>
                  </a:cubicBezTo>
                  <a:cubicBezTo>
                    <a:pt x="3664" y="18586"/>
                    <a:pt x="3664" y="18586"/>
                    <a:pt x="3664" y="18586"/>
                  </a:cubicBezTo>
                  <a:cubicBezTo>
                    <a:pt x="3665" y="18586"/>
                    <a:pt x="3665" y="18586"/>
                    <a:pt x="3665" y="18586"/>
                  </a:cubicBezTo>
                  <a:cubicBezTo>
                    <a:pt x="3666" y="18586"/>
                    <a:pt x="3666" y="18586"/>
                    <a:pt x="3666" y="18586"/>
                  </a:cubicBezTo>
                  <a:cubicBezTo>
                    <a:pt x="3667" y="18587"/>
                    <a:pt x="3651" y="18586"/>
                    <a:pt x="3658" y="18586"/>
                  </a:cubicBezTo>
                  <a:cubicBezTo>
                    <a:pt x="3660" y="18587"/>
                    <a:pt x="3660" y="18587"/>
                    <a:pt x="3660" y="18587"/>
                  </a:cubicBezTo>
                  <a:cubicBezTo>
                    <a:pt x="3673" y="18589"/>
                    <a:pt x="3673" y="18589"/>
                    <a:pt x="3673" y="18589"/>
                  </a:cubicBezTo>
                  <a:cubicBezTo>
                    <a:pt x="3699" y="18593"/>
                    <a:pt x="3699" y="18593"/>
                    <a:pt x="3699" y="18593"/>
                  </a:cubicBezTo>
                  <a:cubicBezTo>
                    <a:pt x="3836" y="18617"/>
                    <a:pt x="3952" y="18642"/>
                    <a:pt x="4045" y="18668"/>
                  </a:cubicBezTo>
                  <a:cubicBezTo>
                    <a:pt x="4232" y="18721"/>
                    <a:pt x="4330" y="18777"/>
                    <a:pt x="4330" y="18835"/>
                  </a:cubicBezTo>
                  <a:cubicBezTo>
                    <a:pt x="4330" y="18894"/>
                    <a:pt x="4232" y="18950"/>
                    <a:pt x="4045" y="19003"/>
                  </a:cubicBezTo>
                  <a:cubicBezTo>
                    <a:pt x="3952" y="19029"/>
                    <a:pt x="3836" y="19054"/>
                    <a:pt x="3699" y="19077"/>
                  </a:cubicBezTo>
                  <a:cubicBezTo>
                    <a:pt x="3628" y="19089"/>
                    <a:pt x="3556" y="19099"/>
                    <a:pt x="3475" y="19108"/>
                  </a:cubicBezTo>
                  <a:cubicBezTo>
                    <a:pt x="3394" y="19115"/>
                    <a:pt x="3306" y="19121"/>
                    <a:pt x="3214" y="19121"/>
                  </a:cubicBezTo>
                  <a:cubicBezTo>
                    <a:pt x="3214" y="19121"/>
                    <a:pt x="3102" y="19125"/>
                    <a:pt x="2933" y="19113"/>
                  </a:cubicBezTo>
                  <a:cubicBezTo>
                    <a:pt x="2764" y="19103"/>
                    <a:pt x="2535" y="19072"/>
                    <a:pt x="2309" y="19009"/>
                  </a:cubicBezTo>
                  <a:cubicBezTo>
                    <a:pt x="2083" y="18947"/>
                    <a:pt x="1861" y="18850"/>
                    <a:pt x="1703" y="18759"/>
                  </a:cubicBezTo>
                  <a:cubicBezTo>
                    <a:pt x="1625" y="18713"/>
                    <a:pt x="1559" y="18673"/>
                    <a:pt x="1516" y="18642"/>
                  </a:cubicBezTo>
                  <a:cubicBezTo>
                    <a:pt x="1472" y="18611"/>
                    <a:pt x="1447" y="18594"/>
                    <a:pt x="1447" y="18594"/>
                  </a:cubicBezTo>
                  <a:cubicBezTo>
                    <a:pt x="1447" y="18594"/>
                    <a:pt x="1429" y="18580"/>
                    <a:pt x="1398" y="18557"/>
                  </a:cubicBezTo>
                  <a:cubicBezTo>
                    <a:pt x="1383" y="18545"/>
                    <a:pt x="1364" y="18530"/>
                    <a:pt x="1343" y="18514"/>
                  </a:cubicBezTo>
                  <a:cubicBezTo>
                    <a:pt x="1322" y="18496"/>
                    <a:pt x="1298" y="18476"/>
                    <a:pt x="1272" y="18454"/>
                  </a:cubicBezTo>
                  <a:cubicBezTo>
                    <a:pt x="1261" y="18445"/>
                    <a:pt x="1249" y="18435"/>
                    <a:pt x="1237" y="18425"/>
                  </a:cubicBezTo>
                  <a:cubicBezTo>
                    <a:pt x="1231" y="18420"/>
                    <a:pt x="1225" y="18415"/>
                    <a:pt x="1219" y="18409"/>
                  </a:cubicBezTo>
                  <a:cubicBezTo>
                    <a:pt x="1211" y="18402"/>
                    <a:pt x="1204" y="18395"/>
                    <a:pt x="1197" y="18388"/>
                  </a:cubicBezTo>
                  <a:cubicBezTo>
                    <a:pt x="1167" y="18359"/>
                    <a:pt x="1136" y="18329"/>
                    <a:pt x="1104" y="18298"/>
                  </a:cubicBezTo>
                  <a:cubicBezTo>
                    <a:pt x="1045" y="18236"/>
                    <a:pt x="984" y="18169"/>
                    <a:pt x="927" y="18097"/>
                  </a:cubicBezTo>
                  <a:cubicBezTo>
                    <a:pt x="812" y="17955"/>
                    <a:pt x="713" y="17800"/>
                    <a:pt x="647" y="17679"/>
                  </a:cubicBezTo>
                  <a:cubicBezTo>
                    <a:pt x="614" y="17618"/>
                    <a:pt x="589" y="17567"/>
                    <a:pt x="571" y="17531"/>
                  </a:cubicBezTo>
                  <a:cubicBezTo>
                    <a:pt x="553" y="17495"/>
                    <a:pt x="544" y="17474"/>
                    <a:pt x="544" y="17474"/>
                  </a:cubicBezTo>
                  <a:cubicBezTo>
                    <a:pt x="544" y="17474"/>
                    <a:pt x="497" y="17376"/>
                    <a:pt x="441" y="17224"/>
                  </a:cubicBezTo>
                  <a:cubicBezTo>
                    <a:pt x="385" y="17072"/>
                    <a:pt x="324" y="16865"/>
                    <a:pt x="282" y="16657"/>
                  </a:cubicBezTo>
                  <a:cubicBezTo>
                    <a:pt x="260" y="16552"/>
                    <a:pt x="244" y="16448"/>
                    <a:pt x="229" y="16350"/>
                  </a:cubicBezTo>
                  <a:cubicBezTo>
                    <a:pt x="218" y="16256"/>
                    <a:pt x="208" y="16168"/>
                    <a:pt x="199" y="16093"/>
                  </a:cubicBezTo>
                  <a:cubicBezTo>
                    <a:pt x="183" y="15954"/>
                    <a:pt x="172" y="15862"/>
                    <a:pt x="172" y="15862"/>
                  </a:cubicBezTo>
                  <a:cubicBezTo>
                    <a:pt x="90" y="15149"/>
                    <a:pt x="44" y="14201"/>
                    <a:pt x="44" y="13193"/>
                  </a:cubicBezTo>
                  <a:cubicBezTo>
                    <a:pt x="44" y="12927"/>
                    <a:pt x="47" y="12665"/>
                    <a:pt x="54" y="12410"/>
                  </a:cubicBezTo>
                  <a:cubicBezTo>
                    <a:pt x="59" y="12206"/>
                    <a:pt x="65" y="12007"/>
                    <a:pt x="74" y="11815"/>
                  </a:cubicBezTo>
                  <a:cubicBezTo>
                    <a:pt x="96" y="11337"/>
                    <a:pt x="129" y="10898"/>
                    <a:pt x="172" y="10525"/>
                  </a:cubicBezTo>
                  <a:cubicBezTo>
                    <a:pt x="687" y="6073"/>
                    <a:pt x="687" y="6073"/>
                    <a:pt x="687" y="6073"/>
                  </a:cubicBezTo>
                  <a:cubicBezTo>
                    <a:pt x="769" y="5360"/>
                    <a:pt x="879" y="4968"/>
                    <a:pt x="996" y="4968"/>
                  </a:cubicBezTo>
                  <a:cubicBezTo>
                    <a:pt x="1112" y="4968"/>
                    <a:pt x="1222" y="5360"/>
                    <a:pt x="1304" y="6073"/>
                  </a:cubicBezTo>
                  <a:cubicBezTo>
                    <a:pt x="1539" y="8103"/>
                    <a:pt x="1539" y="8103"/>
                    <a:pt x="1539" y="8103"/>
                  </a:cubicBezTo>
                  <a:cubicBezTo>
                    <a:pt x="1613" y="8741"/>
                    <a:pt x="1613" y="8741"/>
                    <a:pt x="1613" y="8741"/>
                  </a:cubicBezTo>
                  <a:cubicBezTo>
                    <a:pt x="1613" y="6887"/>
                    <a:pt x="1613" y="6887"/>
                    <a:pt x="1613" y="6887"/>
                  </a:cubicBezTo>
                  <a:cubicBezTo>
                    <a:pt x="1598" y="6864"/>
                    <a:pt x="1583" y="6836"/>
                    <a:pt x="1569" y="6803"/>
                  </a:cubicBezTo>
                  <a:cubicBezTo>
                    <a:pt x="1470" y="6581"/>
                    <a:pt x="1380" y="6137"/>
                    <a:pt x="1307" y="5500"/>
                  </a:cubicBezTo>
                  <a:cubicBezTo>
                    <a:pt x="1307" y="5500"/>
                    <a:pt x="1132" y="3989"/>
                    <a:pt x="957" y="2479"/>
                  </a:cubicBezTo>
                  <a:cubicBezTo>
                    <a:pt x="914" y="2101"/>
                    <a:pt x="870" y="1723"/>
                    <a:pt x="829" y="1369"/>
                  </a:cubicBezTo>
                  <a:cubicBezTo>
                    <a:pt x="813" y="1192"/>
                    <a:pt x="770" y="1023"/>
                    <a:pt x="814" y="850"/>
                  </a:cubicBezTo>
                  <a:cubicBezTo>
                    <a:pt x="837" y="766"/>
                    <a:pt x="886" y="682"/>
                    <a:pt x="961" y="628"/>
                  </a:cubicBezTo>
                  <a:cubicBezTo>
                    <a:pt x="1035" y="572"/>
                    <a:pt x="1122" y="547"/>
                    <a:pt x="1201" y="535"/>
                  </a:cubicBezTo>
                  <a:cubicBezTo>
                    <a:pt x="1770" y="468"/>
                    <a:pt x="2150" y="424"/>
                    <a:pt x="2150" y="424"/>
                  </a:cubicBezTo>
                  <a:cubicBezTo>
                    <a:pt x="2418" y="393"/>
                    <a:pt x="2712" y="366"/>
                    <a:pt x="3026" y="343"/>
                  </a:cubicBezTo>
                  <a:cubicBezTo>
                    <a:pt x="3335" y="321"/>
                    <a:pt x="3662" y="302"/>
                    <a:pt x="4004" y="288"/>
                  </a:cubicBezTo>
                  <a:cubicBezTo>
                    <a:pt x="4139" y="283"/>
                    <a:pt x="4275" y="278"/>
                    <a:pt x="4411" y="274"/>
                  </a:cubicBezTo>
                  <a:cubicBezTo>
                    <a:pt x="4480" y="272"/>
                    <a:pt x="4549" y="270"/>
                    <a:pt x="4619" y="268"/>
                  </a:cubicBezTo>
                  <a:cubicBezTo>
                    <a:pt x="4723" y="265"/>
                    <a:pt x="4723" y="265"/>
                    <a:pt x="4723" y="265"/>
                  </a:cubicBezTo>
                  <a:cubicBezTo>
                    <a:pt x="4836" y="265"/>
                    <a:pt x="4836" y="265"/>
                    <a:pt x="4836" y="265"/>
                  </a:cubicBezTo>
                  <a:cubicBezTo>
                    <a:pt x="4942" y="265"/>
                    <a:pt x="4942" y="265"/>
                    <a:pt x="4942" y="265"/>
                  </a:cubicBezTo>
                  <a:cubicBezTo>
                    <a:pt x="4977" y="265"/>
                    <a:pt x="5013" y="265"/>
                    <a:pt x="5053" y="267"/>
                  </a:cubicBezTo>
                  <a:cubicBezTo>
                    <a:pt x="5130" y="271"/>
                    <a:pt x="5208" y="274"/>
                    <a:pt x="5286" y="279"/>
                  </a:cubicBezTo>
                  <a:cubicBezTo>
                    <a:pt x="5362" y="287"/>
                    <a:pt x="5439" y="294"/>
                    <a:pt x="5516" y="301"/>
                  </a:cubicBezTo>
                  <a:cubicBezTo>
                    <a:pt x="5593" y="312"/>
                    <a:pt x="5670" y="323"/>
                    <a:pt x="5747" y="334"/>
                  </a:cubicBezTo>
                  <a:cubicBezTo>
                    <a:pt x="6101" y="392"/>
                    <a:pt x="6447" y="491"/>
                    <a:pt x="6768" y="630"/>
                  </a:cubicBezTo>
                  <a:cubicBezTo>
                    <a:pt x="7088" y="768"/>
                    <a:pt x="7383" y="946"/>
                    <a:pt x="7638" y="1149"/>
                  </a:cubicBezTo>
                  <a:cubicBezTo>
                    <a:pt x="7766" y="1250"/>
                    <a:pt x="7884" y="1358"/>
                    <a:pt x="7991" y="1469"/>
                  </a:cubicBezTo>
                  <a:cubicBezTo>
                    <a:pt x="8047" y="1523"/>
                    <a:pt x="8095" y="1582"/>
                    <a:pt x="8145" y="1638"/>
                  </a:cubicBezTo>
                  <a:cubicBezTo>
                    <a:pt x="8182" y="1680"/>
                    <a:pt x="8182" y="1680"/>
                    <a:pt x="8182" y="1680"/>
                  </a:cubicBezTo>
                  <a:cubicBezTo>
                    <a:pt x="8191" y="1691"/>
                    <a:pt x="8191" y="1691"/>
                    <a:pt x="8191" y="1691"/>
                  </a:cubicBezTo>
                  <a:cubicBezTo>
                    <a:pt x="8192" y="1692"/>
                    <a:pt x="8192" y="1692"/>
                    <a:pt x="8192" y="1692"/>
                  </a:cubicBezTo>
                  <a:cubicBezTo>
                    <a:pt x="8204" y="1704"/>
                    <a:pt x="8177" y="1677"/>
                    <a:pt x="8180" y="1680"/>
                  </a:cubicBezTo>
                  <a:cubicBezTo>
                    <a:pt x="8181" y="1681"/>
                    <a:pt x="8181" y="1681"/>
                    <a:pt x="8181" y="1681"/>
                  </a:cubicBezTo>
                  <a:cubicBezTo>
                    <a:pt x="8183" y="1683"/>
                    <a:pt x="8183" y="1683"/>
                    <a:pt x="8183" y="1683"/>
                  </a:cubicBezTo>
                  <a:cubicBezTo>
                    <a:pt x="8187" y="1688"/>
                    <a:pt x="8187" y="1688"/>
                    <a:pt x="8187" y="1688"/>
                  </a:cubicBezTo>
                  <a:cubicBezTo>
                    <a:pt x="8205" y="1707"/>
                    <a:pt x="8205" y="1707"/>
                    <a:pt x="8205" y="1707"/>
                  </a:cubicBezTo>
                  <a:cubicBezTo>
                    <a:pt x="8275" y="1783"/>
                    <a:pt x="8275" y="1783"/>
                    <a:pt x="8275" y="1783"/>
                  </a:cubicBezTo>
                  <a:cubicBezTo>
                    <a:pt x="8459" y="1983"/>
                    <a:pt x="8630" y="2176"/>
                    <a:pt x="8784" y="2357"/>
                  </a:cubicBezTo>
                  <a:cubicBezTo>
                    <a:pt x="11794" y="5894"/>
                    <a:pt x="11794" y="5894"/>
                    <a:pt x="11794" y="5894"/>
                  </a:cubicBezTo>
                  <a:cubicBezTo>
                    <a:pt x="11794" y="5894"/>
                    <a:pt x="11849" y="5960"/>
                    <a:pt x="11933" y="6058"/>
                  </a:cubicBezTo>
                  <a:cubicBezTo>
                    <a:pt x="11976" y="6107"/>
                    <a:pt x="12026" y="6165"/>
                    <a:pt x="12079" y="6228"/>
                  </a:cubicBezTo>
                  <a:cubicBezTo>
                    <a:pt x="12133" y="6289"/>
                    <a:pt x="12186" y="6353"/>
                    <a:pt x="12247" y="6419"/>
                  </a:cubicBezTo>
                  <a:cubicBezTo>
                    <a:pt x="12367" y="6553"/>
                    <a:pt x="12489" y="6682"/>
                    <a:pt x="12580" y="6779"/>
                  </a:cubicBezTo>
                  <a:cubicBezTo>
                    <a:pt x="12673" y="6874"/>
                    <a:pt x="12735" y="6938"/>
                    <a:pt x="12735" y="6938"/>
                  </a:cubicBezTo>
                  <a:cubicBezTo>
                    <a:pt x="12780" y="6984"/>
                    <a:pt x="12780" y="6984"/>
                    <a:pt x="12780" y="6984"/>
                  </a:cubicBezTo>
                  <a:cubicBezTo>
                    <a:pt x="13320" y="7523"/>
                    <a:pt x="13685" y="7881"/>
                    <a:pt x="13780" y="8082"/>
                  </a:cubicBezTo>
                  <a:cubicBezTo>
                    <a:pt x="13780" y="8082"/>
                    <a:pt x="13844" y="8123"/>
                    <a:pt x="13955" y="8193"/>
                  </a:cubicBezTo>
                  <a:cubicBezTo>
                    <a:pt x="14067" y="8263"/>
                    <a:pt x="14227" y="8361"/>
                    <a:pt x="14423" y="8474"/>
                  </a:cubicBezTo>
                  <a:cubicBezTo>
                    <a:pt x="14620" y="8585"/>
                    <a:pt x="14851" y="8713"/>
                    <a:pt x="15104" y="8838"/>
                  </a:cubicBezTo>
                  <a:cubicBezTo>
                    <a:pt x="15166" y="8871"/>
                    <a:pt x="15232" y="8901"/>
                    <a:pt x="15297" y="8933"/>
                  </a:cubicBezTo>
                  <a:cubicBezTo>
                    <a:pt x="15330" y="8948"/>
                    <a:pt x="15363" y="8964"/>
                    <a:pt x="15396" y="8980"/>
                  </a:cubicBezTo>
                  <a:cubicBezTo>
                    <a:pt x="15431" y="8996"/>
                    <a:pt x="15466" y="9012"/>
                    <a:pt x="15502" y="9029"/>
                  </a:cubicBezTo>
                  <a:cubicBezTo>
                    <a:pt x="15534" y="9043"/>
                    <a:pt x="15566" y="9058"/>
                    <a:pt x="15598" y="9072"/>
                  </a:cubicBezTo>
                  <a:cubicBezTo>
                    <a:pt x="15646" y="9094"/>
                    <a:pt x="15646" y="9094"/>
                    <a:pt x="15646" y="9094"/>
                  </a:cubicBezTo>
                  <a:cubicBezTo>
                    <a:pt x="15701" y="9117"/>
                    <a:pt x="15701" y="9117"/>
                    <a:pt x="15701" y="9117"/>
                  </a:cubicBezTo>
                  <a:cubicBezTo>
                    <a:pt x="15776" y="9148"/>
                    <a:pt x="15851" y="9179"/>
                    <a:pt x="15926" y="9210"/>
                  </a:cubicBezTo>
                  <a:cubicBezTo>
                    <a:pt x="16216" y="9324"/>
                    <a:pt x="16510" y="9423"/>
                    <a:pt x="16788" y="9504"/>
                  </a:cubicBezTo>
                  <a:cubicBezTo>
                    <a:pt x="17066" y="9584"/>
                    <a:pt x="17328" y="9646"/>
                    <a:pt x="17553" y="9694"/>
                  </a:cubicBezTo>
                  <a:cubicBezTo>
                    <a:pt x="17778" y="9740"/>
                    <a:pt x="17966" y="9773"/>
                    <a:pt x="18098" y="9793"/>
                  </a:cubicBezTo>
                  <a:cubicBezTo>
                    <a:pt x="18230" y="9815"/>
                    <a:pt x="18306" y="9823"/>
                    <a:pt x="18306" y="9823"/>
                  </a:cubicBezTo>
                  <a:cubicBezTo>
                    <a:pt x="18587" y="9854"/>
                    <a:pt x="18877" y="9871"/>
                    <a:pt x="19173" y="9888"/>
                  </a:cubicBezTo>
                  <a:cubicBezTo>
                    <a:pt x="19468" y="9902"/>
                    <a:pt x="19769" y="9909"/>
                    <a:pt x="20073" y="9911"/>
                  </a:cubicBezTo>
                  <a:cubicBezTo>
                    <a:pt x="20148" y="9910"/>
                    <a:pt x="20224" y="9910"/>
                    <a:pt x="20299" y="9909"/>
                  </a:cubicBezTo>
                  <a:cubicBezTo>
                    <a:pt x="20406" y="9909"/>
                    <a:pt x="20406" y="9909"/>
                    <a:pt x="20406" y="9909"/>
                  </a:cubicBezTo>
                  <a:cubicBezTo>
                    <a:pt x="20520" y="9906"/>
                    <a:pt x="20520" y="9906"/>
                    <a:pt x="20520" y="9906"/>
                  </a:cubicBezTo>
                  <a:cubicBezTo>
                    <a:pt x="20597" y="9905"/>
                    <a:pt x="20674" y="9903"/>
                    <a:pt x="20750" y="9901"/>
                  </a:cubicBezTo>
                  <a:cubicBezTo>
                    <a:pt x="20825" y="9898"/>
                    <a:pt x="20899" y="9895"/>
                    <a:pt x="20973" y="9892"/>
                  </a:cubicBezTo>
                  <a:cubicBezTo>
                    <a:pt x="21268" y="9879"/>
                    <a:pt x="21558" y="9861"/>
                    <a:pt x="21840" y="9833"/>
                  </a:cubicBezTo>
                  <a:cubicBezTo>
                    <a:pt x="21840" y="9833"/>
                    <a:pt x="22245" y="9782"/>
                    <a:pt x="22649" y="9697"/>
                  </a:cubicBezTo>
                  <a:cubicBezTo>
                    <a:pt x="22850" y="9656"/>
                    <a:pt x="23051" y="9606"/>
                    <a:pt x="23201" y="9568"/>
                  </a:cubicBezTo>
                  <a:cubicBezTo>
                    <a:pt x="23351" y="9526"/>
                    <a:pt x="23451" y="9498"/>
                    <a:pt x="23451" y="9498"/>
                  </a:cubicBezTo>
                  <a:cubicBezTo>
                    <a:pt x="23359" y="9514"/>
                    <a:pt x="23359" y="9514"/>
                    <a:pt x="23359" y="9514"/>
                  </a:cubicBezTo>
                  <a:cubicBezTo>
                    <a:pt x="22975" y="9579"/>
                    <a:pt x="22674" y="9593"/>
                    <a:pt x="22469" y="9578"/>
                  </a:cubicBezTo>
                  <a:cubicBezTo>
                    <a:pt x="22263" y="9565"/>
                    <a:pt x="22152" y="9524"/>
                    <a:pt x="22143" y="9466"/>
                  </a:cubicBezTo>
                  <a:cubicBezTo>
                    <a:pt x="22134" y="9409"/>
                    <a:pt x="22226" y="9338"/>
                    <a:pt x="22405" y="9250"/>
                  </a:cubicBezTo>
                  <a:cubicBezTo>
                    <a:pt x="22585" y="9163"/>
                    <a:pt x="22853" y="9058"/>
                    <a:pt x="23191" y="8920"/>
                  </a:cubicBezTo>
                  <a:cubicBezTo>
                    <a:pt x="23191" y="8920"/>
                    <a:pt x="23208" y="8913"/>
                    <a:pt x="23239" y="8900"/>
                  </a:cubicBezTo>
                  <a:cubicBezTo>
                    <a:pt x="23269" y="8888"/>
                    <a:pt x="23314" y="8869"/>
                    <a:pt x="23371" y="8844"/>
                  </a:cubicBezTo>
                  <a:cubicBezTo>
                    <a:pt x="23485" y="8795"/>
                    <a:pt x="23647" y="8722"/>
                    <a:pt x="23836" y="8627"/>
                  </a:cubicBezTo>
                  <a:cubicBezTo>
                    <a:pt x="24025" y="8532"/>
                    <a:pt x="24241" y="8413"/>
                    <a:pt x="24464" y="8276"/>
                  </a:cubicBezTo>
                  <a:cubicBezTo>
                    <a:pt x="24687" y="8138"/>
                    <a:pt x="24919" y="7985"/>
                    <a:pt x="25145" y="7825"/>
                  </a:cubicBezTo>
                  <a:cubicBezTo>
                    <a:pt x="25598" y="7504"/>
                    <a:pt x="26023" y="7153"/>
                    <a:pt x="26327" y="6877"/>
                  </a:cubicBezTo>
                  <a:cubicBezTo>
                    <a:pt x="26403" y="6808"/>
                    <a:pt x="26472" y="6744"/>
                    <a:pt x="26533" y="6688"/>
                  </a:cubicBezTo>
                  <a:cubicBezTo>
                    <a:pt x="26593" y="6630"/>
                    <a:pt x="26646" y="6580"/>
                    <a:pt x="26689" y="6539"/>
                  </a:cubicBezTo>
                  <a:cubicBezTo>
                    <a:pt x="26775" y="6456"/>
                    <a:pt x="26822" y="6407"/>
                    <a:pt x="26822" y="6407"/>
                  </a:cubicBezTo>
                  <a:cubicBezTo>
                    <a:pt x="26834" y="6395"/>
                    <a:pt x="26834" y="6395"/>
                    <a:pt x="26834" y="6395"/>
                  </a:cubicBezTo>
                  <a:cubicBezTo>
                    <a:pt x="27033" y="6196"/>
                    <a:pt x="27258" y="5973"/>
                    <a:pt x="27497" y="5729"/>
                  </a:cubicBezTo>
                  <a:cubicBezTo>
                    <a:pt x="27589" y="5635"/>
                    <a:pt x="27682" y="5540"/>
                    <a:pt x="27775" y="5445"/>
                  </a:cubicBezTo>
                  <a:cubicBezTo>
                    <a:pt x="27873" y="5347"/>
                    <a:pt x="27973" y="5248"/>
                    <a:pt x="28073" y="5148"/>
                  </a:cubicBezTo>
                  <a:cubicBezTo>
                    <a:pt x="28277" y="4948"/>
                    <a:pt x="28491" y="4743"/>
                    <a:pt x="28711" y="4538"/>
                  </a:cubicBezTo>
                  <a:cubicBezTo>
                    <a:pt x="29450" y="3851"/>
                    <a:pt x="30175" y="3239"/>
                    <a:pt x="30753" y="2814"/>
                  </a:cubicBezTo>
                  <a:cubicBezTo>
                    <a:pt x="30753" y="2814"/>
                    <a:pt x="31655" y="2150"/>
                    <a:pt x="32558" y="1486"/>
                  </a:cubicBezTo>
                  <a:cubicBezTo>
                    <a:pt x="32783" y="1319"/>
                    <a:pt x="33011" y="1157"/>
                    <a:pt x="33219" y="997"/>
                  </a:cubicBezTo>
                  <a:cubicBezTo>
                    <a:pt x="33324" y="919"/>
                    <a:pt x="33429" y="849"/>
                    <a:pt x="33532" y="801"/>
                  </a:cubicBezTo>
                  <a:cubicBezTo>
                    <a:pt x="33633" y="753"/>
                    <a:pt x="33737" y="734"/>
                    <a:pt x="33830" y="732"/>
                  </a:cubicBezTo>
                  <a:cubicBezTo>
                    <a:pt x="33877" y="730"/>
                    <a:pt x="33922" y="733"/>
                    <a:pt x="33964" y="739"/>
                  </a:cubicBezTo>
                  <a:cubicBezTo>
                    <a:pt x="34012" y="744"/>
                    <a:pt x="34057" y="749"/>
                    <a:pt x="34099" y="754"/>
                  </a:cubicBezTo>
                  <a:cubicBezTo>
                    <a:pt x="34184" y="764"/>
                    <a:pt x="34258" y="773"/>
                    <a:pt x="34319" y="780"/>
                  </a:cubicBezTo>
                  <a:cubicBezTo>
                    <a:pt x="34441" y="794"/>
                    <a:pt x="34510" y="802"/>
                    <a:pt x="34510" y="802"/>
                  </a:cubicBezTo>
                  <a:cubicBezTo>
                    <a:pt x="35076" y="867"/>
                    <a:pt x="35439" y="950"/>
                    <a:pt x="35565" y="1040"/>
                  </a:cubicBezTo>
                  <a:cubicBezTo>
                    <a:pt x="35598" y="1063"/>
                    <a:pt x="35615" y="1086"/>
                    <a:pt x="35615" y="1111"/>
                  </a:cubicBezTo>
                  <a:cubicBezTo>
                    <a:pt x="35615" y="1118"/>
                    <a:pt x="35613" y="1126"/>
                    <a:pt x="35610" y="1134"/>
                  </a:cubicBezTo>
                  <a:cubicBezTo>
                    <a:pt x="35561" y="1242"/>
                    <a:pt x="35176" y="1342"/>
                    <a:pt x="34510" y="1419"/>
                  </a:cubicBezTo>
                  <a:cubicBezTo>
                    <a:pt x="34425" y="1429"/>
                    <a:pt x="34425" y="1429"/>
                    <a:pt x="34425" y="1429"/>
                  </a:cubicBezTo>
                  <a:cubicBezTo>
                    <a:pt x="35326" y="1429"/>
                    <a:pt x="35326" y="1429"/>
                    <a:pt x="35326" y="1429"/>
                  </a:cubicBezTo>
                  <a:cubicBezTo>
                    <a:pt x="35326" y="1429"/>
                    <a:pt x="35841" y="1369"/>
                    <a:pt x="36357" y="1310"/>
                  </a:cubicBezTo>
                  <a:cubicBezTo>
                    <a:pt x="36422" y="1302"/>
                    <a:pt x="36486" y="1295"/>
                    <a:pt x="36549" y="1288"/>
                  </a:cubicBezTo>
                  <a:cubicBezTo>
                    <a:pt x="36555" y="1287"/>
                    <a:pt x="36555" y="1287"/>
                    <a:pt x="36555" y="1287"/>
                  </a:cubicBezTo>
                  <a:cubicBezTo>
                    <a:pt x="36558" y="1287"/>
                    <a:pt x="36558" y="1287"/>
                    <a:pt x="36558" y="1287"/>
                  </a:cubicBezTo>
                  <a:cubicBezTo>
                    <a:pt x="36560" y="1286"/>
                    <a:pt x="36560" y="1286"/>
                    <a:pt x="36560" y="1286"/>
                  </a:cubicBezTo>
                  <a:cubicBezTo>
                    <a:pt x="36561" y="1286"/>
                    <a:pt x="36561" y="1286"/>
                    <a:pt x="36561" y="1286"/>
                  </a:cubicBezTo>
                  <a:cubicBezTo>
                    <a:pt x="36537" y="1286"/>
                    <a:pt x="36554" y="1286"/>
                    <a:pt x="36549" y="1286"/>
                  </a:cubicBezTo>
                  <a:cubicBezTo>
                    <a:pt x="36561" y="1285"/>
                    <a:pt x="36561" y="1285"/>
                    <a:pt x="36561" y="1285"/>
                  </a:cubicBezTo>
                  <a:cubicBezTo>
                    <a:pt x="36585" y="1283"/>
                    <a:pt x="36585" y="1283"/>
                    <a:pt x="36585" y="1283"/>
                  </a:cubicBezTo>
                  <a:cubicBezTo>
                    <a:pt x="36632" y="1278"/>
                    <a:pt x="36632" y="1278"/>
                    <a:pt x="36632" y="1278"/>
                  </a:cubicBezTo>
                  <a:cubicBezTo>
                    <a:pt x="36662" y="1275"/>
                    <a:pt x="36692" y="1272"/>
                    <a:pt x="36722" y="1269"/>
                  </a:cubicBezTo>
                  <a:cubicBezTo>
                    <a:pt x="36769" y="1266"/>
                    <a:pt x="36813" y="1260"/>
                    <a:pt x="36859" y="1258"/>
                  </a:cubicBezTo>
                  <a:cubicBezTo>
                    <a:pt x="36906" y="1257"/>
                    <a:pt x="36951" y="1253"/>
                    <a:pt x="36991" y="1253"/>
                  </a:cubicBezTo>
                  <a:cubicBezTo>
                    <a:pt x="37032" y="1253"/>
                    <a:pt x="37069" y="1253"/>
                    <a:pt x="37102" y="1253"/>
                  </a:cubicBezTo>
                  <a:cubicBezTo>
                    <a:pt x="37135" y="1255"/>
                    <a:pt x="37164" y="1256"/>
                    <a:pt x="37187" y="1257"/>
                  </a:cubicBezTo>
                  <a:cubicBezTo>
                    <a:pt x="37235" y="1258"/>
                    <a:pt x="37260" y="1261"/>
                    <a:pt x="37260" y="1261"/>
                  </a:cubicBezTo>
                  <a:cubicBezTo>
                    <a:pt x="37456" y="1276"/>
                    <a:pt x="37662" y="1319"/>
                    <a:pt x="37863" y="1403"/>
                  </a:cubicBezTo>
                  <a:cubicBezTo>
                    <a:pt x="37963" y="1447"/>
                    <a:pt x="38063" y="1498"/>
                    <a:pt x="38159" y="1563"/>
                  </a:cubicBezTo>
                  <a:cubicBezTo>
                    <a:pt x="38206" y="1597"/>
                    <a:pt x="38254" y="1630"/>
                    <a:pt x="38299" y="1669"/>
                  </a:cubicBezTo>
                  <a:cubicBezTo>
                    <a:pt x="38334" y="1698"/>
                    <a:pt x="38334" y="1698"/>
                    <a:pt x="38334" y="1698"/>
                  </a:cubicBezTo>
                  <a:cubicBezTo>
                    <a:pt x="38335" y="1699"/>
                    <a:pt x="38335" y="1699"/>
                    <a:pt x="38335" y="1699"/>
                  </a:cubicBezTo>
                  <a:cubicBezTo>
                    <a:pt x="38332" y="1695"/>
                    <a:pt x="38344" y="1708"/>
                    <a:pt x="38327" y="1690"/>
                  </a:cubicBezTo>
                  <a:cubicBezTo>
                    <a:pt x="38328" y="1691"/>
                    <a:pt x="38328" y="1691"/>
                    <a:pt x="38328" y="1691"/>
                  </a:cubicBezTo>
                  <a:cubicBezTo>
                    <a:pt x="38330" y="1693"/>
                    <a:pt x="38330" y="1693"/>
                    <a:pt x="38330" y="1693"/>
                  </a:cubicBezTo>
                  <a:cubicBezTo>
                    <a:pt x="38335" y="1698"/>
                    <a:pt x="38335" y="1698"/>
                    <a:pt x="38335" y="1698"/>
                  </a:cubicBezTo>
                  <a:cubicBezTo>
                    <a:pt x="38345" y="1707"/>
                    <a:pt x="38345" y="1707"/>
                    <a:pt x="38345" y="1707"/>
                  </a:cubicBezTo>
                  <a:cubicBezTo>
                    <a:pt x="38365" y="1727"/>
                    <a:pt x="38365" y="1727"/>
                    <a:pt x="38365" y="1727"/>
                  </a:cubicBezTo>
                  <a:cubicBezTo>
                    <a:pt x="38406" y="1765"/>
                    <a:pt x="38406" y="1765"/>
                    <a:pt x="38406" y="1765"/>
                  </a:cubicBezTo>
                  <a:cubicBezTo>
                    <a:pt x="38425" y="1784"/>
                    <a:pt x="38425" y="1784"/>
                    <a:pt x="38425" y="1784"/>
                  </a:cubicBezTo>
                  <a:cubicBezTo>
                    <a:pt x="38439" y="1799"/>
                    <a:pt x="38439" y="1799"/>
                    <a:pt x="38439" y="1799"/>
                  </a:cubicBezTo>
                  <a:cubicBezTo>
                    <a:pt x="38458" y="1819"/>
                    <a:pt x="38476" y="1837"/>
                    <a:pt x="38496" y="1859"/>
                  </a:cubicBezTo>
                  <a:cubicBezTo>
                    <a:pt x="38556" y="1931"/>
                    <a:pt x="38556" y="1931"/>
                    <a:pt x="38556" y="1931"/>
                  </a:cubicBezTo>
                  <a:cubicBezTo>
                    <a:pt x="38594" y="1981"/>
                    <a:pt x="38632" y="2031"/>
                    <a:pt x="38666" y="2086"/>
                  </a:cubicBezTo>
                  <a:cubicBezTo>
                    <a:pt x="38735" y="2195"/>
                    <a:pt x="38794" y="2314"/>
                    <a:pt x="38844" y="2441"/>
                  </a:cubicBezTo>
                  <a:cubicBezTo>
                    <a:pt x="38942" y="2696"/>
                    <a:pt x="38995" y="2985"/>
                    <a:pt x="39009" y="3288"/>
                  </a:cubicBezTo>
                  <a:cubicBezTo>
                    <a:pt x="39012" y="3326"/>
                    <a:pt x="39011" y="3364"/>
                    <a:pt x="39012" y="3402"/>
                  </a:cubicBezTo>
                  <a:cubicBezTo>
                    <a:pt x="39013" y="3440"/>
                    <a:pt x="39014" y="3477"/>
                    <a:pt x="39013" y="3520"/>
                  </a:cubicBezTo>
                  <a:cubicBezTo>
                    <a:pt x="39012" y="3603"/>
                    <a:pt x="39012" y="3685"/>
                    <a:pt x="39011" y="3767"/>
                  </a:cubicBezTo>
                  <a:cubicBezTo>
                    <a:pt x="39008" y="3931"/>
                    <a:pt x="39005" y="4093"/>
                    <a:pt x="39003" y="4255"/>
                  </a:cubicBezTo>
                  <a:cubicBezTo>
                    <a:pt x="38995" y="4575"/>
                    <a:pt x="38984" y="4888"/>
                    <a:pt x="38970" y="5187"/>
                  </a:cubicBezTo>
                  <a:cubicBezTo>
                    <a:pt x="38941" y="5787"/>
                    <a:pt x="38899" y="6338"/>
                    <a:pt x="38844" y="6811"/>
                  </a:cubicBezTo>
                  <a:cubicBezTo>
                    <a:pt x="38606" y="8873"/>
                    <a:pt x="38606" y="8873"/>
                    <a:pt x="38606" y="8873"/>
                  </a:cubicBezTo>
                  <a:cubicBezTo>
                    <a:pt x="38606" y="9464"/>
                    <a:pt x="38606" y="9464"/>
                    <a:pt x="38606" y="9464"/>
                  </a:cubicBezTo>
                  <a:cubicBezTo>
                    <a:pt x="38606" y="10426"/>
                    <a:pt x="38606" y="10426"/>
                    <a:pt x="38606" y="10426"/>
                  </a:cubicBezTo>
                  <a:cubicBezTo>
                    <a:pt x="38606" y="16732"/>
                    <a:pt x="38606" y="16732"/>
                    <a:pt x="38606" y="16732"/>
                  </a:cubicBezTo>
                  <a:cubicBezTo>
                    <a:pt x="38706" y="16074"/>
                    <a:pt x="38827" y="15717"/>
                    <a:pt x="38955" y="15717"/>
                  </a:cubicBezTo>
                  <a:cubicBezTo>
                    <a:pt x="39110" y="15717"/>
                    <a:pt x="39255" y="16238"/>
                    <a:pt x="39365" y="17184"/>
                  </a:cubicBezTo>
                  <a:cubicBezTo>
                    <a:pt x="39365" y="17184"/>
                    <a:pt x="39387" y="17380"/>
                    <a:pt x="39421" y="17673"/>
                  </a:cubicBezTo>
                  <a:cubicBezTo>
                    <a:pt x="39438" y="17820"/>
                    <a:pt x="39458" y="17991"/>
                    <a:pt x="39479" y="18174"/>
                  </a:cubicBezTo>
                  <a:cubicBezTo>
                    <a:pt x="39490" y="18266"/>
                    <a:pt x="39501" y="18360"/>
                    <a:pt x="39512" y="18457"/>
                  </a:cubicBezTo>
                  <a:cubicBezTo>
                    <a:pt x="39514" y="18482"/>
                    <a:pt x="39518" y="18502"/>
                    <a:pt x="39520" y="18532"/>
                  </a:cubicBezTo>
                  <a:cubicBezTo>
                    <a:pt x="39522" y="18557"/>
                    <a:pt x="39525" y="18578"/>
                    <a:pt x="39525" y="18609"/>
                  </a:cubicBezTo>
                  <a:cubicBezTo>
                    <a:pt x="39527" y="18668"/>
                    <a:pt x="39522" y="18724"/>
                    <a:pt x="39511" y="18784"/>
                  </a:cubicBezTo>
                  <a:cubicBezTo>
                    <a:pt x="39499" y="18844"/>
                    <a:pt x="39477" y="18907"/>
                    <a:pt x="39440" y="18967"/>
                  </a:cubicBezTo>
                  <a:cubicBezTo>
                    <a:pt x="39404" y="19026"/>
                    <a:pt x="39352" y="19081"/>
                    <a:pt x="39291" y="19120"/>
                  </a:cubicBezTo>
                  <a:cubicBezTo>
                    <a:pt x="39231" y="19158"/>
                    <a:pt x="39166" y="19183"/>
                    <a:pt x="39104" y="19199"/>
                  </a:cubicBezTo>
                  <a:cubicBezTo>
                    <a:pt x="39073" y="19205"/>
                    <a:pt x="39042" y="19212"/>
                    <a:pt x="39013" y="19215"/>
                  </a:cubicBezTo>
                  <a:cubicBezTo>
                    <a:pt x="38987" y="19218"/>
                    <a:pt x="38961" y="19222"/>
                    <a:pt x="38936" y="19225"/>
                  </a:cubicBezTo>
                  <a:cubicBezTo>
                    <a:pt x="38752" y="19246"/>
                    <a:pt x="38581" y="19266"/>
                    <a:pt x="38435" y="19283"/>
                  </a:cubicBezTo>
                  <a:cubicBezTo>
                    <a:pt x="38142" y="19316"/>
                    <a:pt x="37946" y="19339"/>
                    <a:pt x="37946" y="19339"/>
                  </a:cubicBezTo>
                  <a:cubicBezTo>
                    <a:pt x="37946" y="19339"/>
                    <a:pt x="37826" y="19353"/>
                    <a:pt x="37646" y="19374"/>
                  </a:cubicBezTo>
                  <a:cubicBezTo>
                    <a:pt x="37556" y="19384"/>
                    <a:pt x="37451" y="19396"/>
                    <a:pt x="37338" y="19409"/>
                  </a:cubicBezTo>
                  <a:cubicBezTo>
                    <a:pt x="37310" y="19413"/>
                    <a:pt x="37281" y="19416"/>
                    <a:pt x="37252" y="19419"/>
                  </a:cubicBezTo>
                  <a:cubicBezTo>
                    <a:pt x="37230" y="19422"/>
                    <a:pt x="37230" y="19422"/>
                    <a:pt x="37230" y="19422"/>
                  </a:cubicBezTo>
                  <a:cubicBezTo>
                    <a:pt x="37219" y="19423"/>
                    <a:pt x="37219" y="19423"/>
                    <a:pt x="37219" y="19423"/>
                  </a:cubicBezTo>
                  <a:cubicBezTo>
                    <a:pt x="37214" y="19424"/>
                    <a:pt x="37214" y="19424"/>
                    <a:pt x="37214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03" y="19424"/>
                    <a:pt x="37203" y="19424"/>
                    <a:pt x="37203" y="19424"/>
                  </a:cubicBezTo>
                  <a:cubicBezTo>
                    <a:pt x="37201" y="19424"/>
                    <a:pt x="37201" y="19424"/>
                    <a:pt x="37201" y="19424"/>
                  </a:cubicBezTo>
                  <a:cubicBezTo>
                    <a:pt x="37157" y="19429"/>
                    <a:pt x="37157" y="19429"/>
                    <a:pt x="37157" y="19429"/>
                  </a:cubicBezTo>
                  <a:cubicBezTo>
                    <a:pt x="37097" y="19434"/>
                    <a:pt x="37042" y="19441"/>
                    <a:pt x="36968" y="19444"/>
                  </a:cubicBezTo>
                  <a:cubicBezTo>
                    <a:pt x="36899" y="19447"/>
                    <a:pt x="36829" y="19450"/>
                    <a:pt x="36764" y="19450"/>
                  </a:cubicBezTo>
                  <a:cubicBezTo>
                    <a:pt x="36698" y="19451"/>
                    <a:pt x="36632" y="19449"/>
                    <a:pt x="36568" y="19447"/>
                  </a:cubicBezTo>
                  <a:cubicBezTo>
                    <a:pt x="36440" y="19442"/>
                    <a:pt x="36319" y="19430"/>
                    <a:pt x="36215" y="19416"/>
                  </a:cubicBezTo>
                  <a:cubicBezTo>
                    <a:pt x="36162" y="19410"/>
                    <a:pt x="36115" y="19400"/>
                    <a:pt x="36072" y="19393"/>
                  </a:cubicBezTo>
                  <a:cubicBezTo>
                    <a:pt x="36029" y="19386"/>
                    <a:pt x="35992" y="19379"/>
                    <a:pt x="35962" y="19372"/>
                  </a:cubicBezTo>
                  <a:cubicBezTo>
                    <a:pt x="35900" y="19358"/>
                    <a:pt x="35865" y="19349"/>
                    <a:pt x="35865" y="19349"/>
                  </a:cubicBezTo>
                  <a:cubicBezTo>
                    <a:pt x="35865" y="19349"/>
                    <a:pt x="35847" y="19346"/>
                    <a:pt x="35816" y="19337"/>
                  </a:cubicBezTo>
                  <a:cubicBezTo>
                    <a:pt x="35784" y="19328"/>
                    <a:pt x="35739" y="19315"/>
                    <a:pt x="35685" y="19300"/>
                  </a:cubicBezTo>
                  <a:cubicBezTo>
                    <a:pt x="35577" y="19265"/>
                    <a:pt x="35432" y="19214"/>
                    <a:pt x="35292" y="19147"/>
                  </a:cubicBezTo>
                  <a:cubicBezTo>
                    <a:pt x="35151" y="19082"/>
                    <a:pt x="35017" y="19001"/>
                    <a:pt x="34917" y="18937"/>
                  </a:cubicBezTo>
                  <a:cubicBezTo>
                    <a:pt x="34868" y="18903"/>
                    <a:pt x="34828" y="18874"/>
                    <a:pt x="34800" y="18855"/>
                  </a:cubicBezTo>
                  <a:cubicBezTo>
                    <a:pt x="34771" y="18835"/>
                    <a:pt x="34756" y="18822"/>
                    <a:pt x="34756" y="18822"/>
                  </a:cubicBezTo>
                  <a:cubicBezTo>
                    <a:pt x="34693" y="18772"/>
                    <a:pt x="34693" y="18772"/>
                    <a:pt x="34693" y="18772"/>
                  </a:cubicBezTo>
                  <a:cubicBezTo>
                    <a:pt x="34661" y="18746"/>
                    <a:pt x="34661" y="18746"/>
                    <a:pt x="34661" y="18746"/>
                  </a:cubicBezTo>
                  <a:cubicBezTo>
                    <a:pt x="34653" y="18740"/>
                    <a:pt x="34653" y="18740"/>
                    <a:pt x="34653" y="18740"/>
                  </a:cubicBezTo>
                  <a:cubicBezTo>
                    <a:pt x="34649" y="18737"/>
                    <a:pt x="34649" y="18737"/>
                    <a:pt x="34649" y="18737"/>
                  </a:cubicBezTo>
                  <a:cubicBezTo>
                    <a:pt x="34648" y="18736"/>
                    <a:pt x="34648" y="18736"/>
                    <a:pt x="34648" y="18736"/>
                  </a:cubicBezTo>
                  <a:cubicBezTo>
                    <a:pt x="34642" y="18730"/>
                    <a:pt x="34661" y="18749"/>
                    <a:pt x="34635" y="18723"/>
                  </a:cubicBezTo>
                  <a:cubicBezTo>
                    <a:pt x="34634" y="18722"/>
                    <a:pt x="34634" y="18722"/>
                    <a:pt x="34634" y="18722"/>
                  </a:cubicBezTo>
                  <a:cubicBezTo>
                    <a:pt x="34632" y="18721"/>
                    <a:pt x="34632" y="18721"/>
                    <a:pt x="34632" y="18721"/>
                  </a:cubicBezTo>
                  <a:cubicBezTo>
                    <a:pt x="34620" y="18710"/>
                    <a:pt x="34620" y="18710"/>
                    <a:pt x="34620" y="18710"/>
                  </a:cubicBezTo>
                  <a:cubicBezTo>
                    <a:pt x="34570" y="18668"/>
                    <a:pt x="34570" y="18668"/>
                    <a:pt x="34570" y="18668"/>
                  </a:cubicBezTo>
                  <a:cubicBezTo>
                    <a:pt x="34545" y="18646"/>
                    <a:pt x="34545" y="18646"/>
                    <a:pt x="34545" y="18646"/>
                  </a:cubicBezTo>
                  <a:cubicBezTo>
                    <a:pt x="34533" y="18635"/>
                    <a:pt x="34533" y="18635"/>
                    <a:pt x="34533" y="18635"/>
                  </a:cubicBezTo>
                  <a:cubicBezTo>
                    <a:pt x="34516" y="18619"/>
                    <a:pt x="34516" y="18619"/>
                    <a:pt x="34516" y="18619"/>
                  </a:cubicBezTo>
                  <a:cubicBezTo>
                    <a:pt x="34472" y="18575"/>
                    <a:pt x="34424" y="18527"/>
                    <a:pt x="34384" y="18482"/>
                  </a:cubicBezTo>
                  <a:cubicBezTo>
                    <a:pt x="34346" y="18438"/>
                    <a:pt x="34305" y="18393"/>
                    <a:pt x="34268" y="18346"/>
                  </a:cubicBezTo>
                  <a:cubicBezTo>
                    <a:pt x="34117" y="18158"/>
                    <a:pt x="33984" y="17940"/>
                    <a:pt x="33878" y="17705"/>
                  </a:cubicBezTo>
                  <a:cubicBezTo>
                    <a:pt x="33663" y="17233"/>
                    <a:pt x="33564" y="16699"/>
                    <a:pt x="33553" y="16173"/>
                  </a:cubicBezTo>
                  <a:cubicBezTo>
                    <a:pt x="33553" y="16173"/>
                    <a:pt x="33554" y="16208"/>
                    <a:pt x="33555" y="16269"/>
                  </a:cubicBezTo>
                  <a:cubicBezTo>
                    <a:pt x="33555" y="16330"/>
                    <a:pt x="33558" y="16418"/>
                    <a:pt x="33565" y="16524"/>
                  </a:cubicBezTo>
                  <a:cubicBezTo>
                    <a:pt x="33580" y="16737"/>
                    <a:pt x="33614" y="17025"/>
                    <a:pt x="33691" y="17316"/>
                  </a:cubicBezTo>
                  <a:cubicBezTo>
                    <a:pt x="33766" y="17608"/>
                    <a:pt x="33886" y="17897"/>
                    <a:pt x="34000" y="18104"/>
                  </a:cubicBezTo>
                  <a:cubicBezTo>
                    <a:pt x="34058" y="18207"/>
                    <a:pt x="34109" y="18292"/>
                    <a:pt x="34149" y="18349"/>
                  </a:cubicBezTo>
                  <a:cubicBezTo>
                    <a:pt x="34187" y="18407"/>
                    <a:pt x="34210" y="18439"/>
                    <a:pt x="34210" y="184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Freeform 22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364905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baseline="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573087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2180310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9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hteck 18"/>
          <p:cNvSpPr/>
          <p:nvPr userDrawn="1"/>
        </p:nvSpPr>
        <p:spPr bwMode="gray">
          <a:xfrm rot="4440000">
            <a:off x="2220597" y="1787832"/>
            <a:ext cx="4346140" cy="30865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>
            <a:prstTxWarp prst="textArchUp">
              <a:avLst/>
            </a:prstTxWarp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chemeClr val="bg2"/>
                </a:solidFill>
                <a:latin typeface="+mn-lt"/>
              </a:rPr>
              <a:t>EMD Performance Materials is a business of Merck </a:t>
            </a:r>
            <a:r>
              <a:rPr lang="en-US" sz="700" kern="0" dirty="0" err="1">
                <a:solidFill>
                  <a:schemeClr val="bg2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chemeClr val="bg2"/>
                </a:solidFill>
                <a:latin typeface="+mn-lt"/>
              </a:rPr>
              <a:t>, Darmstadt, Germany</a:t>
            </a:r>
            <a:endParaRPr lang="de-DE" sz="700" kern="0" dirty="0">
              <a:solidFill>
                <a:schemeClr val="bg2"/>
              </a:solidFill>
              <a:latin typeface="Verdana"/>
            </a:endParaRPr>
          </a:p>
        </p:txBody>
      </p:sp>
      <p:sp>
        <p:nvSpPr>
          <p:cNvPr id="21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39" imgW="353" imgH="353" progId="TCLayout.ActiveDocument.1">
                  <p:embed/>
                </p:oleObj>
              </mc:Choice>
              <mc:Fallback>
                <p:oleObj name="think-cell Slide" r:id="rId39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/>
          <p:cNvSpPr/>
          <p:nvPr userDrawn="1">
            <p:custDataLst>
              <p:tags r:id="rId37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692696"/>
            <a:ext cx="10944225" cy="364056"/>
          </a:xfrm>
          <a:prstGeom prst="rect">
            <a:avLst/>
          </a:prstGeom>
          <a:noFill/>
        </p:spPr>
        <p:txBody>
          <a:bodyPr vert="horz" lIns="0" tIns="0" rIns="0" bIns="18000" rtlCol="0" anchor="b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grpSp>
        <p:nvGrpSpPr>
          <p:cNvPr id="68" name="Logo Merck"/>
          <p:cNvGrpSpPr>
            <a:grpSpLocks noChangeAspect="1"/>
          </p:cNvGrpSpPr>
          <p:nvPr userDrawn="1"/>
        </p:nvGrpSpPr>
        <p:grpSpPr bwMode="gray">
          <a:xfrm>
            <a:off x="10816204" y="6180162"/>
            <a:ext cx="751909" cy="360000"/>
            <a:chOff x="7453313" y="4122737"/>
            <a:chExt cx="4114800" cy="1970088"/>
          </a:xfrm>
        </p:grpSpPr>
        <p:sp>
          <p:nvSpPr>
            <p:cNvPr id="69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empower - DO NOT DELETE!!!" hidden="1"/>
          <p:cNvSpPr/>
          <p:nvPr userDrawn="1">
            <p:custDataLst>
              <p:tags r:id="rId3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2" r:id="rId3"/>
    <p:sldLayoutId id="2147483650" r:id="rId4"/>
    <p:sldLayoutId id="2147483660" r:id="rId5"/>
    <p:sldLayoutId id="2147483662" r:id="rId6"/>
    <p:sldLayoutId id="2147483690" r:id="rId7"/>
    <p:sldLayoutId id="2147483691" r:id="rId8"/>
    <p:sldLayoutId id="2147483692" r:id="rId9"/>
    <p:sldLayoutId id="2147483651" r:id="rId10"/>
    <p:sldLayoutId id="2147483664" r:id="rId11"/>
    <p:sldLayoutId id="2147483665" r:id="rId12"/>
    <p:sldLayoutId id="2147483687" r:id="rId13"/>
    <p:sldLayoutId id="2147483685" r:id="rId14"/>
    <p:sldLayoutId id="2147483686" r:id="rId15"/>
    <p:sldLayoutId id="2147483656" r:id="rId16"/>
    <p:sldLayoutId id="2147483657" r:id="rId17"/>
    <p:sldLayoutId id="2147483658" r:id="rId18"/>
    <p:sldLayoutId id="2147483652" r:id="rId19"/>
    <p:sldLayoutId id="2147483669" r:id="rId20"/>
    <p:sldLayoutId id="2147483668" r:id="rId21"/>
    <p:sldLayoutId id="2147483671" r:id="rId22"/>
    <p:sldLayoutId id="2147483673" r:id="rId23"/>
    <p:sldLayoutId id="2147483678" r:id="rId24"/>
    <p:sldLayoutId id="2147483674" r:id="rId25"/>
    <p:sldLayoutId id="2147483675" r:id="rId26"/>
    <p:sldLayoutId id="2147483679" r:id="rId27"/>
    <p:sldLayoutId id="2147483676" r:id="rId28"/>
    <p:sldLayoutId id="2147483677" r:id="rId29"/>
    <p:sldLayoutId id="2147483689" r:id="rId30"/>
    <p:sldLayoutId id="2147483683" r:id="rId31"/>
    <p:sldLayoutId id="2147483688" r:id="rId32"/>
    <p:sldLayoutId id="2147483682" r:id="rId33"/>
  </p:sldLayoutIdLst>
  <p:hf hdr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orient="horz" pos="935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393" userDrawn="1">
          <p15:clr>
            <a:srgbClr val="F26B43"/>
          </p15:clr>
        </p15:guide>
        <p15:guide id="5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://insideairbnb.com/new-york-city/" TargetMode="External"/><Relationship Id="rId13" Type="http://schemas.openxmlformats.org/officeDocument/2006/relationships/hyperlink" Target="http://data.insideairbnb.com/united-states/ca/san-francisco/2019-08-06/visualisations/neighbourhoods.csv" TargetMode="External"/><Relationship Id="rId3" Type="http://schemas.openxmlformats.org/officeDocument/2006/relationships/tags" Target="../tags/tag51.xml"/><Relationship Id="rId7" Type="http://schemas.openxmlformats.org/officeDocument/2006/relationships/hyperlink" Target="http://insideairbnb.com/index.html" TargetMode="External"/><Relationship Id="rId12" Type="http://schemas.openxmlformats.org/officeDocument/2006/relationships/hyperlink" Target="http://data.insideairbnb.com/united-states/ca/san-francisco/2019-08-06/visualisations/listings.csv" TargetMode="External"/><Relationship Id="rId2" Type="http://schemas.openxmlformats.org/officeDocument/2006/relationships/tags" Target="../tags/tag5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11" Type="http://schemas.openxmlformats.org/officeDocument/2006/relationships/hyperlink" Target="http://data.insideairbnb.com/united-states/ny/new-york-city/2019-08-06/visualisations/listings.csv" TargetMode="External"/><Relationship Id="rId5" Type="http://schemas.openxmlformats.org/officeDocument/2006/relationships/oleObject" Target="../embeddings/oleObject19.bin"/><Relationship Id="rId10" Type="http://schemas.openxmlformats.org/officeDocument/2006/relationships/hyperlink" Target="http://data.insideairbnb.com/united-states/ny/new-york-city/2019-08-06/visualisations/neighbourhoods.geojson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insideairbnb.com/get-the-data.html" TargetMode="External"/><Relationship Id="rId14" Type="http://schemas.openxmlformats.org/officeDocument/2006/relationships/hyperlink" Target="http://data.insideairbnb.com/united-states/ca/san-francisco/2019-08-06/visualisations/neighbourhoods.geojson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6.emf"/><Relationship Id="rId4" Type="http://schemas.openxmlformats.org/officeDocument/2006/relationships/tags" Target="../tags/tag46.xml"/><Relationship Id="rId9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1758ACA-2D7B-4FC0-8586-D30F04F9D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7968" y="1052736"/>
            <a:ext cx="5881644" cy="1180699"/>
          </a:xfrm>
        </p:spPr>
        <p:txBody>
          <a:bodyPr/>
          <a:lstStyle/>
          <a:p>
            <a:r>
              <a:rPr lang="en-US" dirty="0"/>
              <a:t>Airbnb: consumer Helper for NYC Listings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39AAB87-FF00-42EF-9CEF-FF5E8475C04C}"/>
              </a:ext>
            </a:extLst>
          </p:cNvPr>
          <p:cNvSpPr txBox="1">
            <a:spLocks/>
          </p:cNvSpPr>
          <p:nvPr/>
        </p:nvSpPr>
        <p:spPr bwMode="gray">
          <a:xfrm>
            <a:off x="7248128" y="3398272"/>
            <a:ext cx="5881644" cy="1180699"/>
          </a:xfrm>
          <a:prstGeom prst="rect">
            <a:avLst/>
          </a:prstGeom>
          <a:noFill/>
        </p:spPr>
        <p:txBody>
          <a:bodyPr vert="horz" lIns="0" tIns="72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600" b="0" kern="120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 dirty="0"/>
              <a:t>October 1, 2019</a:t>
            </a:r>
          </a:p>
          <a:p>
            <a:r>
              <a:rPr lang="en-US" sz="1400" dirty="0"/>
              <a:t>Benedict, Mikey and Christ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51A4A7-9A4D-4A3B-BBA2-83730559F1F0}"/>
              </a:ext>
            </a:extLst>
          </p:cNvPr>
          <p:cNvSpPr txBox="1"/>
          <p:nvPr/>
        </p:nvSpPr>
        <p:spPr bwMode="gray">
          <a:xfrm>
            <a:off x="8760296" y="5805264"/>
            <a:ext cx="3240360" cy="936104"/>
          </a:xfrm>
          <a:prstGeom prst="rect">
            <a:avLst/>
          </a:prstGeom>
          <a:solidFill>
            <a:srgbClr val="50329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95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5149" y="1080549"/>
            <a:ext cx="10944225" cy="364055"/>
          </a:xfrm>
        </p:spPr>
        <p:txBody>
          <a:bodyPr/>
          <a:lstStyle/>
          <a:p>
            <a:r>
              <a:rPr lang="de-DE" dirty="0"/>
              <a:t>Mostly apartment listings in all 5 boroughs, </a:t>
            </a:r>
            <a:r>
              <a:rPr lang="de-DE" u="sng" dirty="0"/>
              <a:t>except</a:t>
            </a:r>
            <a:r>
              <a:rPr lang="de-DE" dirty="0"/>
              <a:t> if you want a home check out </a:t>
            </a:r>
            <a:r>
              <a:rPr lang="de-DE" i="1" dirty="0">
                <a:solidFill>
                  <a:srgbClr val="FFC832"/>
                </a:solidFill>
              </a:rPr>
              <a:t>Staten Island</a:t>
            </a:r>
            <a:br>
              <a:rPr lang="de-DE" dirty="0"/>
            </a:b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96E60DF-B018-41C3-B61C-CD61340B6B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3682571"/>
              </p:ext>
            </p:extLst>
          </p:nvPr>
        </p:nvGraphicFramePr>
        <p:xfrm>
          <a:off x="1918393" y="126257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3200325B-1BD1-470F-923D-A8B9AE91CDB8}"/>
              </a:ext>
            </a:extLst>
          </p:cNvPr>
          <p:cNvSpPr txBox="1"/>
          <p:nvPr/>
        </p:nvSpPr>
        <p:spPr bwMode="gray">
          <a:xfrm>
            <a:off x="635149" y="3284984"/>
            <a:ext cx="7886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centage</a:t>
            </a:r>
          </a:p>
        </p:txBody>
      </p:sp>
    </p:spTree>
    <p:extLst>
      <p:ext uri="{BB962C8B-B14F-4D97-AF65-F5344CB8AC3E}">
        <p14:creationId xmlns:p14="http://schemas.microsoft.com/office/powerpoint/2010/main" val="30328744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hh, more space in the cloud!     Guess this homey place..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Content Placeholder 12" descr="A close up of a newspaper&#10;&#10;Description automatically generated">
            <a:extLst>
              <a:ext uri="{FF2B5EF4-FFF2-40B4-BE49-F238E27FC236}">
                <a16:creationId xmlns:a16="http://schemas.microsoft.com/office/drawing/2014/main" id="{199BF2A3-8B08-4ADA-BE52-719D0F1E3A9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772816"/>
            <a:ext cx="8164554" cy="4082277"/>
          </a:xfrm>
        </p:spPr>
      </p:pic>
    </p:spTree>
    <p:extLst>
      <p:ext uri="{BB962C8B-B14F-4D97-AF65-F5344CB8AC3E}">
        <p14:creationId xmlns:p14="http://schemas.microsoft.com/office/powerpoint/2010/main" val="2023781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4911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w c‘mon, where is </a:t>
            </a:r>
            <a:r>
              <a:rPr lang="de-DE" i="1" dirty="0">
                <a:solidFill>
                  <a:srgbClr val="FFC000"/>
                </a:solidFill>
              </a:rPr>
              <a:t>expensive </a:t>
            </a:r>
            <a:r>
              <a:rPr lang="de-DE" dirty="0"/>
              <a:t>in this cloud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Content Placeholder 11" descr="A close up of a newspaper&#10;&#10;Description automatically generated">
            <a:extLst>
              <a:ext uri="{FF2B5EF4-FFF2-40B4-BE49-F238E27FC236}">
                <a16:creationId xmlns:a16="http://schemas.microsoft.com/office/drawing/2014/main" id="{EC3F2AA3-D4A4-46F2-8F10-2D8A4B67E81A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1754176"/>
            <a:ext cx="8601744" cy="4300872"/>
          </a:xfrm>
        </p:spPr>
      </p:pic>
    </p:spTree>
    <p:extLst>
      <p:ext uri="{BB962C8B-B14F-4D97-AF65-F5344CB8AC3E}">
        <p14:creationId xmlns:p14="http://schemas.microsoft.com/office/powerpoint/2010/main" val="5130570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7283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clu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5966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370217-CA40-4478-B679-38544BBFF1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0370217-CA40-4478-B679-38544BBFF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D96189-5752-490A-A0A1-3830CBE779B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ts val="2400"/>
              </a:lnSpc>
              <a:buClr>
                <a:schemeClr val="bg1"/>
              </a:buClr>
              <a:buSzPct val="100000"/>
            </a:pPr>
            <a:endParaRPr lang="en-US" sz="2200" b="1" u="none" kern="0" dirty="0">
              <a:solidFill>
                <a:srgbClr val="FFFFFF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A9DC58-55E9-4468-B4B5-6CAF01F1B0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998C0C-E1C6-4855-9C1B-030C17C263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A2B21D-A232-4BB0-9E97-F860CE80B74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000" dirty="0"/>
              <a:t>Airbnb data:  </a:t>
            </a:r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7"/>
              </a:rPr>
              <a:t>http://insideairbnb.com/index.html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8"/>
              </a:rPr>
              <a:t>http://insideairbnb.com/new-york-city/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9"/>
              </a:rPr>
              <a:t>http://insideairbnb.com/get-the-data.html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0"/>
              </a:rPr>
              <a:t>http://data.insideairbnb.com/united-states/ny/new-york-city/2019-08-06/visualisations/neighbourhoods.geojson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1"/>
              </a:rPr>
              <a:t>http://data.insideairbnb.com/united-states/ny/new-york-city/2019-08-06/visualisations/listings.csv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2"/>
              </a:rPr>
              <a:t>http://data.insideairbnb.com/united-states/ca/san-francisco/2019-08-06/visualisations/listings.csv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3"/>
              </a:rPr>
              <a:t>http://data.insideairbnb.com/united-states/ca/san-francisco/2019-08-06/visualisations/neighbourhoods.csv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4"/>
              </a:rPr>
              <a:t>http://data.insideairbnb.com/united-states/ca/san-francisco/2019-08-06/visualisations/neighbourhoods.geojson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000" dirty="0"/>
              <a:t>Kaggl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000" dirty="0"/>
              <a:t>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1E4282-6989-4A85-86C6-70ADCE5939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7F101AF-7BC0-49FB-9CEF-D4642B317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and datase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46DDB4-E214-4272-9ECB-563039B0536E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EF6835-13DB-4FEB-A26E-BA6DD0B50DF1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1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173A51C-E686-4BF9-BE43-2B07996769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4" name="think-cell Slide" r:id="rId9" imgW="338" imgH="338" progId="TCLayout.ActiveDocument.1">
                  <p:embed/>
                </p:oleObj>
              </mc:Choice>
              <mc:Fallback>
                <p:oleObj name="think-cell Slide" r:id="rId9" imgW="338" imgH="33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173A51C-E686-4BF9-BE43-2B0799676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6FFE02D6-57B9-48B5-9225-035849A47B6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ts val="2400"/>
              </a:lnSpc>
              <a:buClr>
                <a:schemeClr val="bg1"/>
              </a:buClr>
              <a:buSzPct val="100000"/>
            </a:pPr>
            <a:endParaRPr lang="en-US" sz="2200" b="1" u="none" kern="0" dirty="0">
              <a:solidFill>
                <a:srgbClr val="FFFFFF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E196E11-C97D-4CB7-9095-9F2711B875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Project Charter &lt;Project&gt; | MM.YYYY</a:t>
            </a:r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44DF69-1B4F-44BB-9D0E-C956769914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C3B04D-D4AC-4845-8E09-983DF63B45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The project assists the consumer in quickly scanning </a:t>
            </a:r>
            <a:r>
              <a:rPr lang="en-US" b="1" dirty="0" err="1"/>
              <a:t>AirBNB</a:t>
            </a:r>
            <a:r>
              <a:rPr lang="en-US" b="1" dirty="0"/>
              <a:t> listings in NYC based on most common criteria</a:t>
            </a:r>
          </a:p>
        </p:txBody>
      </p:sp>
      <p:sp>
        <p:nvSpPr>
          <p:cNvPr id="6" name="Freihandform 83">
            <a:extLst>
              <a:ext uri="{FF2B5EF4-FFF2-40B4-BE49-F238E27FC236}">
                <a16:creationId xmlns:a16="http://schemas.microsoft.com/office/drawing/2014/main" id="{96B72661-35F5-49E2-ABB7-FEC9D9E0669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97572" y="1761863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Current Situation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Freihandform 84">
            <a:extLst>
              <a:ext uri="{FF2B5EF4-FFF2-40B4-BE49-F238E27FC236}">
                <a16:creationId xmlns:a16="http://schemas.microsoft.com/office/drawing/2014/main" id="{3E9BFA3B-922C-415E-8C36-7433449EA30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97572" y="2784214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Project Objective	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Freihandform 86">
            <a:extLst>
              <a:ext uri="{FF2B5EF4-FFF2-40B4-BE49-F238E27FC236}">
                <a16:creationId xmlns:a16="http://schemas.microsoft.com/office/drawing/2014/main" id="{AEF8C7BD-5922-4005-B1C4-B81FE1CC9F6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97571" y="3806565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Deliverables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矩形 7">
            <a:extLst>
              <a:ext uri="{FF2B5EF4-FFF2-40B4-BE49-F238E27FC236}">
                <a16:creationId xmlns:a16="http://schemas.microsoft.com/office/drawing/2014/main" id="{96C7FC62-8900-48A5-9A5E-565E5B609716}"/>
              </a:ext>
            </a:extLst>
          </p:cNvPr>
          <p:cNvSpPr/>
          <p:nvPr/>
        </p:nvSpPr>
        <p:spPr>
          <a:xfrm>
            <a:off x="3522867" y="3451582"/>
            <a:ext cx="8052475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endParaRPr lang="en-US" sz="1400" dirty="0"/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>
                <a:ea typeface="Verdana"/>
                <a:cs typeface="Verdana"/>
              </a:rPr>
              <a:t>Comparative bar graphs</a:t>
            </a:r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/>
              <a:t>Heat maps of boroughs of NYC</a:t>
            </a:r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>
                <a:ea typeface="Verdana"/>
                <a:cs typeface="Verdana"/>
              </a:rPr>
              <a:t>Word cloud pulling review data from review text fields</a:t>
            </a:r>
          </a:p>
        </p:txBody>
      </p:sp>
      <p:sp>
        <p:nvSpPr>
          <p:cNvPr id="14" name="矩形 7">
            <a:extLst>
              <a:ext uri="{FF2B5EF4-FFF2-40B4-BE49-F238E27FC236}">
                <a16:creationId xmlns:a16="http://schemas.microsoft.com/office/drawing/2014/main" id="{BBD6B644-18A8-476A-94D3-D96332F3D65A}"/>
              </a:ext>
            </a:extLst>
          </p:cNvPr>
          <p:cNvSpPr/>
          <p:nvPr/>
        </p:nvSpPr>
        <p:spPr>
          <a:xfrm>
            <a:off x="3515636" y="2841767"/>
            <a:ext cx="80597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503291"/>
              </a:buClr>
            </a:pPr>
            <a:r>
              <a:rPr lang="en-US" sz="1400" dirty="0"/>
              <a:t>Our aim is to gain an understanding of the listing volume in NYC Airbnb and analyze the </a:t>
            </a:r>
            <a:r>
              <a:rPr lang="en-US" sz="1400" u="sng" dirty="0"/>
              <a:t>consumer review data </a:t>
            </a:r>
            <a:r>
              <a:rPr lang="en-US" sz="1400" dirty="0"/>
              <a:t>to determine consumer preferences between the </a:t>
            </a:r>
            <a:r>
              <a:rPr lang="en-US" sz="1400" u="sng" dirty="0"/>
              <a:t>neighborhoods</a:t>
            </a:r>
            <a:r>
              <a:rPr lang="en-US" sz="1400" dirty="0"/>
              <a:t>, </a:t>
            </a:r>
            <a:r>
              <a:rPr lang="en-US" sz="1400" u="sng" dirty="0"/>
              <a:t>pricing</a:t>
            </a:r>
            <a:r>
              <a:rPr lang="en-US" sz="1400" dirty="0"/>
              <a:t> data by neighborhoods, </a:t>
            </a:r>
            <a:r>
              <a:rPr lang="en-US" sz="1400" u="sng" dirty="0"/>
              <a:t>amenities</a:t>
            </a:r>
            <a:r>
              <a:rPr lang="en-US" sz="1400" dirty="0"/>
              <a:t> by neighborhood.</a:t>
            </a:r>
            <a:endParaRPr lang="en-US" sz="1400" dirty="0">
              <a:ea typeface="Verdana"/>
            </a:endParaRPr>
          </a:p>
        </p:txBody>
      </p:sp>
      <p:sp>
        <p:nvSpPr>
          <p:cNvPr id="15" name="矩形 7">
            <a:extLst>
              <a:ext uri="{FF2B5EF4-FFF2-40B4-BE49-F238E27FC236}">
                <a16:creationId xmlns:a16="http://schemas.microsoft.com/office/drawing/2014/main" id="{D12A2AEC-861C-4D30-87B2-4C43D647A610}"/>
              </a:ext>
            </a:extLst>
          </p:cNvPr>
          <p:cNvSpPr/>
          <p:nvPr/>
        </p:nvSpPr>
        <p:spPr>
          <a:xfrm>
            <a:off x="3501177" y="1750165"/>
            <a:ext cx="80597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Today there are more than 45,000 </a:t>
            </a:r>
            <a:r>
              <a:rPr lang="en-US" sz="1400" b="1" dirty="0"/>
              <a:t>listings in the NYC Airbnb market</a:t>
            </a:r>
            <a:r>
              <a:rPr lang="en-US" sz="1400" dirty="0"/>
              <a:t>, including more than 3,500 long term and hotel </a:t>
            </a:r>
            <a:r>
              <a:rPr lang="en-US" sz="1400" b="1" dirty="0"/>
              <a:t>listings</a:t>
            </a:r>
            <a:r>
              <a:rPr lang="en-US" sz="1400" dirty="0"/>
              <a:t> (30+ day rentals, traditional B&amp;B's, and boutique hotels).</a:t>
            </a:r>
          </a:p>
        </p:txBody>
      </p:sp>
      <p:sp>
        <p:nvSpPr>
          <p:cNvPr id="21" name="Freihandform 85">
            <a:extLst>
              <a:ext uri="{FF2B5EF4-FFF2-40B4-BE49-F238E27FC236}">
                <a16:creationId xmlns:a16="http://schemas.microsoft.com/office/drawing/2014/main" id="{8BA888A0-F0B3-46DB-ADCD-164D8CC0860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78060" y="4828917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Scope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" name="矩形 7">
            <a:extLst>
              <a:ext uri="{FF2B5EF4-FFF2-40B4-BE49-F238E27FC236}">
                <a16:creationId xmlns:a16="http://schemas.microsoft.com/office/drawing/2014/main" id="{6FC770A0-413F-4B80-9DCD-1FFF0B5BF565}"/>
              </a:ext>
            </a:extLst>
          </p:cNvPr>
          <p:cNvSpPr/>
          <p:nvPr/>
        </p:nvSpPr>
        <p:spPr>
          <a:xfrm>
            <a:off x="3508407" y="4920210"/>
            <a:ext cx="80524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503291"/>
              </a:buClr>
            </a:pPr>
            <a:r>
              <a:rPr lang="en-US" sz="1400" dirty="0"/>
              <a:t>NYC was chosen for the sheer volume (largest Airbnb market in the US) and diversity of Airbnb listings, taking into account all </a:t>
            </a:r>
            <a:r>
              <a:rPr lang="en-US" sz="1400" u="sng" dirty="0"/>
              <a:t>5 boroughs</a:t>
            </a:r>
            <a:r>
              <a:rPr lang="en-US" sz="1400" dirty="0"/>
              <a:t>.  </a:t>
            </a:r>
            <a:endParaRPr lang="en-US" sz="1400" dirty="0">
              <a:ea typeface="Verdana"/>
              <a:cs typeface="Verdan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62657C-DAC0-4FC9-9BF7-180E7FE70FAF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42C3A5-DD39-4E64-95DC-352CAF1AB7C7}"/>
              </a:ext>
            </a:extLst>
          </p:cNvPr>
          <p:cNvSpPr txBox="1"/>
          <p:nvPr/>
        </p:nvSpPr>
        <p:spPr bwMode="gray">
          <a:xfrm>
            <a:off x="10784904" y="62452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EF7456-C6DD-4908-B7C7-B474A5203647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8AF39D-617D-4360-8CC9-ABDD3A95934A}"/>
              </a:ext>
            </a:extLst>
          </p:cNvPr>
          <p:cNvSpPr/>
          <p:nvPr/>
        </p:nvSpPr>
        <p:spPr>
          <a:xfrm>
            <a:off x="1099267" y="6150288"/>
            <a:ext cx="1020138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XT STEP:  Let’s Examine Airbnb listings in the </a:t>
            </a:r>
            <a:r>
              <a:rPr lang="en-US" sz="2200" b="1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ve</a:t>
            </a:r>
            <a:r>
              <a:rPr lang="en-US" sz="22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oroughs of NY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174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7CA9CD-C9F6-4B28-9E77-E31DDF1BF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3</a:t>
            </a:fld>
            <a:endParaRPr lang="en-US" noProof="0" dirty="0"/>
          </a:p>
        </p:txBody>
      </p:sp>
      <p:pic>
        <p:nvPicPr>
          <p:cNvPr id="7" name="Picture 6" descr="A close up of a newspaper&#10;&#10;Description automatically generated">
            <a:extLst>
              <a:ext uri="{FF2B5EF4-FFF2-40B4-BE49-F238E27FC236}">
                <a16:creationId xmlns:a16="http://schemas.microsoft.com/office/drawing/2014/main" id="{0D235718-4054-4211-AB4C-9E790117CE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247" y="1685388"/>
            <a:ext cx="8468482" cy="423424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03A2CC2-AA9C-422D-B1C3-2650A8744E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416" y="876679"/>
            <a:ext cx="10944225" cy="398144"/>
          </a:xfrm>
        </p:spPr>
        <p:txBody>
          <a:bodyPr/>
          <a:lstStyle/>
          <a:p>
            <a:r>
              <a:rPr lang="en-US" dirty="0"/>
              <a:t>Which </a:t>
            </a:r>
            <a:r>
              <a:rPr lang="en-US" b="1" dirty="0">
                <a:solidFill>
                  <a:schemeClr val="accent4"/>
                </a:solidFill>
              </a:rPr>
              <a:t>borough</a:t>
            </a:r>
            <a:r>
              <a:rPr lang="en-US" dirty="0"/>
              <a:t> would you guess this word cloud represents?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F0B3A76-9D0F-45F7-9BCD-77536DDF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15227"/>
            <a:ext cx="10944225" cy="364056"/>
          </a:xfrm>
        </p:spPr>
        <p:txBody>
          <a:bodyPr/>
          <a:lstStyle/>
          <a:p>
            <a:r>
              <a:rPr lang="en-US" dirty="0"/>
              <a:t>Looking at customer </a:t>
            </a:r>
            <a:r>
              <a:rPr lang="en-US" dirty="0">
                <a:solidFill>
                  <a:schemeClr val="accent4"/>
                </a:solidFill>
              </a:rPr>
              <a:t>review</a:t>
            </a:r>
            <a:r>
              <a:rPr lang="en-US" dirty="0"/>
              <a:t> data… we parsed the free text field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DA57CD-CBF2-4667-A60D-FC8B00AC9BC0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394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ACFE592-5239-4F53-BBA5-504B89D89B16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654920" y="1484313"/>
            <a:ext cx="6882161" cy="460851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verage Price </a:t>
            </a:r>
            <a:r>
              <a:rPr lang="de-DE" dirty="0">
                <a:solidFill>
                  <a:srgbClr val="FFC832"/>
                </a:solidFill>
              </a:rPr>
              <a:t>per day </a:t>
            </a:r>
            <a:r>
              <a:rPr lang="de-DE" dirty="0"/>
              <a:t>by Borough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13C95B-984B-44F2-A58A-59DFD7CC61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4279" y="2198820"/>
            <a:ext cx="2076450" cy="90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181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654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87B01C79-356A-404E-8964-1CF111BC3AF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157433" y="644436"/>
            <a:ext cx="11877131" cy="592555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3887" y="332656"/>
            <a:ext cx="10944225" cy="364055"/>
          </a:xfrm>
        </p:spPr>
        <p:txBody>
          <a:bodyPr/>
          <a:lstStyle/>
          <a:p>
            <a:r>
              <a:rPr lang="de-DE" dirty="0"/>
              <a:t>Families looking for large Number of Sleeping Quart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46CE3B-399D-4819-874F-436040CBE42C}"/>
              </a:ext>
            </a:extLst>
          </p:cNvPr>
          <p:cNvSpPr txBox="1"/>
          <p:nvPr/>
        </p:nvSpPr>
        <p:spPr bwMode="gray">
          <a:xfrm>
            <a:off x="7968208" y="2636912"/>
            <a:ext cx="302433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 of the 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oroughs of NYC are represented h</a:t>
            </a:r>
            <a:r>
              <a:rPr lang="en-US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e.  Any idea which one is missing?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6788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pic>
        <p:nvPicPr>
          <p:cNvPr id="10" name="Content Placeholder 9" descr="A picture containing newspaper, text&#10;&#10;Description automatically generated">
            <a:extLst>
              <a:ext uri="{FF2B5EF4-FFF2-40B4-BE49-F238E27FC236}">
                <a16:creationId xmlns:a16="http://schemas.microsoft.com/office/drawing/2014/main" id="{CA2C9295-F603-490F-85F4-ED781E4B552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1628800"/>
            <a:ext cx="8545196" cy="4272598"/>
          </a:xfr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me for word Clouds!     Hmm, Manhattan?  </a:t>
            </a:r>
            <a:r>
              <a:rPr lang="de-DE" i="1" dirty="0">
                <a:solidFill>
                  <a:schemeClr val="accent4"/>
                </a:solidFill>
              </a:rPr>
              <a:t>Queens?  </a:t>
            </a:r>
            <a:r>
              <a:rPr lang="de-DE" dirty="0"/>
              <a:t>Brooklyn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9398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7C6DAE6-DB4C-4397-B3D2-4FA190C1D0A2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458937" y="1484313"/>
            <a:ext cx="7274127" cy="460851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9247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ts always sunny in... </a:t>
            </a:r>
            <a:r>
              <a:rPr lang="de-DE" i="1" dirty="0">
                <a:solidFill>
                  <a:srgbClr val="FFC000"/>
                </a:solidFill>
              </a:rPr>
              <a:t>Brooklyn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Content Placeholder 11" descr="A close up of a newspaper&#10;&#10;Description automatically generated">
            <a:extLst>
              <a:ext uri="{FF2B5EF4-FFF2-40B4-BE49-F238E27FC236}">
                <a16:creationId xmlns:a16="http://schemas.microsoft.com/office/drawing/2014/main" id="{DF2F6D86-D19C-47B1-9E5B-AE396543CDE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2196310"/>
            <a:ext cx="7664698" cy="3832349"/>
          </a:xfrm>
        </p:spPr>
      </p:pic>
    </p:spTree>
    <p:extLst>
      <p:ext uri="{BB962C8B-B14F-4D97-AF65-F5344CB8AC3E}">
        <p14:creationId xmlns:p14="http://schemas.microsoft.com/office/powerpoint/2010/main" val="3343901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MST_COLOR_1" val="0,0,0,Dunkel 1"/>
  <p:tag name="MIO_MST_COLOR_2" val="255,255,255,Hell 1"/>
  <p:tag name="MIO_MST_COLOR_3" val="235,60,150,Dunkel 2"/>
  <p:tag name="MIO_MST_COLOR_4" val="45,190,205,Hell 2"/>
  <p:tag name="MIO_MST_COLOR_5" val="80,50,145,Akzent 1"/>
  <p:tag name="MIO_MST_COLOR_6" val="15,105,175,Akzent 2"/>
  <p:tag name="MIO_MST_COLOR_7" val="165,205,80,Akzent 3"/>
  <p:tag name="MIO_MST_COLOR_8" val="255,200,50,Akzent 4"/>
  <p:tag name="MIO_MST_COLOR_9" val="235,60,150,Akzent 5"/>
  <p:tag name="MIO_MST_COLOR_10" val="20,155,95,Akzent 6"/>
  <p:tag name="MIO_MST_COLOR_11" val="80,50,145,"/>
  <p:tag name="MIO_MST_COLOR_12" val="80,50,145,"/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True"/>
  <p:tag name="MIO_NUMBER_OF_VALID_LAYOUTS" val="33"/>
  <p:tag name="MIO_HDS" val="True"/>
  <p:tag name="MIO_EK" val="2536"/>
  <p:tag name="MIO_EKGUID" val="fbb693f8-a726-4757-bec5-0aa69ad13182"/>
  <p:tag name="MIO_UPDATE" val="True"/>
  <p:tag name="MIO_VERSION" val="16.02.2017 17:17:14"/>
  <p:tag name="MIO_DBID" val="218709A9-2117-4AF1-A1EA-309C9A305E58"/>
  <p:tag name="MIO_LASTDOWNLOADED" val="17.02.2017 19:31:00"/>
  <p:tag name="MIO_OBJECTNAME" val="EMD Performance Materials"/>
  <p:tag name="MIO_LASTEDITORNAME" val="Brigitte Schneider"/>
  <p:tag name="MIO_CDID" val="102a9723-2449-4cb9-a00f-91adf1e6ccc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33"/>
  <p:tag name="MIO_HDS" val="True"/>
  <p:tag name="MIO_EK" val="2536"/>
  <p:tag name="MIO_EKGUID" val="fbb693f8-a726-4757-bec5-0aa69ad13182"/>
  <p:tag name="MIO_UPDATE" val="True"/>
  <p:tag name="MIO_VERSION" val="31.01.2018 16:29:52"/>
  <p:tag name="MIO_DBID" val="218709A9-2117-4AF1-A1EA-309C9A305E58"/>
  <p:tag name="MIO_LASTDOWNLOADED" val="25.03.2019 08:13:50"/>
  <p:tag name="MIO_OBJECTNAME" val="EMD Performance Materials"/>
  <p:tag name="MIO_CDID" val="102a9723-2449-4cb9-a00f-91adf1e6ccc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uGlyiSZ.XJHW3xqka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qE9OCReCLXsMkiXHU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D Performance Materials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EMD Performance Materials_16.9.potx" id="{FE1C6765-B53F-4E66-B684-E91E7814982D}" vid="{347D1BCF-7018-4816-A1AE-0334C3592044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st_x0020_Column xmlns="97f73501-7423-4b6e-9c1a-b7ab97020f9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AE85ADC0314349AF709EB8CED981B8" ma:contentTypeVersion="9" ma:contentTypeDescription="Create a new document." ma:contentTypeScope="" ma:versionID="236bb169096cb11d590b00c8e50391c9">
  <xsd:schema xmlns:xsd="http://www.w3.org/2001/XMLSchema" xmlns:xs="http://www.w3.org/2001/XMLSchema" xmlns:p="http://schemas.microsoft.com/office/2006/metadata/properties" xmlns:ns2="604cc226-bd5c-454a-9f4e-a080a3797373" xmlns:ns3="97f73501-7423-4b6e-9c1a-b7ab97020f90" targetNamespace="http://schemas.microsoft.com/office/2006/metadata/properties" ma:root="true" ma:fieldsID="97e7c4e07e657153b474e9054833d1e5" ns2:_="" ns3:_="">
    <xsd:import namespace="604cc226-bd5c-454a-9f4e-a080a3797373"/>
    <xsd:import namespace="97f73501-7423-4b6e-9c1a-b7ab97020f9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Test_x0020_Colum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4cc226-bd5c-454a-9f4e-a080a379737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f73501-7423-4b6e-9c1a-b7ab97020f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Test_x0020_Column" ma:index="16" nillable="true" ma:displayName="Test Column" ma:internalName="Test_x0020_Colum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83A6B0-9143-4B0E-A4A3-831D8FEDD2F6}">
  <ds:schemaRefs>
    <ds:schemaRef ds:uri="http://schemas.microsoft.com/office/2006/metadata/properties"/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purl.org/dc/terms/"/>
    <ds:schemaRef ds:uri="604cc226-bd5c-454a-9f4e-a080a3797373"/>
    <ds:schemaRef ds:uri="97f73501-7423-4b6e-9c1a-b7ab97020f90"/>
  </ds:schemaRefs>
</ds:datastoreItem>
</file>

<file path=customXml/itemProps2.xml><?xml version="1.0" encoding="utf-8"?>
<ds:datastoreItem xmlns:ds="http://schemas.openxmlformats.org/officeDocument/2006/customXml" ds:itemID="{62368901-16F6-45FC-BF40-EE29123F23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4cc226-bd5c-454a-9f4e-a080a3797373"/>
    <ds:schemaRef ds:uri="97f73501-7423-4b6e-9c1a-b7ab97020f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6987A2-D9BA-4505-83F6-6A702A4CC8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9</TotalTime>
  <Words>540</Words>
  <Application>Microsoft Office PowerPoint</Application>
  <PresentationFormat>Widescreen</PresentationFormat>
  <Paragraphs>87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Merck</vt:lpstr>
      <vt:lpstr>Symbol</vt:lpstr>
      <vt:lpstr>Verdana</vt:lpstr>
      <vt:lpstr>Wingdings</vt:lpstr>
      <vt:lpstr>EMD Performance Materials</vt:lpstr>
      <vt:lpstr>think-cell Slide</vt:lpstr>
      <vt:lpstr>Airbnb: consumer Helper for NYC Listings</vt:lpstr>
      <vt:lpstr>PowerPoint Presentation</vt:lpstr>
      <vt:lpstr>Looking at customer review data… we parsed the free text field </vt:lpstr>
      <vt:lpstr>Average Price per day by Borough </vt:lpstr>
      <vt:lpstr>Heat Maps</vt:lpstr>
      <vt:lpstr>Families looking for large Number of Sleeping Quarters</vt:lpstr>
      <vt:lpstr>Time for word Clouds!     Hmm, Manhattan?  Queens?  Brooklyn?</vt:lpstr>
      <vt:lpstr>Heat Maps</vt:lpstr>
      <vt:lpstr>Its always sunny in... Brooklyn?</vt:lpstr>
      <vt:lpstr>Mostly apartment listings in all 5 boroughs, except if you want a home check out Staten Island </vt:lpstr>
      <vt:lpstr>Ahh, more space in the cloud!     Guess this homey place...</vt:lpstr>
      <vt:lpstr>Heat Maps</vt:lpstr>
      <vt:lpstr>Aw c‘mon, where is expensive in this cloud?</vt:lpstr>
      <vt:lpstr>Heat Maps</vt:lpstr>
      <vt:lpstr>Conclusions</vt:lpstr>
      <vt:lpstr>References and datase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e Mazur</dc:creator>
  <cp:lastModifiedBy>Christine Mazur</cp:lastModifiedBy>
  <cp:revision>38</cp:revision>
  <dcterms:created xsi:type="dcterms:W3CDTF">2016-08-22T11:24:14Z</dcterms:created>
  <dcterms:modified xsi:type="dcterms:W3CDTF">2019-10-02T22:5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AE85ADC0314349AF709EB8CED981B8</vt:lpwstr>
  </property>
</Properties>
</file>